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16.xml" ContentType="application/vnd.openxmlformats-officedocument.presentationml.slideLayout+xml"/>
  <Override PartName="/ppt/theme/theme3.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notesSlides/notesSlide1.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notesSlides/notesSlide2.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notesSlides/notesSlide3.xml" ContentType="application/vnd.openxmlformats-officedocument.presentationml.notesSlide+xml"/>
  <Override PartName="/ppt/tags/tag279.xml" ContentType="application/vnd.openxmlformats-officedocument.presentationml.tags+xml"/>
  <Override PartName="/ppt/notesSlides/notesSlide4.xml" ContentType="application/vnd.openxmlformats-officedocument.presentationml.notesSlide+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notesSlides/notesSlide5.xml" ContentType="application/vnd.openxmlformats-officedocument.presentationml.notesSlide+xml"/>
  <Override PartName="/ppt/tags/tag312.xml" ContentType="application/vnd.openxmlformats-officedocument.presentationml.tags+xml"/>
  <Override PartName="/ppt/notesSlides/notesSlide6.xml" ContentType="application/vnd.openxmlformats-officedocument.presentationml.notesSlide+xml"/>
  <Override PartName="/ppt/tags/tag313.xml" ContentType="application/vnd.openxmlformats-officedocument.presentationml.tags+xml"/>
  <Override PartName="/ppt/notesSlides/notesSlide7.xml" ContentType="application/vnd.openxmlformats-officedocument.presentationml.notesSlide+xml"/>
  <Override PartName="/ppt/tags/tag314.xml" ContentType="application/vnd.openxmlformats-officedocument.presentationml.tags+xml"/>
  <Override PartName="/ppt/notesSlides/notesSlide8.xml" ContentType="application/vnd.openxmlformats-officedocument.presentationml.notesSlide+xml"/>
  <Override PartName="/ppt/tags/tag315.xml" ContentType="application/vnd.openxmlformats-officedocument.presentationml.tags+xml"/>
  <Override PartName="/ppt/notesSlides/notesSlide9.xml" ContentType="application/vnd.openxmlformats-officedocument.presentationml.notesSlide+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notesSlides/notesSlide10.xml" ContentType="application/vnd.openxmlformats-officedocument.presentationml.notesSlide+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245" r:id="rId1"/>
    <p:sldMasterId id="2147484031" r:id="rId2"/>
    <p:sldMasterId id="2147484222" r:id="rId3"/>
    <p:sldMasterId id="2147483937" r:id="rId4"/>
  </p:sldMasterIdLst>
  <p:notesMasterIdLst>
    <p:notesMasterId r:id="rId54"/>
  </p:notesMasterIdLst>
  <p:handoutMasterIdLst>
    <p:handoutMasterId r:id="rId55"/>
  </p:handoutMasterIdLst>
  <p:sldIdLst>
    <p:sldId id="342" r:id="rId5"/>
    <p:sldId id="577" r:id="rId6"/>
    <p:sldId id="605" r:id="rId7"/>
    <p:sldId id="616" r:id="rId8"/>
    <p:sldId id="620" r:id="rId9"/>
    <p:sldId id="589" r:id="rId10"/>
    <p:sldId id="639" r:id="rId11"/>
    <p:sldId id="592" r:id="rId12"/>
    <p:sldId id="665" r:id="rId13"/>
    <p:sldId id="666" r:id="rId14"/>
    <p:sldId id="647" r:id="rId15"/>
    <p:sldId id="648" r:id="rId16"/>
    <p:sldId id="640" r:id="rId17"/>
    <p:sldId id="642" r:id="rId18"/>
    <p:sldId id="650" r:id="rId19"/>
    <p:sldId id="590" r:id="rId20"/>
    <p:sldId id="645" r:id="rId21"/>
    <p:sldId id="654" r:id="rId22"/>
    <p:sldId id="667" r:id="rId23"/>
    <p:sldId id="597" r:id="rId24"/>
    <p:sldId id="646" r:id="rId25"/>
    <p:sldId id="671" r:id="rId26"/>
    <p:sldId id="672" r:id="rId27"/>
    <p:sldId id="673" r:id="rId28"/>
    <p:sldId id="674" r:id="rId29"/>
    <p:sldId id="675" r:id="rId30"/>
    <p:sldId id="676" r:id="rId31"/>
    <p:sldId id="677" r:id="rId32"/>
    <p:sldId id="678" r:id="rId33"/>
    <p:sldId id="679" r:id="rId34"/>
    <p:sldId id="680" r:id="rId35"/>
    <p:sldId id="681" r:id="rId36"/>
    <p:sldId id="682" r:id="rId37"/>
    <p:sldId id="683" r:id="rId38"/>
    <p:sldId id="684" r:id="rId39"/>
    <p:sldId id="685" r:id="rId40"/>
    <p:sldId id="686" r:id="rId41"/>
    <p:sldId id="687" r:id="rId42"/>
    <p:sldId id="688" r:id="rId43"/>
    <p:sldId id="689" r:id="rId44"/>
    <p:sldId id="690" r:id="rId45"/>
    <p:sldId id="691" r:id="rId46"/>
    <p:sldId id="692" r:id="rId47"/>
    <p:sldId id="693" r:id="rId48"/>
    <p:sldId id="694" r:id="rId49"/>
    <p:sldId id="695" r:id="rId50"/>
    <p:sldId id="696" r:id="rId51"/>
    <p:sldId id="697" r:id="rId52"/>
    <p:sldId id="698" r:id="rId53"/>
  </p:sldIdLst>
  <p:sldSz cx="9144000" cy="6858000" type="letter"/>
  <p:notesSz cx="6735763" cy="9866313"/>
  <p:custDataLst>
    <p:tags r:id="rId56"/>
  </p:custDataLst>
  <p:defaultTextStyle>
    <a:defPPr>
      <a:defRPr lang="en-US"/>
    </a:defPPr>
    <a:lvl1pPr marL="0" algn="l" defTabSz="914293" rtl="0" eaLnBrk="1" latinLnBrk="0" hangingPunct="1">
      <a:defRPr sz="1800" kern="1200">
        <a:solidFill>
          <a:schemeClr val="tx1"/>
        </a:solidFill>
        <a:latin typeface="+mn-lt"/>
        <a:ea typeface="+mn-ea"/>
        <a:cs typeface="+mn-cs"/>
      </a:defRPr>
    </a:lvl1pPr>
    <a:lvl2pPr marL="457146" algn="l" defTabSz="914293" rtl="0" eaLnBrk="1" latinLnBrk="0" hangingPunct="1">
      <a:defRPr sz="1800" kern="1200">
        <a:solidFill>
          <a:schemeClr val="tx1"/>
        </a:solidFill>
        <a:latin typeface="+mn-lt"/>
        <a:ea typeface="+mn-ea"/>
        <a:cs typeface="+mn-cs"/>
      </a:defRPr>
    </a:lvl2pPr>
    <a:lvl3pPr marL="914293" algn="l" defTabSz="914293" rtl="0" eaLnBrk="1" latinLnBrk="0" hangingPunct="1">
      <a:defRPr sz="1800" kern="1200">
        <a:solidFill>
          <a:schemeClr val="tx1"/>
        </a:solidFill>
        <a:latin typeface="+mn-lt"/>
        <a:ea typeface="+mn-ea"/>
        <a:cs typeface="+mn-cs"/>
      </a:defRPr>
    </a:lvl3pPr>
    <a:lvl4pPr marL="1371440" algn="l" defTabSz="914293" rtl="0" eaLnBrk="1" latinLnBrk="0" hangingPunct="1">
      <a:defRPr sz="1800" kern="1200">
        <a:solidFill>
          <a:schemeClr val="tx1"/>
        </a:solidFill>
        <a:latin typeface="+mn-lt"/>
        <a:ea typeface="+mn-ea"/>
        <a:cs typeface="+mn-cs"/>
      </a:defRPr>
    </a:lvl4pPr>
    <a:lvl5pPr marL="1828586" algn="l" defTabSz="914293" rtl="0" eaLnBrk="1" latinLnBrk="0" hangingPunct="1">
      <a:defRPr sz="1800" kern="1200">
        <a:solidFill>
          <a:schemeClr val="tx1"/>
        </a:solidFill>
        <a:latin typeface="+mn-lt"/>
        <a:ea typeface="+mn-ea"/>
        <a:cs typeface="+mn-cs"/>
      </a:defRPr>
    </a:lvl5pPr>
    <a:lvl6pPr marL="2285733" algn="l" defTabSz="914293" rtl="0" eaLnBrk="1" latinLnBrk="0" hangingPunct="1">
      <a:defRPr sz="1800" kern="1200">
        <a:solidFill>
          <a:schemeClr val="tx1"/>
        </a:solidFill>
        <a:latin typeface="+mn-lt"/>
        <a:ea typeface="+mn-ea"/>
        <a:cs typeface="+mn-cs"/>
      </a:defRPr>
    </a:lvl6pPr>
    <a:lvl7pPr marL="2742879" algn="l" defTabSz="914293" rtl="0" eaLnBrk="1" latinLnBrk="0" hangingPunct="1">
      <a:defRPr sz="1800" kern="1200">
        <a:solidFill>
          <a:schemeClr val="tx1"/>
        </a:solidFill>
        <a:latin typeface="+mn-lt"/>
        <a:ea typeface="+mn-ea"/>
        <a:cs typeface="+mn-cs"/>
      </a:defRPr>
    </a:lvl7pPr>
    <a:lvl8pPr marL="3200026" algn="l" defTabSz="914293" rtl="0" eaLnBrk="1" latinLnBrk="0" hangingPunct="1">
      <a:defRPr sz="1800" kern="1200">
        <a:solidFill>
          <a:schemeClr val="tx1"/>
        </a:solidFill>
        <a:latin typeface="+mn-lt"/>
        <a:ea typeface="+mn-ea"/>
        <a:cs typeface="+mn-cs"/>
      </a:defRPr>
    </a:lvl8pPr>
    <a:lvl9pPr marL="3657172" algn="l" defTabSz="914293"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Untitled Section" id="{68544052-3F86-4CCC-BA19-FDBB5814C558}">
          <p14:sldIdLst>
            <p14:sldId id="342"/>
            <p14:sldId id="577"/>
            <p14:sldId id="605"/>
            <p14:sldId id="616"/>
            <p14:sldId id="620"/>
            <p14:sldId id="589"/>
            <p14:sldId id="639"/>
            <p14:sldId id="592"/>
            <p14:sldId id="665"/>
            <p14:sldId id="666"/>
            <p14:sldId id="647"/>
            <p14:sldId id="648"/>
            <p14:sldId id="640"/>
            <p14:sldId id="642"/>
            <p14:sldId id="650"/>
            <p14:sldId id="590"/>
            <p14:sldId id="645"/>
            <p14:sldId id="654"/>
            <p14:sldId id="667"/>
            <p14:sldId id="597"/>
            <p14:sldId id="646"/>
            <p14:sldId id="671"/>
            <p14:sldId id="672"/>
            <p14:sldId id="673"/>
            <p14:sldId id="674"/>
            <p14:sldId id="675"/>
            <p14:sldId id="676"/>
            <p14:sldId id="677"/>
            <p14:sldId id="678"/>
            <p14:sldId id="679"/>
            <p14:sldId id="680"/>
            <p14:sldId id="681"/>
            <p14:sldId id="682"/>
            <p14:sldId id="683"/>
            <p14:sldId id="684"/>
            <p14:sldId id="685"/>
            <p14:sldId id="686"/>
            <p14:sldId id="687"/>
            <p14:sldId id="688"/>
            <p14:sldId id="689"/>
            <p14:sldId id="690"/>
            <p14:sldId id="691"/>
            <p14:sldId id="692"/>
            <p14:sldId id="693"/>
            <p14:sldId id="694"/>
            <p14:sldId id="695"/>
            <p14:sldId id="696"/>
            <p14:sldId id="697"/>
            <p14:sldId id="698"/>
          </p14:sldIdLst>
        </p14:section>
      </p14:sectionLst>
    </p:ext>
    <p:ext uri="{EFAFB233-063F-42B5-8137-9DF3F51BA10A}">
      <p15:sldGuideLst xmlns="" xmlns:p15="http://schemas.microsoft.com/office/powerpoint/2012/main">
        <p15:guide id="1" orient="horz" pos="768" userDrawn="1">
          <p15:clr>
            <a:srgbClr val="A4A3A4"/>
          </p15:clr>
        </p15:guide>
        <p15:guide id="6" pos="216" userDrawn="1">
          <p15:clr>
            <a:srgbClr val="A4A3A4"/>
          </p15:clr>
        </p15:guide>
        <p15:guide id="7" orient="horz" pos="3864" userDrawn="1">
          <p15:clr>
            <a:srgbClr val="A4A3A4"/>
          </p15:clr>
        </p15:guide>
        <p15:guide id="8" pos="5520" userDrawn="1">
          <p15:clr>
            <a:srgbClr val="A4A3A4"/>
          </p15:clr>
        </p15:guide>
      </p15:sldGuideLst>
    </p:ext>
    <p:ext uri="{2D200454-40CA-4A62-9FC3-DE9A4176ACB9}">
      <p15:notesGuideLst xmlns=""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7103F"/>
    <a:srgbClr val="FFE9D0"/>
    <a:srgbClr val="FFF6E7"/>
    <a:srgbClr val="DBB39A"/>
    <a:srgbClr val="CCAFBF"/>
    <a:srgbClr val="9A607F"/>
    <a:srgbClr val="B3879F"/>
    <a:srgbClr val="FFFFFF"/>
    <a:srgbClr val="1B952F"/>
    <a:srgbClr val="0B6D2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97487" autoAdjust="0"/>
  </p:normalViewPr>
  <p:slideViewPr>
    <p:cSldViewPr snapToGrid="0" showGuides="1">
      <p:cViewPr>
        <p:scale>
          <a:sx n="96" d="100"/>
          <a:sy n="96" d="100"/>
        </p:scale>
        <p:origin x="-1260" y="72"/>
      </p:cViewPr>
      <p:guideLst>
        <p:guide orient="horz" pos="768"/>
        <p:guide orient="horz" pos="3864"/>
        <p:guide pos="216"/>
        <p:guide pos="552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howGuides="1">
      <p:cViewPr varScale="1">
        <p:scale>
          <a:sx n="52" d="100"/>
          <a:sy n="52" d="100"/>
        </p:scale>
        <p:origin x="2934" y="60"/>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handoutMaster" Target="handoutMasters/handoutMaster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commentAuthors" Target="commentAuthors.xml"/><Relationship Id="rId61"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4.v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emf"/><Relationship Id="rId1" Type="http://schemas.openxmlformats.org/officeDocument/2006/relationships/image" Target="../media/image17.emf"/><Relationship Id="rId4" Type="http://schemas.openxmlformats.org/officeDocument/2006/relationships/image" Target="../media/image20.emf"/></Relationships>
</file>

<file path=ppt/drawings/_rels/vmlDrawing36.v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emf"/><Relationship Id="rId1" Type="http://schemas.openxmlformats.org/officeDocument/2006/relationships/image" Target="../media/image17.emf"/><Relationship Id="rId4" Type="http://schemas.openxmlformats.org/officeDocument/2006/relationships/image" Target="../media/image29.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3.vml.rels><?xml version="1.0" encoding="UTF-8" standalone="yes"?>
<Relationships xmlns="http://schemas.openxmlformats.org/package/2006/relationships"><Relationship Id="rId2" Type="http://schemas.openxmlformats.org/officeDocument/2006/relationships/image" Target="../media/image47.wmf"/><Relationship Id="rId1" Type="http://schemas.openxmlformats.org/officeDocument/2006/relationships/image" Target="../media/image8.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7.vml.rels><?xml version="1.0" encoding="UTF-8" standalone="yes"?>
<Relationships xmlns="http://schemas.openxmlformats.org/package/2006/relationships"><Relationship Id="rId2" Type="http://schemas.openxmlformats.org/officeDocument/2006/relationships/image" Target="../media/image58.emf"/><Relationship Id="rId1" Type="http://schemas.openxmlformats.org/officeDocument/2006/relationships/image" Target="../media/image8.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18830" cy="493316"/>
          </a:xfrm>
          <a:prstGeom prst="rect">
            <a:avLst/>
          </a:prstGeom>
        </p:spPr>
        <p:txBody>
          <a:bodyPr vert="horz" lIns="90319" tIns="45159" rIns="90319" bIns="45159" rtlCol="0"/>
          <a:lstStyle>
            <a:lvl1pPr algn="l">
              <a:defRPr sz="1200"/>
            </a:lvl1pPr>
          </a:lstStyle>
          <a:p>
            <a:endParaRPr lang="en-US" dirty="0"/>
          </a:p>
        </p:txBody>
      </p:sp>
      <p:sp>
        <p:nvSpPr>
          <p:cNvPr id="3" name="Date Placeholder 2"/>
          <p:cNvSpPr>
            <a:spLocks noGrp="1"/>
          </p:cNvSpPr>
          <p:nvPr>
            <p:ph type="dt" sz="quarter" idx="1"/>
          </p:nvPr>
        </p:nvSpPr>
        <p:spPr>
          <a:xfrm>
            <a:off x="3815375" y="0"/>
            <a:ext cx="2918830" cy="493316"/>
          </a:xfrm>
          <a:prstGeom prst="rect">
            <a:avLst/>
          </a:prstGeom>
        </p:spPr>
        <p:txBody>
          <a:bodyPr vert="horz" lIns="90319" tIns="45159" rIns="90319" bIns="45159" rtlCol="0"/>
          <a:lstStyle>
            <a:lvl1pPr algn="r">
              <a:defRPr sz="1200"/>
            </a:lvl1pPr>
          </a:lstStyle>
          <a:p>
            <a:fld id="{043C9BEE-3AC7-460A-B809-BC540BBA96C8}" type="datetimeFigureOut">
              <a:rPr lang="en-US" smtClean="0"/>
              <a:pPr/>
              <a:t>10/22/2014</a:t>
            </a:fld>
            <a:endParaRPr lang="en-US" dirty="0"/>
          </a:p>
        </p:txBody>
      </p:sp>
      <p:sp>
        <p:nvSpPr>
          <p:cNvPr id="4" name="Footer Placeholder 3"/>
          <p:cNvSpPr>
            <a:spLocks noGrp="1"/>
          </p:cNvSpPr>
          <p:nvPr>
            <p:ph type="ftr" sz="quarter" idx="2"/>
          </p:nvPr>
        </p:nvSpPr>
        <p:spPr>
          <a:xfrm>
            <a:off x="1" y="9371286"/>
            <a:ext cx="2918830" cy="493316"/>
          </a:xfrm>
          <a:prstGeom prst="rect">
            <a:avLst/>
          </a:prstGeom>
        </p:spPr>
        <p:txBody>
          <a:bodyPr vert="horz" lIns="90319" tIns="45159" rIns="90319" bIns="45159"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15375" y="9371286"/>
            <a:ext cx="2918830" cy="493316"/>
          </a:xfrm>
          <a:prstGeom prst="rect">
            <a:avLst/>
          </a:prstGeom>
        </p:spPr>
        <p:txBody>
          <a:bodyPr vert="horz" lIns="90319" tIns="45159" rIns="90319" bIns="45159" rtlCol="0" anchor="b"/>
          <a:lstStyle>
            <a:lvl1pPr algn="r">
              <a:defRPr sz="1200"/>
            </a:lvl1pPr>
          </a:lstStyle>
          <a:p>
            <a:fld id="{04C0A824-AA92-4108-8774-8549BCB147BF}" type="slidenum">
              <a:rPr lang="en-US" smtClean="0"/>
              <a:pPr/>
              <a:t>‹#›</a:t>
            </a:fld>
            <a:endParaRPr lang="en-US" dirty="0"/>
          </a:p>
        </p:txBody>
      </p:sp>
    </p:spTree>
    <p:extLst>
      <p:ext uri="{BB962C8B-B14F-4D97-AF65-F5344CB8AC3E}">
        <p14:creationId xmlns:p14="http://schemas.microsoft.com/office/powerpoint/2010/main" val="183890268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18830" cy="493316"/>
          </a:xfrm>
          <a:prstGeom prst="rect">
            <a:avLst/>
          </a:prstGeom>
        </p:spPr>
        <p:txBody>
          <a:bodyPr vert="horz" lIns="90319" tIns="45159" rIns="90319" bIns="45159" rtlCol="0"/>
          <a:lstStyle>
            <a:lvl1pPr algn="l">
              <a:defRPr sz="1200"/>
            </a:lvl1pPr>
          </a:lstStyle>
          <a:p>
            <a:endParaRPr lang="en-US" dirty="0"/>
          </a:p>
        </p:txBody>
      </p:sp>
      <p:sp>
        <p:nvSpPr>
          <p:cNvPr id="3" name="Date Placeholder 2"/>
          <p:cNvSpPr>
            <a:spLocks noGrp="1"/>
          </p:cNvSpPr>
          <p:nvPr>
            <p:ph type="dt" idx="1"/>
          </p:nvPr>
        </p:nvSpPr>
        <p:spPr>
          <a:xfrm>
            <a:off x="3815375" y="0"/>
            <a:ext cx="2918830" cy="493316"/>
          </a:xfrm>
          <a:prstGeom prst="rect">
            <a:avLst/>
          </a:prstGeom>
        </p:spPr>
        <p:txBody>
          <a:bodyPr vert="horz" lIns="90319" tIns="45159" rIns="90319" bIns="45159" rtlCol="0"/>
          <a:lstStyle>
            <a:lvl1pPr algn="r">
              <a:defRPr sz="1200"/>
            </a:lvl1pPr>
          </a:lstStyle>
          <a:p>
            <a:fld id="{C9C5AECE-F766-40BA-875A-5096C5C854BA}" type="datetimeFigureOut">
              <a:rPr lang="en-US" smtClean="0"/>
              <a:pPr/>
              <a:t>10/22/2014</a:t>
            </a:fld>
            <a:endParaRPr lang="en-US" dirty="0"/>
          </a:p>
        </p:txBody>
      </p:sp>
      <p:sp>
        <p:nvSpPr>
          <p:cNvPr id="4" name="Slide Image Placeholder 3"/>
          <p:cNvSpPr>
            <a:spLocks noGrp="1" noRot="1" noChangeAspect="1"/>
          </p:cNvSpPr>
          <p:nvPr>
            <p:ph type="sldImg" idx="2"/>
          </p:nvPr>
        </p:nvSpPr>
        <p:spPr>
          <a:xfrm>
            <a:off x="901700" y="739775"/>
            <a:ext cx="4932363" cy="3700463"/>
          </a:xfrm>
          <a:prstGeom prst="rect">
            <a:avLst/>
          </a:prstGeom>
          <a:noFill/>
          <a:ln w="12700">
            <a:solidFill>
              <a:prstClr val="black"/>
            </a:solidFill>
          </a:ln>
        </p:spPr>
        <p:txBody>
          <a:bodyPr vert="horz" lIns="90319" tIns="45159" rIns="90319" bIns="45159" rtlCol="0" anchor="ctr"/>
          <a:lstStyle/>
          <a:p>
            <a:endParaRPr lang="en-US" dirty="0"/>
          </a:p>
        </p:txBody>
      </p:sp>
      <p:sp>
        <p:nvSpPr>
          <p:cNvPr id="5" name="Notes Placeholder 4"/>
          <p:cNvSpPr>
            <a:spLocks noGrp="1"/>
          </p:cNvSpPr>
          <p:nvPr>
            <p:ph type="body" sz="quarter" idx="3"/>
          </p:nvPr>
        </p:nvSpPr>
        <p:spPr>
          <a:xfrm>
            <a:off x="673577" y="4686500"/>
            <a:ext cx="5388610" cy="4439841"/>
          </a:xfrm>
          <a:prstGeom prst="rect">
            <a:avLst/>
          </a:prstGeom>
        </p:spPr>
        <p:txBody>
          <a:bodyPr vert="horz" lIns="90319" tIns="45159" rIns="90319" bIns="45159"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1" y="9371286"/>
            <a:ext cx="2918830" cy="493316"/>
          </a:xfrm>
          <a:prstGeom prst="rect">
            <a:avLst/>
          </a:prstGeom>
        </p:spPr>
        <p:txBody>
          <a:bodyPr vert="horz" lIns="90319" tIns="45159" rIns="90319" bIns="4515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15375" y="9371286"/>
            <a:ext cx="2918830" cy="493316"/>
          </a:xfrm>
          <a:prstGeom prst="rect">
            <a:avLst/>
          </a:prstGeom>
        </p:spPr>
        <p:txBody>
          <a:bodyPr vert="horz" lIns="90319" tIns="45159" rIns="90319" bIns="45159" rtlCol="0" anchor="b"/>
          <a:lstStyle>
            <a:lvl1pPr algn="r">
              <a:defRPr sz="1200"/>
            </a:lvl1pPr>
          </a:lstStyle>
          <a:p>
            <a:fld id="{D4B2AE5C-F5D2-4389-A35A-7618DE5C24AB}" type="slidenum">
              <a:rPr lang="en-US" smtClean="0"/>
              <a:pPr/>
              <a:t>‹#›</a:t>
            </a:fld>
            <a:endParaRPr lang="en-US" dirty="0"/>
          </a:p>
        </p:txBody>
      </p:sp>
    </p:spTree>
    <p:extLst>
      <p:ext uri="{BB962C8B-B14F-4D97-AF65-F5344CB8AC3E}">
        <p14:creationId xmlns:p14="http://schemas.microsoft.com/office/powerpoint/2010/main" val="330100228"/>
      </p:ext>
    </p:extLst>
  </p:cSld>
  <p:clrMap bg1="lt1" tx1="dk1" bg2="lt2" tx2="dk2" accent1="accent1" accent2="accent2" accent3="accent3" accent4="accent4" accent5="accent5" accent6="accent6" hlink="hlink" folHlink="folHlink"/>
  <p:notesStyle>
    <a:lvl1pPr marL="0" algn="l" defTabSz="914293" rtl="0" eaLnBrk="1" latinLnBrk="0" hangingPunct="1">
      <a:defRPr sz="1200" kern="1200">
        <a:solidFill>
          <a:schemeClr val="tx1"/>
        </a:solidFill>
        <a:latin typeface="+mn-lt"/>
        <a:ea typeface="+mn-ea"/>
        <a:cs typeface="+mn-cs"/>
      </a:defRPr>
    </a:lvl1pPr>
    <a:lvl2pPr marL="457146" algn="l" defTabSz="914293" rtl="0" eaLnBrk="1" latinLnBrk="0" hangingPunct="1">
      <a:defRPr sz="1200" kern="1200">
        <a:solidFill>
          <a:schemeClr val="tx1"/>
        </a:solidFill>
        <a:latin typeface="+mn-lt"/>
        <a:ea typeface="+mn-ea"/>
        <a:cs typeface="+mn-cs"/>
      </a:defRPr>
    </a:lvl2pPr>
    <a:lvl3pPr marL="914293" algn="l" defTabSz="914293" rtl="0" eaLnBrk="1" latinLnBrk="0" hangingPunct="1">
      <a:defRPr sz="1200" kern="1200">
        <a:solidFill>
          <a:schemeClr val="tx1"/>
        </a:solidFill>
        <a:latin typeface="+mn-lt"/>
        <a:ea typeface="+mn-ea"/>
        <a:cs typeface="+mn-cs"/>
      </a:defRPr>
    </a:lvl3pPr>
    <a:lvl4pPr marL="1371440" algn="l" defTabSz="914293" rtl="0" eaLnBrk="1" latinLnBrk="0" hangingPunct="1">
      <a:defRPr sz="1200" kern="1200">
        <a:solidFill>
          <a:schemeClr val="tx1"/>
        </a:solidFill>
        <a:latin typeface="+mn-lt"/>
        <a:ea typeface="+mn-ea"/>
        <a:cs typeface="+mn-cs"/>
      </a:defRPr>
    </a:lvl4pPr>
    <a:lvl5pPr marL="1828586" algn="l" defTabSz="914293" rtl="0" eaLnBrk="1" latinLnBrk="0" hangingPunct="1">
      <a:defRPr sz="1200" kern="1200">
        <a:solidFill>
          <a:schemeClr val="tx1"/>
        </a:solidFill>
        <a:latin typeface="+mn-lt"/>
        <a:ea typeface="+mn-ea"/>
        <a:cs typeface="+mn-cs"/>
      </a:defRPr>
    </a:lvl5pPr>
    <a:lvl6pPr marL="2285733" algn="l" defTabSz="914293" rtl="0" eaLnBrk="1" latinLnBrk="0" hangingPunct="1">
      <a:defRPr sz="1200" kern="1200">
        <a:solidFill>
          <a:schemeClr val="tx1"/>
        </a:solidFill>
        <a:latin typeface="+mn-lt"/>
        <a:ea typeface="+mn-ea"/>
        <a:cs typeface="+mn-cs"/>
      </a:defRPr>
    </a:lvl6pPr>
    <a:lvl7pPr marL="2742879" algn="l" defTabSz="914293" rtl="0" eaLnBrk="1" latinLnBrk="0" hangingPunct="1">
      <a:defRPr sz="1200" kern="1200">
        <a:solidFill>
          <a:schemeClr val="tx1"/>
        </a:solidFill>
        <a:latin typeface="+mn-lt"/>
        <a:ea typeface="+mn-ea"/>
        <a:cs typeface="+mn-cs"/>
      </a:defRPr>
    </a:lvl7pPr>
    <a:lvl8pPr marL="3200026" algn="l" defTabSz="914293" rtl="0" eaLnBrk="1" latinLnBrk="0" hangingPunct="1">
      <a:defRPr sz="1200" kern="1200">
        <a:solidFill>
          <a:schemeClr val="tx1"/>
        </a:solidFill>
        <a:latin typeface="+mn-lt"/>
        <a:ea typeface="+mn-ea"/>
        <a:cs typeface="+mn-cs"/>
      </a:defRPr>
    </a:lvl8pPr>
    <a:lvl9pPr marL="3657172" algn="l" defTabSz="91429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4B2AE5C-F5D2-4389-A35A-7618DE5C24AB}" type="slidenum">
              <a:rPr lang="en-US" smtClean="0"/>
              <a:pPr/>
              <a:t>3</a:t>
            </a:fld>
            <a:endParaRPr lang="en-US"/>
          </a:p>
        </p:txBody>
      </p:sp>
    </p:spTree>
    <p:extLst>
      <p:ext uri="{BB962C8B-B14F-4D97-AF65-F5344CB8AC3E}">
        <p14:creationId xmlns:p14="http://schemas.microsoft.com/office/powerpoint/2010/main" val="39778522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B2AE5C-F5D2-4389-A35A-7618DE5C24AB}" type="slidenum">
              <a:rPr lang="en-US" smtClean="0"/>
              <a:pPr/>
              <a:t>39</a:t>
            </a:fld>
            <a:endParaRPr lang="en-US" dirty="0"/>
          </a:p>
        </p:txBody>
      </p:sp>
    </p:spTree>
    <p:extLst>
      <p:ext uri="{BB962C8B-B14F-4D97-AF65-F5344CB8AC3E}">
        <p14:creationId xmlns:p14="http://schemas.microsoft.com/office/powerpoint/2010/main" val="7144730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4B2AE5C-F5D2-4389-A35A-7618DE5C24AB}" type="slidenum">
              <a:rPr lang="en-US" smtClean="0"/>
              <a:pPr/>
              <a:t>5</a:t>
            </a:fld>
            <a:endParaRPr lang="en-US"/>
          </a:p>
        </p:txBody>
      </p:sp>
    </p:spTree>
    <p:extLst>
      <p:ext uri="{BB962C8B-B14F-4D97-AF65-F5344CB8AC3E}">
        <p14:creationId xmlns:p14="http://schemas.microsoft.com/office/powerpoint/2010/main" val="5411797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B2AE5C-F5D2-4389-A35A-7618DE5C24AB}" type="slidenum">
              <a:rPr lang="en-US" smtClean="0"/>
              <a:pPr/>
              <a:t>27</a:t>
            </a:fld>
            <a:endParaRPr lang="en-US" dirty="0"/>
          </a:p>
        </p:txBody>
      </p:sp>
    </p:spTree>
    <p:extLst>
      <p:ext uri="{BB962C8B-B14F-4D97-AF65-F5344CB8AC3E}">
        <p14:creationId xmlns:p14="http://schemas.microsoft.com/office/powerpoint/2010/main" val="14593877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B2AE5C-F5D2-4389-A35A-7618DE5C24AB}" type="slidenum">
              <a:rPr lang="en-US" smtClean="0"/>
              <a:pPr/>
              <a:t>28</a:t>
            </a:fld>
            <a:endParaRPr lang="en-US" dirty="0"/>
          </a:p>
        </p:txBody>
      </p:sp>
    </p:spTree>
    <p:extLst>
      <p:ext uri="{BB962C8B-B14F-4D97-AF65-F5344CB8AC3E}">
        <p14:creationId xmlns:p14="http://schemas.microsoft.com/office/powerpoint/2010/main" val="23726001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B2AE5C-F5D2-4389-A35A-7618DE5C24AB}" type="slidenum">
              <a:rPr lang="en-US" smtClean="0"/>
              <a:pPr/>
              <a:t>34</a:t>
            </a:fld>
            <a:endParaRPr lang="en-US" dirty="0"/>
          </a:p>
        </p:txBody>
      </p:sp>
    </p:spTree>
    <p:extLst>
      <p:ext uri="{BB962C8B-B14F-4D97-AF65-F5344CB8AC3E}">
        <p14:creationId xmlns:p14="http://schemas.microsoft.com/office/powerpoint/2010/main" val="1595617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B2AE5C-F5D2-4389-A35A-7618DE5C24AB}" type="slidenum">
              <a:rPr lang="en-US" smtClean="0"/>
              <a:pPr/>
              <a:t>35</a:t>
            </a:fld>
            <a:endParaRPr lang="en-US" dirty="0"/>
          </a:p>
        </p:txBody>
      </p:sp>
    </p:spTree>
    <p:extLst>
      <p:ext uri="{BB962C8B-B14F-4D97-AF65-F5344CB8AC3E}">
        <p14:creationId xmlns:p14="http://schemas.microsoft.com/office/powerpoint/2010/main" val="21117890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B2AE5C-F5D2-4389-A35A-7618DE5C24AB}" type="slidenum">
              <a:rPr lang="en-US" smtClean="0"/>
              <a:pPr/>
              <a:t>36</a:t>
            </a:fld>
            <a:endParaRPr lang="en-US" dirty="0"/>
          </a:p>
        </p:txBody>
      </p:sp>
    </p:spTree>
    <p:extLst>
      <p:ext uri="{BB962C8B-B14F-4D97-AF65-F5344CB8AC3E}">
        <p14:creationId xmlns:p14="http://schemas.microsoft.com/office/powerpoint/2010/main" val="10924886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B2AE5C-F5D2-4389-A35A-7618DE5C24AB}" type="slidenum">
              <a:rPr lang="en-US" smtClean="0"/>
              <a:pPr/>
              <a:t>37</a:t>
            </a:fld>
            <a:endParaRPr lang="en-US" dirty="0"/>
          </a:p>
        </p:txBody>
      </p:sp>
    </p:spTree>
    <p:extLst>
      <p:ext uri="{BB962C8B-B14F-4D97-AF65-F5344CB8AC3E}">
        <p14:creationId xmlns:p14="http://schemas.microsoft.com/office/powerpoint/2010/main" val="7529374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4B2AE5C-F5D2-4389-A35A-7618DE5C24AB}" type="slidenum">
              <a:rPr lang="en-US" smtClean="0"/>
              <a:pPr/>
              <a:t>38</a:t>
            </a:fld>
            <a:endParaRPr lang="en-US" dirty="0"/>
          </a:p>
        </p:txBody>
      </p:sp>
    </p:spTree>
    <p:extLst>
      <p:ext uri="{BB962C8B-B14F-4D97-AF65-F5344CB8AC3E}">
        <p14:creationId xmlns:p14="http://schemas.microsoft.com/office/powerpoint/2010/main" val="159270607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4.xml"/><Relationship Id="rId7"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tags" Target="../tags/tag7.xml"/><Relationship Id="rId5" Type="http://schemas.openxmlformats.org/officeDocument/2006/relationships/tags" Target="../tags/tag6.xml"/><Relationship Id="rId10" Type="http://schemas.openxmlformats.org/officeDocument/2006/relationships/image" Target="../media/image3.jpeg"/><Relationship Id="rId4" Type="http://schemas.openxmlformats.org/officeDocument/2006/relationships/tags" Target="../tags/tag5.xml"/><Relationship Id="rId9"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8.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41.xml"/><Relationship Id="rId7" Type="http://schemas.openxmlformats.org/officeDocument/2006/relationships/tags" Target="../tags/tag45.xml"/><Relationship Id="rId2" Type="http://schemas.openxmlformats.org/officeDocument/2006/relationships/tags" Target="../tags/tag40.xml"/><Relationship Id="rId1" Type="http://schemas.openxmlformats.org/officeDocument/2006/relationships/vmlDrawing" Target="../drawings/vmlDrawing22.vml"/><Relationship Id="rId6" Type="http://schemas.openxmlformats.org/officeDocument/2006/relationships/tags" Target="../tags/tag44.xml"/><Relationship Id="rId5" Type="http://schemas.openxmlformats.org/officeDocument/2006/relationships/tags" Target="../tags/tag43.xml"/><Relationship Id="rId10" Type="http://schemas.openxmlformats.org/officeDocument/2006/relationships/image" Target="../media/image1.emf"/><Relationship Id="rId4" Type="http://schemas.openxmlformats.org/officeDocument/2006/relationships/tags" Target="../tags/tag42.xml"/><Relationship Id="rId9" Type="http://schemas.openxmlformats.org/officeDocument/2006/relationships/oleObject" Target="../embeddings/oleObject22.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image" Target="../media/image1.emf"/><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oleObject" Target="../embeddings/oleObject4.bin"/><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tags" Target="../tags/tag13.xml"/><Relationship Id="rId11" Type="http://schemas.openxmlformats.org/officeDocument/2006/relationships/slideMaster" Target="../slideMasters/slideMaster2.xml"/><Relationship Id="rId5" Type="http://schemas.openxmlformats.org/officeDocument/2006/relationships/tags" Target="../tags/tag12.xml"/><Relationship Id="rId10" Type="http://schemas.openxmlformats.org/officeDocument/2006/relationships/tags" Target="../tags/tag17.xml"/><Relationship Id="rId4" Type="http://schemas.openxmlformats.org/officeDocument/2006/relationships/tags" Target="../tags/tag11.xml"/><Relationship Id="rId9" Type="http://schemas.openxmlformats.org/officeDocument/2006/relationships/tags" Target="../tags/tag16.xml"/></Relationships>
</file>

<file path=ppt/slideLayouts/_rels/slideLayout20.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48.xml"/><Relationship Id="rId7"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58.xml"/><Relationship Id="rId13" Type="http://schemas.openxmlformats.org/officeDocument/2006/relationships/image" Target="../media/image1.emf"/><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oleObject" Target="../embeddings/oleObject25.bin"/><Relationship Id="rId2" Type="http://schemas.openxmlformats.org/officeDocument/2006/relationships/tags" Target="../tags/tag52.xml"/><Relationship Id="rId1" Type="http://schemas.openxmlformats.org/officeDocument/2006/relationships/vmlDrawing" Target="../drawings/vmlDrawing25.vml"/><Relationship Id="rId6" Type="http://schemas.openxmlformats.org/officeDocument/2006/relationships/tags" Target="../tags/tag56.xml"/><Relationship Id="rId11" Type="http://schemas.openxmlformats.org/officeDocument/2006/relationships/slideMaster" Target="../slideMasters/slideMaster4.xml"/><Relationship Id="rId5" Type="http://schemas.openxmlformats.org/officeDocument/2006/relationships/tags" Target="../tags/tag55.xml"/><Relationship Id="rId10" Type="http://schemas.openxmlformats.org/officeDocument/2006/relationships/tags" Target="../tags/tag60.xml"/><Relationship Id="rId4" Type="http://schemas.openxmlformats.org/officeDocument/2006/relationships/tags" Target="../tags/tag54.xml"/><Relationship Id="rId9" Type="http://schemas.openxmlformats.org/officeDocument/2006/relationships/tags" Target="../tags/tag59.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tags" Target="../tags/tag72.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17" Type="http://schemas.openxmlformats.org/officeDocument/2006/relationships/image" Target="../media/image1.emf"/><Relationship Id="rId2" Type="http://schemas.openxmlformats.org/officeDocument/2006/relationships/tags" Target="../tags/tag61.xml"/><Relationship Id="rId16" Type="http://schemas.openxmlformats.org/officeDocument/2006/relationships/oleObject" Target="../embeddings/oleObject26.bin"/><Relationship Id="rId1" Type="http://schemas.openxmlformats.org/officeDocument/2006/relationships/vmlDrawing" Target="../drawings/vmlDrawing26.v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5" Type="http://schemas.openxmlformats.org/officeDocument/2006/relationships/slideMaster" Target="../slideMasters/slideMaster4.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 Id="rId14" Type="http://schemas.openxmlformats.org/officeDocument/2006/relationships/tags" Target="../tags/tag73.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18" Type="http://schemas.openxmlformats.org/officeDocument/2006/relationships/oleObject" Target="../embeddings/oleObject27.bin"/><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slideMaster" Target="../slideMasters/slideMaster4.xml"/><Relationship Id="rId2" Type="http://schemas.openxmlformats.org/officeDocument/2006/relationships/tags" Target="../tags/tag74.xml"/><Relationship Id="rId16" Type="http://schemas.openxmlformats.org/officeDocument/2006/relationships/tags" Target="../tags/tag88.xml"/><Relationship Id="rId1" Type="http://schemas.openxmlformats.org/officeDocument/2006/relationships/vmlDrawing" Target="../drawings/vmlDrawing27.vml"/><Relationship Id="rId6" Type="http://schemas.openxmlformats.org/officeDocument/2006/relationships/tags" Target="../tags/tag78.xml"/><Relationship Id="rId11" Type="http://schemas.openxmlformats.org/officeDocument/2006/relationships/tags" Target="../tags/tag83.xml"/><Relationship Id="rId5" Type="http://schemas.openxmlformats.org/officeDocument/2006/relationships/tags" Target="../tags/tag77.xml"/><Relationship Id="rId15" Type="http://schemas.openxmlformats.org/officeDocument/2006/relationships/tags" Target="../tags/tag87.xml"/><Relationship Id="rId10" Type="http://schemas.openxmlformats.org/officeDocument/2006/relationships/tags" Target="../tags/tag82.xml"/><Relationship Id="rId19" Type="http://schemas.openxmlformats.org/officeDocument/2006/relationships/image" Target="../media/image1.emf"/><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95.xml"/><Relationship Id="rId3" Type="http://schemas.openxmlformats.org/officeDocument/2006/relationships/tags" Target="../tags/tag90.xml"/><Relationship Id="rId7" Type="http://schemas.openxmlformats.org/officeDocument/2006/relationships/tags" Target="../tags/tag94.xml"/><Relationship Id="rId12" Type="http://schemas.openxmlformats.org/officeDocument/2006/relationships/image" Target="../media/image1.emf"/><Relationship Id="rId2" Type="http://schemas.openxmlformats.org/officeDocument/2006/relationships/tags" Target="../tags/tag89.xml"/><Relationship Id="rId1" Type="http://schemas.openxmlformats.org/officeDocument/2006/relationships/vmlDrawing" Target="../drawings/vmlDrawing28.vml"/><Relationship Id="rId6" Type="http://schemas.openxmlformats.org/officeDocument/2006/relationships/tags" Target="../tags/tag93.xml"/><Relationship Id="rId11" Type="http://schemas.openxmlformats.org/officeDocument/2006/relationships/oleObject" Target="../embeddings/oleObject28.bin"/><Relationship Id="rId5" Type="http://schemas.openxmlformats.org/officeDocument/2006/relationships/tags" Target="../tags/tag92.xml"/><Relationship Id="rId10" Type="http://schemas.openxmlformats.org/officeDocument/2006/relationships/slideMaster" Target="../slideMasters/slideMaster4.xml"/><Relationship Id="rId4" Type="http://schemas.openxmlformats.org/officeDocument/2006/relationships/tags" Target="../tags/tag91.xml"/><Relationship Id="rId9" Type="http://schemas.openxmlformats.org/officeDocument/2006/relationships/tags" Target="../tags/tag96.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103.xml"/><Relationship Id="rId3" Type="http://schemas.openxmlformats.org/officeDocument/2006/relationships/tags" Target="../tags/tag98.xml"/><Relationship Id="rId7" Type="http://schemas.openxmlformats.org/officeDocument/2006/relationships/tags" Target="../tags/tag102.xml"/><Relationship Id="rId12" Type="http://schemas.openxmlformats.org/officeDocument/2006/relationships/image" Target="../media/image1.emf"/><Relationship Id="rId2" Type="http://schemas.openxmlformats.org/officeDocument/2006/relationships/tags" Target="../tags/tag97.xml"/><Relationship Id="rId1" Type="http://schemas.openxmlformats.org/officeDocument/2006/relationships/vmlDrawing" Target="../drawings/vmlDrawing29.vml"/><Relationship Id="rId6" Type="http://schemas.openxmlformats.org/officeDocument/2006/relationships/tags" Target="../tags/tag101.xml"/><Relationship Id="rId11" Type="http://schemas.openxmlformats.org/officeDocument/2006/relationships/oleObject" Target="../embeddings/oleObject29.bin"/><Relationship Id="rId5" Type="http://schemas.openxmlformats.org/officeDocument/2006/relationships/tags" Target="../tags/tag100.xml"/><Relationship Id="rId10" Type="http://schemas.openxmlformats.org/officeDocument/2006/relationships/slideMaster" Target="../slideMasters/slideMaster4.xml"/><Relationship Id="rId4" Type="http://schemas.openxmlformats.org/officeDocument/2006/relationships/tags" Target="../tags/tag99.xml"/><Relationship Id="rId9" Type="http://schemas.openxmlformats.org/officeDocument/2006/relationships/tags" Target="../tags/tag104.xml"/></Relationships>
</file>

<file path=ppt/slideLayouts/_rels/slideLayout26.xml.rels><?xml version="1.0" encoding="UTF-8" standalone="yes"?>
<Relationships xmlns="http://schemas.openxmlformats.org/package/2006/relationships"><Relationship Id="rId8" Type="http://schemas.openxmlformats.org/officeDocument/2006/relationships/oleObject" Target="../embeddings/oleObject30.bin"/><Relationship Id="rId3" Type="http://schemas.openxmlformats.org/officeDocument/2006/relationships/tags" Target="../tags/tag106.xml"/><Relationship Id="rId7" Type="http://schemas.openxmlformats.org/officeDocument/2006/relationships/slideMaster" Target="../slideMasters/slideMaster4.xml"/><Relationship Id="rId2" Type="http://schemas.openxmlformats.org/officeDocument/2006/relationships/tags" Target="../tags/tag105.xml"/><Relationship Id="rId1" Type="http://schemas.openxmlformats.org/officeDocument/2006/relationships/vmlDrawing" Target="../drawings/vmlDrawing30.vml"/><Relationship Id="rId6" Type="http://schemas.openxmlformats.org/officeDocument/2006/relationships/tags" Target="../tags/tag109.xml"/><Relationship Id="rId5" Type="http://schemas.openxmlformats.org/officeDocument/2006/relationships/tags" Target="../tags/tag108.xml"/><Relationship Id="rId4" Type="http://schemas.openxmlformats.org/officeDocument/2006/relationships/tags" Target="../tags/tag107.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9.xml"/><Relationship Id="rId7" Type="http://schemas.openxmlformats.org/officeDocument/2006/relationships/tags" Target="../tags/tag23.xml"/><Relationship Id="rId2" Type="http://schemas.openxmlformats.org/officeDocument/2006/relationships/tags" Target="../tags/tag18.xml"/><Relationship Id="rId1" Type="http://schemas.openxmlformats.org/officeDocument/2006/relationships/vmlDrawing" Target="../drawings/vmlDrawing5.vml"/><Relationship Id="rId6" Type="http://schemas.openxmlformats.org/officeDocument/2006/relationships/tags" Target="../tags/tag22.xml"/><Relationship Id="rId5" Type="http://schemas.openxmlformats.org/officeDocument/2006/relationships/tags" Target="../tags/tag21.xml"/><Relationship Id="rId10" Type="http://schemas.openxmlformats.org/officeDocument/2006/relationships/image" Target="../media/image1.emf"/><Relationship Id="rId4" Type="http://schemas.openxmlformats.org/officeDocument/2006/relationships/tags" Target="../tags/tag20.xml"/><Relationship Id="rId9" Type="http://schemas.openxmlformats.org/officeDocument/2006/relationships/oleObject" Target="../embeddings/oleObject5.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ndard/Deliverable Cover P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62607" name="think-cell Slide" r:id="rId8" imgW="360" imgH="360" progId="TCLayout.ActiveDocument.1">
                  <p:embed/>
                </p:oleObj>
              </mc:Choice>
              <mc:Fallback>
                <p:oleObj name="think-cell Slide" r:id="rId8" imgW="360" imgH="360" progId="TCLayout.ActiveDocument.1">
                  <p:embed/>
                  <p:pic>
                    <p:nvPicPr>
                      <p:cNvPr id="0" name="Picture 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976855" y="1234464"/>
            <a:ext cx="7751940" cy="1156710"/>
          </a:xfrm>
          <a:prstGeom prst="rect">
            <a:avLst/>
          </a:prstGeom>
        </p:spPr>
        <p:txBody>
          <a:bodyPr lIns="0" tIns="0" rIns="0" bIns="0"/>
          <a:lstStyle>
            <a:lvl1pPr algn="l">
              <a:defRPr sz="2800" b="1">
                <a:solidFill>
                  <a:srgbClr val="67103F"/>
                </a:solidFill>
              </a:defRPr>
            </a:lvl1pPr>
          </a:lstStyle>
          <a:p>
            <a:r>
              <a:rPr lang="en-US" dirty="0" smtClean="0"/>
              <a:t>Click to edit Master </a:t>
            </a:r>
            <a:br>
              <a:rPr lang="en-US" dirty="0" smtClean="0"/>
            </a:br>
            <a:r>
              <a:rPr lang="en-US" dirty="0" smtClean="0"/>
              <a:t>presentation title</a:t>
            </a:r>
            <a:endParaRPr lang="en-US" dirty="0"/>
          </a:p>
        </p:txBody>
      </p:sp>
      <p:sp>
        <p:nvSpPr>
          <p:cNvPr id="3" name="Subtitle 2"/>
          <p:cNvSpPr>
            <a:spLocks noGrp="1"/>
          </p:cNvSpPr>
          <p:nvPr>
            <p:ph type="subTitle" idx="1" hasCustomPrompt="1"/>
            <p:custDataLst>
              <p:tags r:id="rId4"/>
            </p:custDataLst>
          </p:nvPr>
        </p:nvSpPr>
        <p:spPr>
          <a:xfrm>
            <a:off x="976855" y="2391175"/>
            <a:ext cx="7751940" cy="826221"/>
          </a:xfrm>
          <a:prstGeom prst="rect">
            <a:avLst/>
          </a:prstGeom>
        </p:spPr>
        <p:txBody>
          <a:bodyPr lIns="0" tIns="0" rIns="0" bIns="0"/>
          <a:lstStyle>
            <a:lvl1pPr marL="0" indent="0" algn="l">
              <a:buNone/>
              <a:defRPr sz="2200" i="1">
                <a:solidFill>
                  <a:schemeClr val="tx2"/>
                </a:solidFill>
              </a:defRPr>
            </a:lvl1pPr>
            <a:lvl2pPr marL="410291" indent="0" algn="ctr">
              <a:buNone/>
              <a:defRPr>
                <a:solidFill>
                  <a:schemeClr val="tx1">
                    <a:tint val="75000"/>
                  </a:schemeClr>
                </a:solidFill>
              </a:defRPr>
            </a:lvl2pPr>
            <a:lvl3pPr marL="820583" indent="0" algn="ctr">
              <a:buNone/>
              <a:defRPr>
                <a:solidFill>
                  <a:schemeClr val="tx1">
                    <a:tint val="75000"/>
                  </a:schemeClr>
                </a:solidFill>
              </a:defRPr>
            </a:lvl3pPr>
            <a:lvl4pPr marL="1230874" indent="0" algn="ctr">
              <a:buNone/>
              <a:defRPr>
                <a:solidFill>
                  <a:schemeClr val="tx1">
                    <a:tint val="75000"/>
                  </a:schemeClr>
                </a:solidFill>
              </a:defRPr>
            </a:lvl4pPr>
            <a:lvl5pPr marL="1641165" indent="0" algn="ctr">
              <a:buNone/>
              <a:defRPr>
                <a:solidFill>
                  <a:schemeClr val="tx1">
                    <a:tint val="75000"/>
                  </a:schemeClr>
                </a:solidFill>
              </a:defRPr>
            </a:lvl5pPr>
            <a:lvl6pPr marL="2051456" indent="0" algn="ctr">
              <a:buNone/>
              <a:defRPr>
                <a:solidFill>
                  <a:schemeClr val="tx1">
                    <a:tint val="75000"/>
                  </a:schemeClr>
                </a:solidFill>
              </a:defRPr>
            </a:lvl6pPr>
            <a:lvl7pPr marL="2461748" indent="0" algn="ctr">
              <a:buNone/>
              <a:defRPr>
                <a:solidFill>
                  <a:schemeClr val="tx1">
                    <a:tint val="75000"/>
                  </a:schemeClr>
                </a:solidFill>
              </a:defRPr>
            </a:lvl7pPr>
            <a:lvl8pPr marL="2872039" indent="0" algn="ctr">
              <a:buNone/>
              <a:defRPr>
                <a:solidFill>
                  <a:schemeClr val="tx1">
                    <a:tint val="75000"/>
                  </a:schemeClr>
                </a:solidFill>
              </a:defRPr>
            </a:lvl8pPr>
            <a:lvl9pPr marL="3282330" indent="0" algn="ctr">
              <a:buNone/>
              <a:defRPr>
                <a:solidFill>
                  <a:schemeClr val="tx1">
                    <a:tint val="75000"/>
                  </a:schemeClr>
                </a:solidFill>
              </a:defRPr>
            </a:lvl9pPr>
          </a:lstStyle>
          <a:p>
            <a:r>
              <a:rPr lang="en-US" dirty="0" smtClean="0"/>
              <a:t>Click to edit Master </a:t>
            </a:r>
            <a:br>
              <a:rPr lang="en-US" dirty="0" smtClean="0"/>
            </a:br>
            <a:r>
              <a:rPr lang="en-US" dirty="0" smtClean="0"/>
              <a:t>presentation subtitle</a:t>
            </a:r>
            <a:endParaRPr lang="en-US" dirty="0"/>
          </a:p>
        </p:txBody>
      </p:sp>
      <p:pic>
        <p:nvPicPr>
          <p:cNvPr id="7" name="Picture 6" descr="Dalberg Dash.jpg"/>
          <p:cNvPicPr>
            <a:picLocks noChangeAspect="1"/>
          </p:cNvPicPr>
          <p:nvPr userDrawn="1">
            <p:custDataLst>
              <p:tags r:id="rId5"/>
            </p:custDataLst>
          </p:nvPr>
        </p:nvPicPr>
        <p:blipFill>
          <a:blip r:embed="rId10" cstate="print"/>
          <a:stretch>
            <a:fillRect/>
          </a:stretch>
        </p:blipFill>
        <p:spPr>
          <a:xfrm>
            <a:off x="507924" y="1379799"/>
            <a:ext cx="347361" cy="229509"/>
          </a:xfrm>
          <a:prstGeom prst="rect">
            <a:avLst/>
          </a:prstGeom>
        </p:spPr>
      </p:pic>
      <p:sp>
        <p:nvSpPr>
          <p:cNvPr id="9" name="Text Placeholder 8"/>
          <p:cNvSpPr>
            <a:spLocks noGrp="1"/>
          </p:cNvSpPr>
          <p:nvPr>
            <p:ph type="body" sz="quarter" idx="10" hasCustomPrompt="1"/>
            <p:custDataLst>
              <p:tags r:id="rId6"/>
            </p:custDataLst>
          </p:nvPr>
        </p:nvSpPr>
        <p:spPr>
          <a:xfrm>
            <a:off x="976952" y="3208579"/>
            <a:ext cx="7751844" cy="826088"/>
          </a:xfrm>
          <a:prstGeom prst="rect">
            <a:avLst/>
          </a:prstGeom>
        </p:spPr>
        <p:txBody>
          <a:bodyPr lIns="0" tIns="0" rIns="0" bIns="0"/>
          <a:lstStyle>
            <a:lvl1pPr>
              <a:buNone/>
              <a:defRPr sz="1800">
                <a:solidFill>
                  <a:schemeClr val="tx2"/>
                </a:solidFill>
              </a:defRPr>
            </a:lvl1pPr>
            <a:lvl2pPr>
              <a:defRPr sz="1800"/>
            </a:lvl2pPr>
            <a:lvl3pPr>
              <a:defRPr sz="1800"/>
            </a:lvl3pPr>
            <a:lvl4pPr>
              <a:defRPr sz="1800"/>
            </a:lvl4pPr>
            <a:lvl5pPr>
              <a:defRPr sz="1800"/>
            </a:lvl5pPr>
          </a:lstStyle>
          <a:p>
            <a:pPr lvl="0"/>
            <a:r>
              <a:rPr lang="en-US" dirty="0" smtClean="0"/>
              <a:t>Date</a:t>
            </a: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Row Boxes">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0" y="0"/>
          <a:ext cx="144318" cy="140074"/>
        </p:xfrm>
        <a:graphic>
          <a:graphicData uri="http://schemas.openxmlformats.org/presentationml/2006/ole">
            <mc:AlternateContent xmlns:mc="http://schemas.openxmlformats.org/markup-compatibility/2006">
              <mc:Choice xmlns:v="urn:schemas-microsoft-com:vml" Requires="v">
                <p:oleObj spid="_x0000_s741136" name="think-cell Slide" r:id="rId4" imgW="360" imgH="360" progId="TCLayout.ActiveDocument.1">
                  <p:embed/>
                </p:oleObj>
              </mc:Choice>
              <mc:Fallback>
                <p:oleObj name="think-cell Slide" r:id="rId4" imgW="360" imgH="36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nvPr>
        </p:nvSpPr>
        <p:spPr>
          <a:xfrm>
            <a:off x="415637" y="134471"/>
            <a:ext cx="8312727"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16" name="Text Placeholder 14"/>
          <p:cNvSpPr>
            <a:spLocks noGrp="1"/>
          </p:cNvSpPr>
          <p:nvPr>
            <p:ph type="body" sz="quarter" idx="59" hasCustomPrompt="1"/>
          </p:nvPr>
        </p:nvSpPr>
        <p:spPr>
          <a:xfrm>
            <a:off x="415925" y="5263326"/>
            <a:ext cx="1798567"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17" name="Text Placeholder 9"/>
          <p:cNvSpPr>
            <a:spLocks noGrp="1"/>
          </p:cNvSpPr>
          <p:nvPr>
            <p:ph type="body" sz="quarter" idx="61"/>
          </p:nvPr>
        </p:nvSpPr>
        <p:spPr>
          <a:xfrm>
            <a:off x="2327830" y="5284081"/>
            <a:ext cx="6400487" cy="888088"/>
          </a:xfrm>
          <a:prstGeom prst="rect">
            <a:avLst/>
          </a:prstGeom>
          <a:noFill/>
        </p:spPr>
        <p:txBody>
          <a:bodyPr lIns="0" tIns="0" rIns="0" bIns="0"/>
          <a:lstStyle>
            <a:lvl1pPr marL="173038" indent="-173038">
              <a:defRPr/>
            </a:lvl1pPr>
            <a:lvl2pPr marL="347663" indent="-174625">
              <a:defRPr sz="1200"/>
            </a:lvl2pPr>
            <a:lvl3pPr marL="509588" indent="-161925">
              <a:defRPr sz="12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8" name="Text Placeholder 14"/>
          <p:cNvSpPr>
            <a:spLocks noGrp="1"/>
          </p:cNvSpPr>
          <p:nvPr>
            <p:ph type="body" sz="quarter" idx="62" hasCustomPrompt="1"/>
          </p:nvPr>
        </p:nvSpPr>
        <p:spPr>
          <a:xfrm>
            <a:off x="415925" y="4203709"/>
            <a:ext cx="1798567"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19" name="Text Placeholder 9"/>
          <p:cNvSpPr>
            <a:spLocks noGrp="1"/>
          </p:cNvSpPr>
          <p:nvPr>
            <p:ph type="body" sz="quarter" idx="63"/>
          </p:nvPr>
        </p:nvSpPr>
        <p:spPr>
          <a:xfrm>
            <a:off x="2314887" y="4203709"/>
            <a:ext cx="6386344" cy="888088"/>
          </a:xfrm>
          <a:prstGeom prst="rect">
            <a:avLst/>
          </a:prstGeom>
          <a:noFill/>
        </p:spPr>
        <p:txBody>
          <a:bodyPr lIns="0" tIns="0" rIns="0" bIns="0"/>
          <a:lstStyle>
            <a:lvl1pPr marL="173038" indent="-173038">
              <a:defRPr/>
            </a:lvl1pPr>
            <a:lvl2pPr marL="347663" indent="-174625" algn="l" defTabSz="914293" rtl="0" eaLnBrk="1" latinLnBrk="0" hangingPunct="1">
              <a:spcBef>
                <a:spcPct val="20000"/>
              </a:spcBef>
              <a:defRPr lang="en-US" sz="1200" kern="1200" dirty="0" smtClean="0">
                <a:solidFill>
                  <a:schemeClr val="tx1"/>
                </a:solidFill>
                <a:latin typeface="+mn-lt"/>
                <a:ea typeface="+mn-ea"/>
                <a:cs typeface="+mn-cs"/>
              </a:defRPr>
            </a:lvl2pPr>
            <a:lvl3pPr marL="509588" indent="-161925" algn="l" defTabSz="914293" rtl="0" eaLnBrk="1" latinLnBrk="0" hangingPunct="1">
              <a:spcBef>
                <a:spcPct val="20000"/>
              </a:spcBef>
              <a:defRPr lang="en-US" sz="1200" kern="1200" dirty="0" smtClean="0">
                <a:solidFill>
                  <a:schemeClr val="tx1"/>
                </a:solidFill>
                <a:latin typeface="+mn-lt"/>
                <a:ea typeface="+mn-ea"/>
                <a:cs typeface="+mn-cs"/>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20" name="Text Placeholder 14"/>
          <p:cNvSpPr>
            <a:spLocks noGrp="1"/>
          </p:cNvSpPr>
          <p:nvPr>
            <p:ph type="body" sz="quarter" idx="64" hasCustomPrompt="1"/>
          </p:nvPr>
        </p:nvSpPr>
        <p:spPr>
          <a:xfrm>
            <a:off x="415925" y="3144093"/>
            <a:ext cx="1798567"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21" name="Text Placeholder 9"/>
          <p:cNvSpPr>
            <a:spLocks noGrp="1"/>
          </p:cNvSpPr>
          <p:nvPr>
            <p:ph type="body" sz="quarter" idx="65"/>
          </p:nvPr>
        </p:nvSpPr>
        <p:spPr>
          <a:xfrm>
            <a:off x="2314887" y="3144092"/>
            <a:ext cx="6386344" cy="888088"/>
          </a:xfrm>
          <a:prstGeom prst="rect">
            <a:avLst/>
          </a:prstGeom>
          <a:noFill/>
        </p:spPr>
        <p:txBody>
          <a:bodyPr lIns="0" tIns="0" rIns="0" bIns="0"/>
          <a:lstStyle>
            <a:lvl1pPr marL="173038" indent="-173038">
              <a:defRPr/>
            </a:lvl1pPr>
            <a:lvl2pPr marL="347663" indent="-174625" algn="l" defTabSz="914293" rtl="0" eaLnBrk="1" latinLnBrk="0" hangingPunct="1">
              <a:spcBef>
                <a:spcPct val="20000"/>
              </a:spcBef>
              <a:defRPr lang="en-US" sz="1200" kern="1200" dirty="0" smtClean="0">
                <a:solidFill>
                  <a:schemeClr val="tx1"/>
                </a:solidFill>
                <a:latin typeface="+mn-lt"/>
                <a:ea typeface="+mn-ea"/>
                <a:cs typeface="+mn-cs"/>
              </a:defRPr>
            </a:lvl2pPr>
            <a:lvl3pPr marL="509588" indent="-161925" algn="l" defTabSz="914293" rtl="0" eaLnBrk="1" latinLnBrk="0" hangingPunct="1">
              <a:spcBef>
                <a:spcPct val="20000"/>
              </a:spcBef>
              <a:defRPr lang="en-US" sz="1200" kern="1200" dirty="0" smtClean="0">
                <a:solidFill>
                  <a:schemeClr val="tx1"/>
                </a:solidFill>
                <a:latin typeface="+mn-lt"/>
                <a:ea typeface="+mn-ea"/>
                <a:cs typeface="+mn-cs"/>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22" name="Text Placeholder 14"/>
          <p:cNvSpPr>
            <a:spLocks noGrp="1"/>
          </p:cNvSpPr>
          <p:nvPr>
            <p:ph type="body" sz="quarter" idx="66" hasCustomPrompt="1"/>
          </p:nvPr>
        </p:nvSpPr>
        <p:spPr>
          <a:xfrm>
            <a:off x="415925" y="2084476"/>
            <a:ext cx="1798567"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23" name="Text Placeholder 9"/>
          <p:cNvSpPr>
            <a:spLocks noGrp="1"/>
          </p:cNvSpPr>
          <p:nvPr>
            <p:ph type="body" sz="quarter" idx="67"/>
          </p:nvPr>
        </p:nvSpPr>
        <p:spPr>
          <a:xfrm>
            <a:off x="2314887" y="2084476"/>
            <a:ext cx="6386344" cy="888088"/>
          </a:xfrm>
          <a:prstGeom prst="rect">
            <a:avLst/>
          </a:prstGeom>
          <a:noFill/>
        </p:spPr>
        <p:txBody>
          <a:bodyPr lIns="0" tIns="0" rIns="0" bIns="0"/>
          <a:lstStyle>
            <a:lvl1pPr marL="173038" indent="-173038">
              <a:defRPr/>
            </a:lvl1pPr>
            <a:lvl2pPr marL="347663" indent="-174625" algn="l" defTabSz="914293" rtl="0" eaLnBrk="1" latinLnBrk="0" hangingPunct="1">
              <a:spcBef>
                <a:spcPct val="20000"/>
              </a:spcBef>
              <a:defRPr lang="en-US" sz="1200" kern="1200" dirty="0" smtClean="0">
                <a:solidFill>
                  <a:schemeClr val="tx1"/>
                </a:solidFill>
                <a:latin typeface="+mn-lt"/>
                <a:ea typeface="+mn-ea"/>
                <a:cs typeface="+mn-cs"/>
              </a:defRPr>
            </a:lvl2pPr>
            <a:lvl3pPr marL="509588" indent="-161925" algn="l" defTabSz="914293" rtl="0" eaLnBrk="1" latinLnBrk="0" hangingPunct="1">
              <a:spcBef>
                <a:spcPct val="20000"/>
              </a:spcBef>
              <a:defRPr lang="en-US" sz="1200" kern="1200" dirty="0" smtClean="0">
                <a:solidFill>
                  <a:schemeClr val="tx1"/>
                </a:solidFill>
                <a:latin typeface="+mn-lt"/>
                <a:ea typeface="+mn-ea"/>
                <a:cs typeface="+mn-cs"/>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24" name="Text Placeholder 14"/>
          <p:cNvSpPr>
            <a:spLocks noGrp="1"/>
          </p:cNvSpPr>
          <p:nvPr>
            <p:ph type="body" sz="quarter" idx="68" hasCustomPrompt="1"/>
          </p:nvPr>
        </p:nvSpPr>
        <p:spPr>
          <a:xfrm>
            <a:off x="415925" y="1008063"/>
            <a:ext cx="1798567"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25" name="Text Placeholder 9"/>
          <p:cNvSpPr>
            <a:spLocks noGrp="1"/>
          </p:cNvSpPr>
          <p:nvPr>
            <p:ph type="body" sz="quarter" idx="69"/>
          </p:nvPr>
        </p:nvSpPr>
        <p:spPr>
          <a:xfrm>
            <a:off x="2314887" y="1008063"/>
            <a:ext cx="6386344" cy="888088"/>
          </a:xfrm>
          <a:prstGeom prst="rect">
            <a:avLst/>
          </a:prstGeom>
          <a:noFill/>
        </p:spPr>
        <p:txBody>
          <a:bodyPr lIns="0" tIns="0" rIns="0" bIns="0"/>
          <a:lstStyle>
            <a:lvl1pPr marL="173038" indent="-173038">
              <a:defRPr/>
            </a:lvl1pPr>
            <a:lvl2pPr marL="347663" indent="-174625" algn="l" defTabSz="914293" rtl="0" eaLnBrk="1" latinLnBrk="0" hangingPunct="1">
              <a:spcBef>
                <a:spcPct val="20000"/>
              </a:spcBef>
              <a:defRPr lang="en-US" sz="1200" kern="1200" dirty="0" smtClean="0">
                <a:solidFill>
                  <a:schemeClr val="tx1"/>
                </a:solidFill>
                <a:latin typeface="+mn-lt"/>
                <a:ea typeface="+mn-ea"/>
                <a:cs typeface="+mn-cs"/>
              </a:defRPr>
            </a:lvl2pPr>
            <a:lvl3pPr marL="509588" indent="-161925" algn="l" defTabSz="914293" rtl="0" eaLnBrk="1" latinLnBrk="0" hangingPunct="1">
              <a:spcBef>
                <a:spcPct val="20000"/>
              </a:spcBef>
              <a:defRPr lang="en-US" sz="1200" kern="1200" dirty="0" smtClean="0">
                <a:solidFill>
                  <a:schemeClr val="tx1"/>
                </a:solidFill>
                <a:latin typeface="+mn-lt"/>
                <a:ea typeface="+mn-ea"/>
                <a:cs typeface="+mn-cs"/>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26" name="Text Placeholder 9"/>
          <p:cNvSpPr>
            <a:spLocks noGrp="1"/>
          </p:cNvSpPr>
          <p:nvPr>
            <p:ph type="body" sz="quarter" idx="37" hasCustomPrompt="1"/>
          </p:nvPr>
        </p:nvSpPr>
        <p:spPr>
          <a:xfrm>
            <a:off x="415925" y="6446487"/>
            <a:ext cx="7539318" cy="386679"/>
          </a:xfrm>
          <a:prstGeom prst="rect">
            <a:avLst/>
          </a:prstGeom>
        </p:spPr>
        <p:txBody>
          <a:bodyPr lIns="0" tIns="0" rIns="0" bIns="0" anchor="b"/>
          <a:lstStyle>
            <a:lvl1pPr marL="0" indent="0">
              <a:buNone/>
              <a:defRPr sz="1000"/>
            </a:lvl1pPr>
          </a:lstStyle>
          <a:p>
            <a:r>
              <a:rPr lang="en-US" dirty="0" smtClean="0"/>
              <a:t>Click to edit Master footer. This space is reserved for footnotes and sources only, and cannot be expanded beyond its current size. Text should </a:t>
            </a:r>
            <a:br>
              <a:rPr lang="en-US" dirty="0" smtClean="0"/>
            </a:br>
            <a:r>
              <a:rPr lang="en-US" dirty="0" smtClean="0"/>
              <a:t>never cover the ‘Dalberg #’ in the bottom right., but the bottom line of text can extend under it if necessary.  SOURCE::</a:t>
            </a:r>
            <a:r>
              <a:rPr lang="en-US" dirty="0" err="1" smtClean="0"/>
              <a:t>xxxxxxxxxxxxxxxxxxxxxxxx</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Row Boxes + Head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0" y="0"/>
          <a:ext cx="144318" cy="140074"/>
        </p:xfrm>
        <a:graphic>
          <a:graphicData uri="http://schemas.openxmlformats.org/presentationml/2006/ole">
            <mc:AlternateContent xmlns:mc="http://schemas.openxmlformats.org/markup-compatibility/2006">
              <mc:Choice xmlns:v="urn:schemas-microsoft-com:vml" Requires="v">
                <p:oleObj spid="_x0000_s753424" name="think-cell Slide" r:id="rId4" imgW="360" imgH="360" progId="TCLayout.ActiveDocument.1">
                  <p:embed/>
                </p:oleObj>
              </mc:Choice>
              <mc:Fallback>
                <p:oleObj name="think-cell Slide" r:id="rId4" imgW="360" imgH="36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nvPr>
        </p:nvSpPr>
        <p:spPr>
          <a:xfrm>
            <a:off x="415637" y="134471"/>
            <a:ext cx="8312727"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33" name="Text Placeholder 14"/>
          <p:cNvSpPr>
            <a:spLocks noGrp="1"/>
          </p:cNvSpPr>
          <p:nvPr>
            <p:ph type="body" sz="quarter" idx="59" hasCustomPrompt="1"/>
          </p:nvPr>
        </p:nvSpPr>
        <p:spPr>
          <a:xfrm>
            <a:off x="415925" y="5425281"/>
            <a:ext cx="1798567"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35" name="Text Placeholder 9"/>
          <p:cNvSpPr>
            <a:spLocks noGrp="1"/>
          </p:cNvSpPr>
          <p:nvPr>
            <p:ph type="body" sz="quarter" idx="61"/>
          </p:nvPr>
        </p:nvSpPr>
        <p:spPr>
          <a:xfrm>
            <a:off x="2327830" y="5446036"/>
            <a:ext cx="6400487" cy="888088"/>
          </a:xfrm>
          <a:prstGeom prst="rect">
            <a:avLst/>
          </a:prstGeom>
          <a:noFill/>
        </p:spPr>
        <p:txBody>
          <a:bodyPr lIns="0" tIns="0" rIns="0" bIns="0"/>
          <a:lstStyle>
            <a:lvl1pPr marL="173038" indent="-173038">
              <a:defRPr/>
            </a:lvl1pPr>
            <a:lvl2pPr marL="347663" indent="-174625">
              <a:defRPr sz="1200"/>
            </a:lvl2pPr>
            <a:lvl3pPr marL="509588" indent="-161925">
              <a:defRPr sz="1200"/>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37" name="Text Placeholder 14"/>
          <p:cNvSpPr>
            <a:spLocks noGrp="1"/>
          </p:cNvSpPr>
          <p:nvPr>
            <p:ph type="body" sz="quarter" idx="62" hasCustomPrompt="1"/>
          </p:nvPr>
        </p:nvSpPr>
        <p:spPr>
          <a:xfrm>
            <a:off x="415925" y="4457103"/>
            <a:ext cx="1798567"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39" name="Text Placeholder 9"/>
          <p:cNvSpPr>
            <a:spLocks noGrp="1"/>
          </p:cNvSpPr>
          <p:nvPr>
            <p:ph type="body" sz="quarter" idx="63"/>
          </p:nvPr>
        </p:nvSpPr>
        <p:spPr>
          <a:xfrm>
            <a:off x="2314887" y="4457103"/>
            <a:ext cx="6386344" cy="888088"/>
          </a:xfrm>
          <a:prstGeom prst="rect">
            <a:avLst/>
          </a:prstGeom>
          <a:noFill/>
        </p:spPr>
        <p:txBody>
          <a:bodyPr lIns="0" tIns="0" rIns="0" bIns="0"/>
          <a:lstStyle>
            <a:lvl1pPr marL="173038" indent="-173038">
              <a:defRPr/>
            </a:lvl1pPr>
            <a:lvl2pPr marL="347663" indent="-174625" algn="l" defTabSz="914293" rtl="0" eaLnBrk="1" latinLnBrk="0" hangingPunct="1">
              <a:spcBef>
                <a:spcPct val="20000"/>
              </a:spcBef>
              <a:defRPr lang="en-US" sz="1200" kern="1200" dirty="0" smtClean="0">
                <a:solidFill>
                  <a:schemeClr val="tx1"/>
                </a:solidFill>
                <a:latin typeface="+mn-lt"/>
                <a:ea typeface="+mn-ea"/>
                <a:cs typeface="+mn-cs"/>
              </a:defRPr>
            </a:lvl2pPr>
            <a:lvl3pPr marL="509588" indent="-161925" algn="l" defTabSz="914293" rtl="0" eaLnBrk="1" latinLnBrk="0" hangingPunct="1">
              <a:spcBef>
                <a:spcPct val="20000"/>
              </a:spcBef>
              <a:defRPr lang="en-US" sz="1200" kern="1200" dirty="0" smtClean="0">
                <a:solidFill>
                  <a:schemeClr val="tx1"/>
                </a:solidFill>
                <a:latin typeface="+mn-lt"/>
                <a:ea typeface="+mn-ea"/>
                <a:cs typeface="+mn-cs"/>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1" name="Text Placeholder 14"/>
          <p:cNvSpPr>
            <a:spLocks noGrp="1"/>
          </p:cNvSpPr>
          <p:nvPr>
            <p:ph type="body" sz="quarter" idx="64" hasCustomPrompt="1"/>
          </p:nvPr>
        </p:nvSpPr>
        <p:spPr>
          <a:xfrm>
            <a:off x="415925" y="3488926"/>
            <a:ext cx="1798567"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43" name="Text Placeholder 9"/>
          <p:cNvSpPr>
            <a:spLocks noGrp="1"/>
          </p:cNvSpPr>
          <p:nvPr>
            <p:ph type="body" sz="quarter" idx="65"/>
          </p:nvPr>
        </p:nvSpPr>
        <p:spPr>
          <a:xfrm>
            <a:off x="2314887" y="3488925"/>
            <a:ext cx="6386344" cy="888088"/>
          </a:xfrm>
          <a:prstGeom prst="rect">
            <a:avLst/>
          </a:prstGeom>
          <a:noFill/>
        </p:spPr>
        <p:txBody>
          <a:bodyPr lIns="0" tIns="0" rIns="0" bIns="0"/>
          <a:lstStyle>
            <a:lvl1pPr marL="173038" indent="-173038">
              <a:defRPr/>
            </a:lvl1pPr>
            <a:lvl2pPr marL="347663" indent="-174625" algn="l" defTabSz="914293" rtl="0" eaLnBrk="1" latinLnBrk="0" hangingPunct="1">
              <a:spcBef>
                <a:spcPct val="20000"/>
              </a:spcBef>
              <a:defRPr lang="en-US" sz="1200" kern="1200" dirty="0" smtClean="0">
                <a:solidFill>
                  <a:schemeClr val="tx1"/>
                </a:solidFill>
                <a:latin typeface="+mn-lt"/>
                <a:ea typeface="+mn-ea"/>
                <a:cs typeface="+mn-cs"/>
              </a:defRPr>
            </a:lvl2pPr>
            <a:lvl3pPr marL="509588" indent="-161925" algn="l" defTabSz="914293" rtl="0" eaLnBrk="1" latinLnBrk="0" hangingPunct="1">
              <a:spcBef>
                <a:spcPct val="20000"/>
              </a:spcBef>
              <a:defRPr lang="en-US" sz="1200" kern="1200" dirty="0" smtClean="0">
                <a:solidFill>
                  <a:schemeClr val="tx1"/>
                </a:solidFill>
                <a:latin typeface="+mn-lt"/>
                <a:ea typeface="+mn-ea"/>
                <a:cs typeface="+mn-cs"/>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4" name="Text Placeholder 14"/>
          <p:cNvSpPr>
            <a:spLocks noGrp="1"/>
          </p:cNvSpPr>
          <p:nvPr>
            <p:ph type="body" sz="quarter" idx="66" hasCustomPrompt="1"/>
          </p:nvPr>
        </p:nvSpPr>
        <p:spPr>
          <a:xfrm>
            <a:off x="415925" y="2520748"/>
            <a:ext cx="1798567"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45" name="Text Placeholder 9"/>
          <p:cNvSpPr>
            <a:spLocks noGrp="1"/>
          </p:cNvSpPr>
          <p:nvPr>
            <p:ph type="body" sz="quarter" idx="67"/>
          </p:nvPr>
        </p:nvSpPr>
        <p:spPr>
          <a:xfrm>
            <a:off x="2314887" y="2520748"/>
            <a:ext cx="6386344" cy="888088"/>
          </a:xfrm>
          <a:prstGeom prst="rect">
            <a:avLst/>
          </a:prstGeom>
          <a:noFill/>
        </p:spPr>
        <p:txBody>
          <a:bodyPr lIns="0" tIns="0" rIns="0" bIns="0"/>
          <a:lstStyle>
            <a:lvl1pPr marL="173038" indent="-173038">
              <a:defRPr/>
            </a:lvl1pPr>
            <a:lvl2pPr marL="347663" indent="-174625" algn="l" defTabSz="914293" rtl="0" eaLnBrk="1" latinLnBrk="0" hangingPunct="1">
              <a:spcBef>
                <a:spcPct val="20000"/>
              </a:spcBef>
              <a:defRPr lang="en-US" sz="1200" kern="1200" dirty="0" smtClean="0">
                <a:solidFill>
                  <a:schemeClr val="tx1"/>
                </a:solidFill>
                <a:latin typeface="+mn-lt"/>
                <a:ea typeface="+mn-ea"/>
                <a:cs typeface="+mn-cs"/>
              </a:defRPr>
            </a:lvl2pPr>
            <a:lvl3pPr marL="509588" indent="-161925" algn="l" defTabSz="914293" rtl="0" eaLnBrk="1" latinLnBrk="0" hangingPunct="1">
              <a:spcBef>
                <a:spcPct val="20000"/>
              </a:spcBef>
              <a:defRPr lang="en-US" sz="1200" kern="1200" dirty="0" smtClean="0">
                <a:solidFill>
                  <a:schemeClr val="tx1"/>
                </a:solidFill>
                <a:latin typeface="+mn-lt"/>
                <a:ea typeface="+mn-ea"/>
                <a:cs typeface="+mn-cs"/>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6" name="Text Placeholder 14"/>
          <p:cNvSpPr>
            <a:spLocks noGrp="1"/>
          </p:cNvSpPr>
          <p:nvPr>
            <p:ph type="body" sz="quarter" idx="68" hasCustomPrompt="1"/>
          </p:nvPr>
        </p:nvSpPr>
        <p:spPr>
          <a:xfrm>
            <a:off x="415925" y="1552570"/>
            <a:ext cx="1798567" cy="908844"/>
          </a:xfrm>
          <a:prstGeom prst="rect">
            <a:avLst/>
          </a:prstGeom>
          <a:solidFill>
            <a:schemeClr val="tx2"/>
          </a:solidFill>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48" name="Text Placeholder 9"/>
          <p:cNvSpPr>
            <a:spLocks noGrp="1"/>
          </p:cNvSpPr>
          <p:nvPr>
            <p:ph type="body" sz="quarter" idx="69"/>
          </p:nvPr>
        </p:nvSpPr>
        <p:spPr>
          <a:xfrm>
            <a:off x="2314887" y="1552570"/>
            <a:ext cx="6386344" cy="888088"/>
          </a:xfrm>
          <a:prstGeom prst="rect">
            <a:avLst/>
          </a:prstGeom>
          <a:noFill/>
        </p:spPr>
        <p:txBody>
          <a:bodyPr lIns="0" tIns="0" rIns="0" bIns="0"/>
          <a:lstStyle>
            <a:lvl1pPr marL="173038" indent="-173038">
              <a:defRPr/>
            </a:lvl1pPr>
            <a:lvl2pPr marL="347663" indent="-174625" algn="l" defTabSz="914293" rtl="0" eaLnBrk="1" latinLnBrk="0" hangingPunct="1">
              <a:spcBef>
                <a:spcPct val="20000"/>
              </a:spcBef>
              <a:defRPr lang="en-US" sz="1200" kern="1200" dirty="0" smtClean="0">
                <a:solidFill>
                  <a:schemeClr val="tx1"/>
                </a:solidFill>
                <a:latin typeface="+mn-lt"/>
                <a:ea typeface="+mn-ea"/>
                <a:cs typeface="+mn-cs"/>
              </a:defRPr>
            </a:lvl2pPr>
            <a:lvl3pPr marL="509588" indent="-161925" algn="l" defTabSz="914293" rtl="0" eaLnBrk="1" latinLnBrk="0" hangingPunct="1">
              <a:spcBef>
                <a:spcPct val="20000"/>
              </a:spcBef>
              <a:defRPr lang="en-US" sz="1200" kern="1200" dirty="0" smtClean="0">
                <a:solidFill>
                  <a:schemeClr val="tx1"/>
                </a:solidFill>
                <a:latin typeface="+mn-lt"/>
                <a:ea typeface="+mn-ea"/>
                <a:cs typeface="+mn-cs"/>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15" name="Text Placeholder 14"/>
          <p:cNvSpPr>
            <a:spLocks noGrp="1"/>
          </p:cNvSpPr>
          <p:nvPr>
            <p:ph type="body" sz="quarter" idx="70" hasCustomPrompt="1"/>
          </p:nvPr>
        </p:nvSpPr>
        <p:spPr>
          <a:xfrm>
            <a:off x="2327807" y="1008062"/>
            <a:ext cx="6400511" cy="409279"/>
          </a:xfrm>
          <a:prstGeom prst="rect">
            <a:avLst/>
          </a:prstGeom>
        </p:spPr>
        <p:txBody>
          <a:bodyPr lIns="0" tIns="0" rIns="0" bIns="0" anchor="b"/>
          <a:lstStyle>
            <a:lvl1pPr algn="ctr">
              <a:buNone/>
              <a:defRPr b="1" baseline="0"/>
            </a:lvl1pPr>
          </a:lstStyle>
          <a:p>
            <a:pPr lvl="0"/>
            <a:r>
              <a:rPr lang="en-US" dirty="0" smtClean="0"/>
              <a:t>Click to edit Master header</a:t>
            </a:r>
            <a:endParaRPr lang="en-US" dirty="0"/>
          </a:p>
        </p:txBody>
      </p:sp>
      <p:cxnSp>
        <p:nvCxnSpPr>
          <p:cNvPr id="16" name="Straight Connector 15"/>
          <p:cNvCxnSpPr/>
          <p:nvPr userDrawn="1"/>
        </p:nvCxnSpPr>
        <p:spPr>
          <a:xfrm>
            <a:off x="2327832" y="1498615"/>
            <a:ext cx="64007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9"/>
          <p:cNvSpPr>
            <a:spLocks noGrp="1"/>
          </p:cNvSpPr>
          <p:nvPr>
            <p:ph type="body" sz="quarter" idx="37" hasCustomPrompt="1"/>
          </p:nvPr>
        </p:nvSpPr>
        <p:spPr>
          <a:xfrm>
            <a:off x="415925" y="6446487"/>
            <a:ext cx="7539318" cy="386679"/>
          </a:xfrm>
          <a:prstGeom prst="rect">
            <a:avLst/>
          </a:prstGeom>
        </p:spPr>
        <p:txBody>
          <a:bodyPr lIns="0" tIns="0" rIns="0" bIns="0" anchor="b"/>
          <a:lstStyle>
            <a:lvl1pPr marL="0" indent="0">
              <a:buNone/>
              <a:defRPr sz="1000"/>
            </a:lvl1pPr>
          </a:lstStyle>
          <a:p>
            <a:r>
              <a:rPr lang="en-US" dirty="0" smtClean="0"/>
              <a:t>Click to edit Master footer. This space is reserved for footnotes and sources only, and cannot be expanded beyond its current size. Text should </a:t>
            </a:r>
            <a:br>
              <a:rPr lang="en-US" dirty="0" smtClean="0"/>
            </a:br>
            <a:r>
              <a:rPr lang="en-US" dirty="0" smtClean="0"/>
              <a:t>never cover the ‘Dalberg #’ in the bottom right., but the bottom line of text can extend under it if necessary.  SOURCE::</a:t>
            </a:r>
            <a:r>
              <a:rPr lang="en-US" dirty="0" err="1" smtClean="0"/>
              <a:t>xxxxxxxxxxxxxxxxxxxxxxxx</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Squar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0" y="0"/>
          <a:ext cx="144318" cy="140074"/>
        </p:xfrm>
        <a:graphic>
          <a:graphicData uri="http://schemas.openxmlformats.org/presentationml/2006/ole">
            <mc:AlternateContent xmlns:mc="http://schemas.openxmlformats.org/markup-compatibility/2006">
              <mc:Choice xmlns:v="urn:schemas-microsoft-com:vml" Requires="v">
                <p:oleObj spid="_x0000_s573200" name="think-cell Slide" r:id="rId4" imgW="360" imgH="360" progId="TCLayout.ActiveDocument.1">
                  <p:embed/>
                </p:oleObj>
              </mc:Choice>
              <mc:Fallback>
                <p:oleObj name="think-cell Slide" r:id="rId4" imgW="360" imgH="36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nvPr>
        </p:nvSpPr>
        <p:spPr>
          <a:xfrm>
            <a:off x="415637" y="134471"/>
            <a:ext cx="8312727"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27" name="SmartArt Placeholder 26"/>
          <p:cNvSpPr>
            <a:spLocks noGrp="1"/>
          </p:cNvSpPr>
          <p:nvPr>
            <p:ph type="dgm" sz="quarter" idx="18" hasCustomPrompt="1"/>
          </p:nvPr>
        </p:nvSpPr>
        <p:spPr>
          <a:xfrm>
            <a:off x="1246909" y="1143025"/>
            <a:ext cx="6650182" cy="4639235"/>
          </a:xfrm>
          <a:prstGeom prst="rect">
            <a:avLst/>
          </a:prstGeom>
          <a:ln w="9525">
            <a:solidFill>
              <a:schemeClr val="tx1"/>
            </a:solidFill>
          </a:ln>
        </p:spPr>
        <p:txBody>
          <a:bodyPr lIns="82058" tIns="41029" rIns="82058" bIns="41029"/>
          <a:lstStyle>
            <a:lvl1pPr>
              <a:defRPr>
                <a:solidFill>
                  <a:schemeClr val="bg2"/>
                </a:solidFill>
              </a:defRPr>
            </a:lvl1pPr>
          </a:lstStyle>
          <a:p>
            <a:r>
              <a:rPr lang="en-US" dirty="0" smtClean="0"/>
              <a:t>`</a:t>
            </a:r>
            <a:endParaRPr lang="en-US" dirty="0"/>
          </a:p>
        </p:txBody>
      </p:sp>
      <p:cxnSp>
        <p:nvCxnSpPr>
          <p:cNvPr id="36" name="Straight Connector 35"/>
          <p:cNvCxnSpPr/>
          <p:nvPr userDrawn="1"/>
        </p:nvCxnSpPr>
        <p:spPr>
          <a:xfrm>
            <a:off x="4572000" y="1143025"/>
            <a:ext cx="0" cy="463923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userDrawn="1"/>
        </p:nvCxnSpPr>
        <p:spPr>
          <a:xfrm>
            <a:off x="1246909" y="3361790"/>
            <a:ext cx="665018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Text Placeholder 42"/>
          <p:cNvSpPr>
            <a:spLocks noGrp="1"/>
          </p:cNvSpPr>
          <p:nvPr>
            <p:ph type="body" sz="quarter" idx="21" hasCustomPrompt="1"/>
          </p:nvPr>
        </p:nvSpPr>
        <p:spPr>
          <a:xfrm>
            <a:off x="1246909" y="1210261"/>
            <a:ext cx="3325091" cy="268941"/>
          </a:xfrm>
          <a:prstGeom prst="rect">
            <a:avLst/>
          </a:prstGeom>
        </p:spPr>
        <p:txBody>
          <a:bodyPr lIns="82058" tIns="41029" rIns="82058" bIns="41029"/>
          <a:lstStyle>
            <a:lvl1pPr marL="0" indent="0" algn="ctr">
              <a:buNone/>
              <a:defRPr sz="1400" b="1" baseline="0">
                <a:solidFill>
                  <a:schemeClr val="tx2"/>
                </a:solidFill>
              </a:defRPr>
            </a:lvl1pPr>
          </a:lstStyle>
          <a:p>
            <a:pPr lvl="0"/>
            <a:r>
              <a:rPr lang="en-US" dirty="0" smtClean="0"/>
              <a:t>Click to edit box title</a:t>
            </a:r>
            <a:endParaRPr lang="en-US" dirty="0"/>
          </a:p>
        </p:txBody>
      </p:sp>
      <p:sp>
        <p:nvSpPr>
          <p:cNvPr id="44" name="Text Placeholder 42"/>
          <p:cNvSpPr>
            <a:spLocks noGrp="1"/>
          </p:cNvSpPr>
          <p:nvPr>
            <p:ph type="body" sz="quarter" idx="22" hasCustomPrompt="1"/>
          </p:nvPr>
        </p:nvSpPr>
        <p:spPr>
          <a:xfrm>
            <a:off x="4572001" y="1210261"/>
            <a:ext cx="3325091" cy="268941"/>
          </a:xfrm>
          <a:prstGeom prst="rect">
            <a:avLst/>
          </a:prstGeom>
        </p:spPr>
        <p:txBody>
          <a:bodyPr lIns="82058" tIns="41029" rIns="82058" bIns="41029"/>
          <a:lstStyle>
            <a:lvl1pPr marL="0" indent="0" algn="ctr">
              <a:buNone/>
              <a:defRPr sz="1400" b="1" baseline="0">
                <a:solidFill>
                  <a:schemeClr val="tx2"/>
                </a:solidFill>
              </a:defRPr>
            </a:lvl1pPr>
          </a:lstStyle>
          <a:p>
            <a:pPr lvl="0"/>
            <a:r>
              <a:rPr lang="en-US" dirty="0" smtClean="0"/>
              <a:t>Click to edit box title</a:t>
            </a:r>
            <a:endParaRPr lang="en-US" dirty="0"/>
          </a:p>
        </p:txBody>
      </p:sp>
      <p:sp>
        <p:nvSpPr>
          <p:cNvPr id="45" name="Text Placeholder 42"/>
          <p:cNvSpPr>
            <a:spLocks noGrp="1"/>
          </p:cNvSpPr>
          <p:nvPr>
            <p:ph type="body" sz="quarter" idx="23" hasCustomPrompt="1"/>
          </p:nvPr>
        </p:nvSpPr>
        <p:spPr>
          <a:xfrm>
            <a:off x="1246909" y="3429025"/>
            <a:ext cx="3325091" cy="268941"/>
          </a:xfrm>
          <a:prstGeom prst="rect">
            <a:avLst/>
          </a:prstGeom>
        </p:spPr>
        <p:txBody>
          <a:bodyPr lIns="82058" tIns="41029" rIns="82058" bIns="41029"/>
          <a:lstStyle>
            <a:lvl1pPr marL="0" indent="0" algn="ctr">
              <a:buNone/>
              <a:defRPr sz="1400" b="1" baseline="0">
                <a:solidFill>
                  <a:schemeClr val="tx2"/>
                </a:solidFill>
              </a:defRPr>
            </a:lvl1pPr>
          </a:lstStyle>
          <a:p>
            <a:pPr lvl="0"/>
            <a:r>
              <a:rPr lang="en-US" dirty="0" smtClean="0"/>
              <a:t>Click to edit box title</a:t>
            </a:r>
            <a:endParaRPr lang="en-US" dirty="0"/>
          </a:p>
        </p:txBody>
      </p:sp>
      <p:sp>
        <p:nvSpPr>
          <p:cNvPr id="46" name="Text Placeholder 42"/>
          <p:cNvSpPr>
            <a:spLocks noGrp="1"/>
          </p:cNvSpPr>
          <p:nvPr>
            <p:ph type="body" sz="quarter" idx="24" hasCustomPrompt="1"/>
          </p:nvPr>
        </p:nvSpPr>
        <p:spPr>
          <a:xfrm>
            <a:off x="4572001" y="3429025"/>
            <a:ext cx="3325091" cy="268941"/>
          </a:xfrm>
          <a:prstGeom prst="rect">
            <a:avLst/>
          </a:prstGeom>
        </p:spPr>
        <p:txBody>
          <a:bodyPr lIns="82058" tIns="41029" rIns="82058" bIns="41029"/>
          <a:lstStyle>
            <a:lvl1pPr marL="0" indent="0" algn="ctr">
              <a:buNone/>
              <a:defRPr sz="1400" b="1" baseline="0">
                <a:solidFill>
                  <a:schemeClr val="tx2"/>
                </a:solidFill>
              </a:defRPr>
            </a:lvl1pPr>
          </a:lstStyle>
          <a:p>
            <a:pPr lvl="0"/>
            <a:r>
              <a:rPr lang="en-US" dirty="0" smtClean="0"/>
              <a:t>Click to edit box title</a:t>
            </a:r>
            <a:endParaRPr lang="en-US" dirty="0"/>
          </a:p>
        </p:txBody>
      </p:sp>
      <p:sp>
        <p:nvSpPr>
          <p:cNvPr id="47" name="Text Placeholder 42"/>
          <p:cNvSpPr>
            <a:spLocks noGrp="1"/>
          </p:cNvSpPr>
          <p:nvPr>
            <p:ph type="body" sz="quarter" idx="25" hasCustomPrompt="1"/>
          </p:nvPr>
        </p:nvSpPr>
        <p:spPr>
          <a:xfrm rot="16200000">
            <a:off x="-152870" y="2127169"/>
            <a:ext cx="2245379" cy="277091"/>
          </a:xfrm>
          <a:prstGeom prst="rect">
            <a:avLst/>
          </a:prstGeom>
        </p:spPr>
        <p:txBody>
          <a:bodyPr lIns="82058" tIns="41029" rIns="82058" bIns="41029"/>
          <a:lstStyle>
            <a:lvl1pPr marL="0" indent="0" algn="ctr">
              <a:buNone/>
              <a:defRPr sz="1400" b="1" baseline="0">
                <a:solidFill>
                  <a:schemeClr val="tx1"/>
                </a:solidFill>
              </a:defRPr>
            </a:lvl1pPr>
          </a:lstStyle>
          <a:p>
            <a:pPr lvl="0"/>
            <a:r>
              <a:rPr lang="en-US" dirty="0" smtClean="0"/>
              <a:t>Click to edit box title</a:t>
            </a:r>
            <a:endParaRPr lang="en-US" dirty="0"/>
          </a:p>
        </p:txBody>
      </p:sp>
      <p:sp>
        <p:nvSpPr>
          <p:cNvPr id="48" name="Text Placeholder 42"/>
          <p:cNvSpPr>
            <a:spLocks noGrp="1"/>
          </p:cNvSpPr>
          <p:nvPr>
            <p:ph type="body" sz="quarter" idx="26" hasCustomPrompt="1"/>
          </p:nvPr>
        </p:nvSpPr>
        <p:spPr>
          <a:xfrm rot="16200000">
            <a:off x="-206799" y="4467097"/>
            <a:ext cx="2353235" cy="277092"/>
          </a:xfrm>
          <a:prstGeom prst="rect">
            <a:avLst/>
          </a:prstGeom>
        </p:spPr>
        <p:txBody>
          <a:bodyPr lIns="82058" tIns="41029" rIns="82058" bIns="41029"/>
          <a:lstStyle>
            <a:lvl1pPr marL="0" indent="0" algn="ctr">
              <a:buNone/>
              <a:defRPr sz="1400" b="1" baseline="0">
                <a:solidFill>
                  <a:schemeClr val="tx1"/>
                </a:solidFill>
              </a:defRPr>
            </a:lvl1pPr>
          </a:lstStyle>
          <a:p>
            <a:pPr lvl="0"/>
            <a:r>
              <a:rPr lang="en-US" dirty="0" smtClean="0"/>
              <a:t>Click to edit box title</a:t>
            </a:r>
            <a:endParaRPr lang="en-US" dirty="0"/>
          </a:p>
        </p:txBody>
      </p:sp>
      <p:sp>
        <p:nvSpPr>
          <p:cNvPr id="49" name="Text Placeholder 42"/>
          <p:cNvSpPr>
            <a:spLocks noGrp="1"/>
          </p:cNvSpPr>
          <p:nvPr>
            <p:ph type="body" sz="quarter" idx="27" hasCustomPrompt="1"/>
          </p:nvPr>
        </p:nvSpPr>
        <p:spPr>
          <a:xfrm>
            <a:off x="1246909" y="5916732"/>
            <a:ext cx="3325091" cy="268941"/>
          </a:xfrm>
          <a:prstGeom prst="rect">
            <a:avLst/>
          </a:prstGeom>
        </p:spPr>
        <p:txBody>
          <a:bodyPr lIns="82058" tIns="41029" rIns="82058" bIns="41029"/>
          <a:lstStyle>
            <a:lvl1pPr marL="0" indent="0" algn="ctr">
              <a:buNone/>
              <a:defRPr sz="1400" b="1" baseline="0">
                <a:solidFill>
                  <a:schemeClr val="tx1"/>
                </a:solidFill>
              </a:defRPr>
            </a:lvl1pPr>
          </a:lstStyle>
          <a:p>
            <a:pPr lvl="0"/>
            <a:r>
              <a:rPr lang="en-US" dirty="0" smtClean="0"/>
              <a:t>Click to edit box title</a:t>
            </a:r>
            <a:endParaRPr lang="en-US" dirty="0"/>
          </a:p>
        </p:txBody>
      </p:sp>
      <p:sp>
        <p:nvSpPr>
          <p:cNvPr id="50" name="Text Placeholder 42"/>
          <p:cNvSpPr>
            <a:spLocks noGrp="1"/>
          </p:cNvSpPr>
          <p:nvPr>
            <p:ph type="body" sz="quarter" idx="28" hasCustomPrompt="1"/>
          </p:nvPr>
        </p:nvSpPr>
        <p:spPr>
          <a:xfrm>
            <a:off x="4641273" y="5916732"/>
            <a:ext cx="3255818" cy="268941"/>
          </a:xfrm>
          <a:prstGeom prst="rect">
            <a:avLst/>
          </a:prstGeom>
        </p:spPr>
        <p:txBody>
          <a:bodyPr lIns="82058" tIns="41029" rIns="82058" bIns="41029"/>
          <a:lstStyle>
            <a:lvl1pPr marL="0" indent="0" algn="ctr">
              <a:buNone/>
              <a:defRPr sz="1400" b="1" baseline="0">
                <a:solidFill>
                  <a:schemeClr val="tx1"/>
                </a:solidFill>
              </a:defRPr>
            </a:lvl1pPr>
          </a:lstStyle>
          <a:p>
            <a:pPr lvl="0"/>
            <a:r>
              <a:rPr lang="en-US" dirty="0" smtClean="0"/>
              <a:t>Click to edit box title</a:t>
            </a:r>
            <a:endParaRPr lang="en-US" dirty="0"/>
          </a:p>
        </p:txBody>
      </p:sp>
      <p:sp>
        <p:nvSpPr>
          <p:cNvPr id="52" name="Text Placeholder 51"/>
          <p:cNvSpPr>
            <a:spLocks noGrp="1"/>
          </p:cNvSpPr>
          <p:nvPr>
            <p:ph type="body" sz="quarter" idx="29" hasCustomPrompt="1"/>
          </p:nvPr>
        </p:nvSpPr>
        <p:spPr>
          <a:xfrm>
            <a:off x="1316182" y="1546437"/>
            <a:ext cx="3186545" cy="1748118"/>
          </a:xfrm>
          <a:prstGeom prst="rect">
            <a:avLst/>
          </a:prstGeom>
        </p:spPr>
        <p:txBody>
          <a:bodyPr lIns="82058" tIns="41029" rIns="82058" bIns="41029"/>
          <a:lstStyle>
            <a:lvl1pPr marL="173038" indent="-173038">
              <a:buFont typeface="Arial" pitchFamily="34" charset="0"/>
              <a:buChar char="•"/>
              <a:defRPr sz="1200" baseline="0"/>
            </a:lvl1pPr>
          </a:lstStyle>
          <a:p>
            <a:pPr lvl="0"/>
            <a:r>
              <a:rPr lang="en-US" dirty="0" smtClean="0"/>
              <a:t>Click to edit text </a:t>
            </a:r>
            <a:endParaRPr lang="en-US" dirty="0"/>
          </a:p>
        </p:txBody>
      </p:sp>
      <p:sp>
        <p:nvSpPr>
          <p:cNvPr id="53" name="Text Placeholder 51"/>
          <p:cNvSpPr>
            <a:spLocks noGrp="1"/>
          </p:cNvSpPr>
          <p:nvPr>
            <p:ph type="body" sz="quarter" idx="30" hasCustomPrompt="1"/>
          </p:nvPr>
        </p:nvSpPr>
        <p:spPr>
          <a:xfrm>
            <a:off x="1316182" y="3765202"/>
            <a:ext cx="3186545" cy="1949824"/>
          </a:xfrm>
          <a:prstGeom prst="rect">
            <a:avLst/>
          </a:prstGeom>
        </p:spPr>
        <p:txBody>
          <a:bodyPr lIns="82058" tIns="41029" rIns="82058" bIns="41029"/>
          <a:lstStyle>
            <a:lvl1pPr marL="173038" indent="-173038">
              <a:buFont typeface="Arial" pitchFamily="34" charset="0"/>
              <a:buChar char="•"/>
              <a:defRPr sz="1200" baseline="0"/>
            </a:lvl1pPr>
          </a:lstStyle>
          <a:p>
            <a:pPr lvl="0"/>
            <a:r>
              <a:rPr lang="en-US" dirty="0" smtClean="0"/>
              <a:t>Click to edit text </a:t>
            </a:r>
            <a:endParaRPr lang="en-US" dirty="0"/>
          </a:p>
        </p:txBody>
      </p:sp>
      <p:sp>
        <p:nvSpPr>
          <p:cNvPr id="54" name="Text Placeholder 51"/>
          <p:cNvSpPr>
            <a:spLocks noGrp="1"/>
          </p:cNvSpPr>
          <p:nvPr>
            <p:ph type="body" sz="quarter" idx="31" hasCustomPrompt="1"/>
          </p:nvPr>
        </p:nvSpPr>
        <p:spPr>
          <a:xfrm>
            <a:off x="4641273" y="3765202"/>
            <a:ext cx="3186545" cy="1949824"/>
          </a:xfrm>
          <a:prstGeom prst="rect">
            <a:avLst/>
          </a:prstGeom>
        </p:spPr>
        <p:txBody>
          <a:bodyPr lIns="82058" tIns="41029" rIns="82058" bIns="41029"/>
          <a:lstStyle>
            <a:lvl1pPr marL="173038" indent="-173038">
              <a:buFont typeface="Arial" pitchFamily="34" charset="0"/>
              <a:buChar char="•"/>
              <a:defRPr sz="1200" baseline="0"/>
            </a:lvl1pPr>
          </a:lstStyle>
          <a:p>
            <a:pPr lvl="0"/>
            <a:r>
              <a:rPr lang="en-US" dirty="0" smtClean="0"/>
              <a:t>Click to edit text </a:t>
            </a:r>
            <a:endParaRPr lang="en-US" dirty="0"/>
          </a:p>
        </p:txBody>
      </p:sp>
      <p:sp>
        <p:nvSpPr>
          <p:cNvPr id="55" name="Text Placeholder 51"/>
          <p:cNvSpPr>
            <a:spLocks noGrp="1"/>
          </p:cNvSpPr>
          <p:nvPr>
            <p:ph type="body" sz="quarter" idx="32" hasCustomPrompt="1"/>
          </p:nvPr>
        </p:nvSpPr>
        <p:spPr>
          <a:xfrm>
            <a:off x="4641273" y="1546437"/>
            <a:ext cx="3186545" cy="1748118"/>
          </a:xfrm>
          <a:prstGeom prst="rect">
            <a:avLst/>
          </a:prstGeom>
        </p:spPr>
        <p:txBody>
          <a:bodyPr lIns="82058" tIns="41029" rIns="82058" bIns="41029"/>
          <a:lstStyle>
            <a:lvl1pPr marL="173038" indent="-173038">
              <a:buFont typeface="Arial" pitchFamily="34" charset="0"/>
              <a:buChar char="•"/>
              <a:defRPr sz="1200" baseline="0"/>
            </a:lvl1pPr>
          </a:lstStyle>
          <a:p>
            <a:pPr lvl="0"/>
            <a:r>
              <a:rPr lang="en-US" dirty="0" smtClean="0"/>
              <a:t>Click to edit text </a:t>
            </a:r>
            <a:endParaRPr lang="en-US" dirty="0"/>
          </a:p>
        </p:txBody>
      </p:sp>
      <p:sp>
        <p:nvSpPr>
          <p:cNvPr id="21" name="Text Placeholder 9"/>
          <p:cNvSpPr>
            <a:spLocks noGrp="1"/>
          </p:cNvSpPr>
          <p:nvPr>
            <p:ph type="body" sz="quarter" idx="37" hasCustomPrompt="1"/>
          </p:nvPr>
        </p:nvSpPr>
        <p:spPr>
          <a:xfrm>
            <a:off x="415925" y="6446487"/>
            <a:ext cx="7539318" cy="386679"/>
          </a:xfrm>
          <a:prstGeom prst="rect">
            <a:avLst/>
          </a:prstGeom>
        </p:spPr>
        <p:txBody>
          <a:bodyPr lIns="0" tIns="0" rIns="0" bIns="0" anchor="b"/>
          <a:lstStyle>
            <a:lvl1pPr marL="0" indent="0">
              <a:buNone/>
              <a:defRPr sz="1000"/>
            </a:lvl1pPr>
          </a:lstStyle>
          <a:p>
            <a:r>
              <a:rPr lang="en-US" dirty="0" smtClean="0"/>
              <a:t>Click to edit Master footer. This space is reserved for footnotes and sources only, and cannot be expanded beyond its current size. Text should </a:t>
            </a:r>
            <a:br>
              <a:rPr lang="en-US" dirty="0" smtClean="0"/>
            </a:br>
            <a:r>
              <a:rPr lang="en-US" dirty="0" smtClean="0"/>
              <a:t>never cover the ‘Dalberg #’ in the bottom right., but the bottom line of text can extend under it if necessary.  SOURCE::</a:t>
            </a:r>
            <a:r>
              <a:rPr lang="en-US" dirty="0" err="1" smtClean="0"/>
              <a:t>xxxxxxxxxxxxxxxxxxxxxxxx</a:t>
            </a:r>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raph + Text + Footer + Arrow">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0" y="0"/>
          <a:ext cx="144318" cy="140074"/>
        </p:xfrm>
        <a:graphic>
          <a:graphicData uri="http://schemas.openxmlformats.org/presentationml/2006/ole">
            <mc:AlternateContent xmlns:mc="http://schemas.openxmlformats.org/markup-compatibility/2006">
              <mc:Choice xmlns:v="urn:schemas-microsoft-com:vml" Requires="v">
                <p:oleObj spid="_x0000_s656143" name="think-cell Slide" r:id="rId4" imgW="360" imgH="360" progId="TCLayout.ActiveDocument.1">
                  <p:embed/>
                </p:oleObj>
              </mc:Choice>
              <mc:Fallback>
                <p:oleObj name="think-cell Slide" r:id="rId4" imgW="360" imgH="360" progId="TCLayout.ActiveDocument.1">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1"/>
          <p:cNvSpPr>
            <a:spLocks noGrp="1"/>
          </p:cNvSpPr>
          <p:nvPr>
            <p:ph type="title" hasCustomPrompt="1"/>
          </p:nvPr>
        </p:nvSpPr>
        <p:spPr>
          <a:xfrm>
            <a:off x="415637" y="134471"/>
            <a:ext cx="8312727" cy="609600"/>
          </a:xfrm>
          <a:prstGeom prst="rect">
            <a:avLst/>
          </a:prstGeom>
        </p:spPr>
        <p:txBody>
          <a:bodyPr lIns="0" tIns="0" rIns="0" bIns="0" anchor="b"/>
          <a:lstStyle>
            <a:lvl1pPr algn="l">
              <a:defRPr sz="2200" b="1" cap="none" baseline="0"/>
            </a:lvl1pPr>
          </a:lstStyle>
          <a:p>
            <a:r>
              <a:rPr lang="en-US" dirty="0" smtClean="0"/>
              <a:t>Click to edit Graph slide title</a:t>
            </a:r>
            <a:endParaRPr lang="en-US" dirty="0"/>
          </a:p>
        </p:txBody>
      </p:sp>
      <p:sp>
        <p:nvSpPr>
          <p:cNvPr id="12" name="Content Placeholder 2"/>
          <p:cNvSpPr>
            <a:spLocks noGrp="1"/>
          </p:cNvSpPr>
          <p:nvPr>
            <p:ph idx="1" hasCustomPrompt="1"/>
          </p:nvPr>
        </p:nvSpPr>
        <p:spPr>
          <a:xfrm>
            <a:off x="415925" y="1277003"/>
            <a:ext cx="3325091" cy="201706"/>
          </a:xfrm>
          <a:prstGeom prst="rect">
            <a:avLst/>
          </a:prstGeom>
        </p:spPr>
        <p:txBody>
          <a:bodyPr lIns="0" tIns="0" rIns="0" bIns="0"/>
          <a:lstStyle>
            <a:lvl1pPr marL="0" indent="0">
              <a:buFont typeface="Arial" pitchFamily="34" charset="0"/>
              <a:buNone/>
              <a:defRPr sz="1200"/>
            </a:lvl1pPr>
            <a:lvl2pPr marL="767872" indent="-307718">
              <a:defRPr sz="1200"/>
            </a:lvl2pPr>
            <a:lvl3pPr>
              <a:buFont typeface="Courier New" pitchFamily="49" charset="0"/>
              <a:buChar char="o"/>
              <a:defRPr sz="1200"/>
            </a:lvl3pPr>
            <a:lvl4pPr>
              <a:defRPr sz="1200"/>
            </a:lvl4pPr>
          </a:lstStyle>
          <a:p>
            <a:pPr lvl="0"/>
            <a:r>
              <a:rPr lang="en-US" dirty="0" smtClean="0"/>
              <a:t>Click to edit Master Graph units</a:t>
            </a:r>
          </a:p>
        </p:txBody>
      </p:sp>
      <p:sp>
        <p:nvSpPr>
          <p:cNvPr id="13" name="Text Placeholder 10"/>
          <p:cNvSpPr>
            <a:spLocks noGrp="1"/>
          </p:cNvSpPr>
          <p:nvPr>
            <p:ph type="body" sz="quarter" idx="21" hasCustomPrompt="1"/>
          </p:nvPr>
        </p:nvSpPr>
        <p:spPr>
          <a:xfrm>
            <a:off x="415925" y="1008063"/>
            <a:ext cx="3325091" cy="201706"/>
          </a:xfrm>
          <a:prstGeom prst="rect">
            <a:avLst/>
          </a:prstGeom>
        </p:spPr>
        <p:txBody>
          <a:bodyPr lIns="0" tIns="0" rIns="0" bIns="0"/>
          <a:lstStyle>
            <a:lvl1pPr marL="0" indent="0">
              <a:buNone/>
              <a:defRPr sz="1400" b="1" i="0" baseline="0">
                <a:solidFill>
                  <a:schemeClr val="tx1"/>
                </a:solidFill>
              </a:defRPr>
            </a:lvl1pPr>
          </a:lstStyle>
          <a:p>
            <a:pPr lvl="0"/>
            <a:r>
              <a:rPr lang="en-US" dirty="0" smtClean="0"/>
              <a:t>Click to insert Master Graph title</a:t>
            </a:r>
            <a:endParaRPr lang="en-US" dirty="0"/>
          </a:p>
        </p:txBody>
      </p:sp>
      <p:sp>
        <p:nvSpPr>
          <p:cNvPr id="14" name="SmartArt Placeholder 12"/>
          <p:cNvSpPr>
            <a:spLocks noGrp="1"/>
          </p:cNvSpPr>
          <p:nvPr>
            <p:ph type="dgm" sz="quarter" idx="20" hasCustomPrompt="1"/>
          </p:nvPr>
        </p:nvSpPr>
        <p:spPr>
          <a:xfrm rot="5400000">
            <a:off x="3575032" y="3316147"/>
            <a:ext cx="3577155" cy="332734"/>
          </a:xfrm>
          <a:prstGeom prst="triangle">
            <a:avLst>
              <a:gd name="adj" fmla="val 50232"/>
            </a:avLst>
          </a:prstGeom>
          <a:solidFill>
            <a:schemeClr val="tx2"/>
          </a:solidFill>
        </p:spPr>
        <p:txBody>
          <a:bodyPr lIns="82058" tIns="41029" rIns="82058" bIns="41029"/>
          <a:lstStyle>
            <a:lvl1pPr>
              <a:defRPr lang="en-US">
                <a:solidFill>
                  <a:schemeClr val="tx2"/>
                </a:solidFill>
              </a:defRPr>
            </a:lvl1pPr>
          </a:lstStyle>
          <a:p>
            <a:r>
              <a:rPr lang="en-US" dirty="0" smtClean="0"/>
              <a:t>`</a:t>
            </a:r>
            <a:endParaRPr lang="en-US" dirty="0"/>
          </a:p>
        </p:txBody>
      </p:sp>
      <p:sp>
        <p:nvSpPr>
          <p:cNvPr id="15" name="Text Placeholder 5"/>
          <p:cNvSpPr>
            <a:spLocks noGrp="1"/>
          </p:cNvSpPr>
          <p:nvPr>
            <p:ph type="body" sz="quarter" idx="29"/>
          </p:nvPr>
        </p:nvSpPr>
        <p:spPr>
          <a:xfrm>
            <a:off x="5666174" y="1008064"/>
            <a:ext cx="3062622" cy="5303090"/>
          </a:xfrm>
          <a:prstGeom prst="rect">
            <a:avLst/>
          </a:prstGeom>
        </p:spPr>
        <p:txBody>
          <a:bodyPr lIns="0" tIns="0" rIns="0" bIns="0" numCol="1"/>
          <a:lstStyle>
            <a:lvl1pPr marL="0" indent="0" algn="just">
              <a:buFont typeface="Arial" pitchFamily="34" charset="0"/>
              <a:buNone/>
              <a:tabLst>
                <a:tab pos="3894918" algn="l"/>
              </a:tabLst>
              <a:defRPr sz="1400" baseline="0"/>
            </a:lvl1pPr>
            <a:lvl2pPr algn="just">
              <a:tabLst>
                <a:tab pos="3894918" algn="l"/>
              </a:tabLst>
              <a:defRPr sz="1200"/>
            </a:lvl2pPr>
            <a:lvl3pPr algn="just">
              <a:buFont typeface="Courier New" pitchFamily="49" charset="0"/>
              <a:buChar char="o"/>
              <a:tabLst>
                <a:tab pos="3894918" algn="l"/>
              </a:tabLst>
              <a:defRPr sz="1200"/>
            </a:lvl3pPr>
            <a:lvl4pPr algn="just">
              <a:tabLst>
                <a:tab pos="3894918" algn="l"/>
              </a:tabLst>
              <a:defRPr sz="1200"/>
            </a:lvl4pPr>
          </a:lstStyle>
          <a:p>
            <a:pPr lvl="0"/>
            <a:r>
              <a:rPr lang="en-US" dirty="0" smtClean="0"/>
              <a:t>Click to edit Master text</a:t>
            </a:r>
          </a:p>
        </p:txBody>
      </p:sp>
      <p:sp>
        <p:nvSpPr>
          <p:cNvPr id="9" name="Text Placeholder 9"/>
          <p:cNvSpPr>
            <a:spLocks noGrp="1"/>
          </p:cNvSpPr>
          <p:nvPr>
            <p:ph type="body" sz="quarter" idx="37" hasCustomPrompt="1"/>
          </p:nvPr>
        </p:nvSpPr>
        <p:spPr>
          <a:xfrm>
            <a:off x="415925" y="6446487"/>
            <a:ext cx="7539318" cy="386679"/>
          </a:xfrm>
          <a:prstGeom prst="rect">
            <a:avLst/>
          </a:prstGeom>
        </p:spPr>
        <p:txBody>
          <a:bodyPr lIns="0" tIns="0" rIns="0" bIns="0" anchor="b"/>
          <a:lstStyle>
            <a:lvl1pPr marL="0" indent="0">
              <a:buNone/>
              <a:defRPr sz="1000"/>
            </a:lvl1pPr>
          </a:lstStyle>
          <a:p>
            <a:r>
              <a:rPr lang="en-US" dirty="0" smtClean="0"/>
              <a:t>Click to edit Master footer. This space is reserved for footnotes and sources only, and cannot be expanded beyond its current size. Text should </a:t>
            </a:r>
            <a:br>
              <a:rPr lang="en-US" dirty="0" smtClean="0"/>
            </a:br>
            <a:r>
              <a:rPr lang="en-US" dirty="0" smtClean="0"/>
              <a:t>never cover the ‘Dalberg #’ in the bottom right., but the bottom line of text can extend under it if necessary.  SOURCE::</a:t>
            </a:r>
            <a:r>
              <a:rPr lang="en-US" dirty="0" err="1" smtClean="0"/>
              <a:t>xxxxxxxxxxxxxxxxxxxxxxxx</a:t>
            </a:r>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 Arrows (Descendin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0" y="0"/>
          <a:ext cx="144318" cy="140074"/>
        </p:xfrm>
        <a:graphic>
          <a:graphicData uri="http://schemas.openxmlformats.org/presentationml/2006/ole">
            <mc:AlternateContent xmlns:mc="http://schemas.openxmlformats.org/markup-compatibility/2006">
              <mc:Choice xmlns:v="urn:schemas-microsoft-com:vml" Requires="v">
                <p:oleObj spid="_x0000_s657167" name="think-cell Slide" r:id="rId4" imgW="360" imgH="360" progId="TCLayout.ActiveDocument.1">
                  <p:embed/>
                </p:oleObj>
              </mc:Choice>
              <mc:Fallback>
                <p:oleObj name="think-cell Slide" r:id="rId4" imgW="360" imgH="360" progId="TCLayout.ActiveDocument.1">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1"/>
          <p:cNvSpPr>
            <a:spLocks noGrp="1"/>
          </p:cNvSpPr>
          <p:nvPr>
            <p:ph type="title" hasCustomPrompt="1"/>
          </p:nvPr>
        </p:nvSpPr>
        <p:spPr>
          <a:xfrm>
            <a:off x="415637" y="134471"/>
            <a:ext cx="8312727"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6" name="Text Placeholder 5"/>
          <p:cNvSpPr>
            <a:spLocks noGrp="1"/>
          </p:cNvSpPr>
          <p:nvPr>
            <p:ph type="body" sz="quarter" idx="18"/>
          </p:nvPr>
        </p:nvSpPr>
        <p:spPr>
          <a:xfrm>
            <a:off x="415925" y="1008063"/>
            <a:ext cx="8300022" cy="970809"/>
          </a:xfrm>
          <a:prstGeom prst="rect">
            <a:avLst/>
          </a:prstGeom>
        </p:spPr>
        <p:txBody>
          <a:bodyPr lIns="0" tIns="0" rIns="0" bIns="0" numCol="1"/>
          <a:lstStyle>
            <a:lvl1pPr marL="0" indent="0" algn="just">
              <a:buFont typeface="Arial" pitchFamily="34" charset="0"/>
              <a:buNone/>
              <a:tabLst>
                <a:tab pos="3894918" algn="l"/>
              </a:tabLst>
              <a:defRPr sz="1400"/>
            </a:lvl1pPr>
            <a:lvl2pPr algn="just">
              <a:tabLst>
                <a:tab pos="3894918" algn="l"/>
              </a:tabLst>
              <a:defRPr sz="1200"/>
            </a:lvl2pPr>
            <a:lvl3pPr algn="just">
              <a:buFont typeface="Courier New" pitchFamily="49" charset="0"/>
              <a:buChar char="o"/>
              <a:tabLst>
                <a:tab pos="3894918" algn="l"/>
              </a:tabLst>
              <a:defRPr sz="1200"/>
            </a:lvl3pPr>
            <a:lvl4pPr algn="just">
              <a:tabLst>
                <a:tab pos="3894918" algn="l"/>
              </a:tabLst>
              <a:defRPr sz="1200"/>
            </a:lvl4pPr>
          </a:lstStyle>
          <a:p>
            <a:pPr lvl="0"/>
            <a:r>
              <a:rPr lang="en-US" dirty="0" smtClean="0"/>
              <a:t>Click to edit Master text</a:t>
            </a:r>
          </a:p>
        </p:txBody>
      </p:sp>
      <p:sp>
        <p:nvSpPr>
          <p:cNvPr id="15" name="SmartArt Placeholder 14"/>
          <p:cNvSpPr>
            <a:spLocks noGrp="1"/>
          </p:cNvSpPr>
          <p:nvPr>
            <p:ph type="dgm" sz="quarter" idx="19" hasCustomPrompt="1"/>
          </p:nvPr>
        </p:nvSpPr>
        <p:spPr>
          <a:xfrm rot="10800000">
            <a:off x="3990071" y="2299460"/>
            <a:ext cx="1080688" cy="639926"/>
          </a:xfrm>
          <a:prstGeom prst="upArrow">
            <a:avLst/>
          </a:prstGeom>
          <a:solidFill>
            <a:schemeClr val="tx2"/>
          </a:solidFill>
        </p:spPr>
        <p:txBody>
          <a:bodyPr lIns="82058" tIns="41029" rIns="82058" bIns="41029"/>
          <a:lstStyle>
            <a:lvl1pPr>
              <a:defRPr>
                <a:solidFill>
                  <a:schemeClr val="tx2"/>
                </a:solidFill>
              </a:defRPr>
            </a:lvl1pPr>
          </a:lstStyle>
          <a:p>
            <a:r>
              <a:rPr lang="en-US" dirty="0" smtClean="0"/>
              <a:t>`</a:t>
            </a:r>
            <a:endParaRPr lang="en-US" dirty="0"/>
          </a:p>
        </p:txBody>
      </p:sp>
      <p:sp>
        <p:nvSpPr>
          <p:cNvPr id="16" name="Text Placeholder 5"/>
          <p:cNvSpPr>
            <a:spLocks noGrp="1"/>
          </p:cNvSpPr>
          <p:nvPr>
            <p:ph type="body" sz="quarter" idx="20"/>
          </p:nvPr>
        </p:nvSpPr>
        <p:spPr>
          <a:xfrm>
            <a:off x="415682" y="3186956"/>
            <a:ext cx="8300022" cy="995041"/>
          </a:xfrm>
          <a:prstGeom prst="rect">
            <a:avLst/>
          </a:prstGeom>
        </p:spPr>
        <p:txBody>
          <a:bodyPr lIns="0" tIns="0" rIns="0" bIns="0" numCol="1"/>
          <a:lstStyle>
            <a:lvl1pPr marL="0" indent="0" algn="just">
              <a:buFont typeface="Arial" pitchFamily="34" charset="0"/>
              <a:buNone/>
              <a:tabLst>
                <a:tab pos="3894918" algn="l"/>
              </a:tabLst>
              <a:defRPr sz="1400"/>
            </a:lvl1pPr>
            <a:lvl2pPr algn="just">
              <a:tabLst>
                <a:tab pos="3894918" algn="l"/>
              </a:tabLst>
              <a:defRPr sz="1200"/>
            </a:lvl2pPr>
            <a:lvl3pPr algn="just">
              <a:buFont typeface="Courier New" pitchFamily="49" charset="0"/>
              <a:buChar char="o"/>
              <a:tabLst>
                <a:tab pos="3894918" algn="l"/>
              </a:tabLst>
              <a:defRPr sz="1200"/>
            </a:lvl3pPr>
            <a:lvl4pPr algn="just">
              <a:tabLst>
                <a:tab pos="3894918" algn="l"/>
              </a:tabLst>
              <a:defRPr sz="1200"/>
            </a:lvl4pPr>
          </a:lstStyle>
          <a:p>
            <a:pPr lvl="0"/>
            <a:r>
              <a:rPr lang="en-US" dirty="0" smtClean="0"/>
              <a:t>Click to edit Master text</a:t>
            </a:r>
          </a:p>
        </p:txBody>
      </p:sp>
      <p:sp>
        <p:nvSpPr>
          <p:cNvPr id="17" name="SmartArt Placeholder 14"/>
          <p:cNvSpPr>
            <a:spLocks noGrp="1"/>
          </p:cNvSpPr>
          <p:nvPr>
            <p:ph type="dgm" sz="quarter" idx="21" hasCustomPrompt="1"/>
          </p:nvPr>
        </p:nvSpPr>
        <p:spPr>
          <a:xfrm rot="10800000">
            <a:off x="3990071" y="4477568"/>
            <a:ext cx="1080688" cy="639926"/>
          </a:xfrm>
          <a:prstGeom prst="upArrow">
            <a:avLst/>
          </a:prstGeom>
          <a:solidFill>
            <a:schemeClr val="tx2"/>
          </a:solidFill>
        </p:spPr>
        <p:txBody>
          <a:bodyPr lIns="82058" tIns="41029" rIns="82058" bIns="41029"/>
          <a:lstStyle>
            <a:lvl1pPr>
              <a:defRPr>
                <a:solidFill>
                  <a:schemeClr val="tx2"/>
                </a:solidFill>
              </a:defRPr>
            </a:lvl1pPr>
          </a:lstStyle>
          <a:p>
            <a:r>
              <a:rPr lang="en-US" dirty="0" smtClean="0"/>
              <a:t>`</a:t>
            </a:r>
            <a:endParaRPr lang="en-US" dirty="0"/>
          </a:p>
        </p:txBody>
      </p:sp>
      <p:sp>
        <p:nvSpPr>
          <p:cNvPr id="18" name="Text Placeholder 5"/>
          <p:cNvSpPr>
            <a:spLocks noGrp="1"/>
          </p:cNvSpPr>
          <p:nvPr>
            <p:ph type="body" sz="quarter" idx="22"/>
          </p:nvPr>
        </p:nvSpPr>
        <p:spPr>
          <a:xfrm>
            <a:off x="415682" y="5325049"/>
            <a:ext cx="8300022" cy="995041"/>
          </a:xfrm>
          <a:prstGeom prst="rect">
            <a:avLst/>
          </a:prstGeom>
        </p:spPr>
        <p:txBody>
          <a:bodyPr lIns="0" tIns="0" rIns="0" bIns="0" numCol="1"/>
          <a:lstStyle>
            <a:lvl1pPr marL="0" indent="0" algn="just">
              <a:buFont typeface="Arial" pitchFamily="34" charset="0"/>
              <a:buNone/>
              <a:tabLst>
                <a:tab pos="3894918" algn="l"/>
              </a:tabLst>
              <a:defRPr sz="1400"/>
            </a:lvl1pPr>
            <a:lvl2pPr algn="just">
              <a:tabLst>
                <a:tab pos="3894918" algn="l"/>
              </a:tabLst>
              <a:defRPr sz="1200"/>
            </a:lvl2pPr>
            <a:lvl3pPr algn="just">
              <a:buFont typeface="Courier New" pitchFamily="49" charset="0"/>
              <a:buChar char="o"/>
              <a:tabLst>
                <a:tab pos="3894918" algn="l"/>
              </a:tabLst>
              <a:defRPr sz="1200"/>
            </a:lvl3pPr>
            <a:lvl4pPr algn="just">
              <a:tabLst>
                <a:tab pos="3894918" algn="l"/>
              </a:tabLst>
              <a:defRPr sz="1200"/>
            </a:lvl4pPr>
          </a:lstStyle>
          <a:p>
            <a:pPr lvl="0"/>
            <a:r>
              <a:rPr lang="en-US" dirty="0" smtClean="0"/>
              <a:t>Click to edit Master text</a:t>
            </a:r>
          </a:p>
        </p:txBody>
      </p:sp>
      <p:sp>
        <p:nvSpPr>
          <p:cNvPr id="13" name="Text Placeholder 9"/>
          <p:cNvSpPr>
            <a:spLocks noGrp="1"/>
          </p:cNvSpPr>
          <p:nvPr>
            <p:ph type="body" sz="quarter" idx="37" hasCustomPrompt="1"/>
          </p:nvPr>
        </p:nvSpPr>
        <p:spPr>
          <a:xfrm>
            <a:off x="415925" y="6446487"/>
            <a:ext cx="7539318" cy="386679"/>
          </a:xfrm>
          <a:prstGeom prst="rect">
            <a:avLst/>
          </a:prstGeom>
        </p:spPr>
        <p:txBody>
          <a:bodyPr lIns="0" tIns="0" rIns="0" bIns="0" anchor="b"/>
          <a:lstStyle>
            <a:lvl1pPr marL="0" indent="0">
              <a:buNone/>
              <a:defRPr sz="1000"/>
            </a:lvl1pPr>
          </a:lstStyle>
          <a:p>
            <a:r>
              <a:rPr lang="en-US" dirty="0" smtClean="0"/>
              <a:t>Click to edit Master footer. This space is reserved for footnotes and sources only, and cannot be expanded beyond its current size. Text should </a:t>
            </a:r>
            <a:br>
              <a:rPr lang="en-US" dirty="0" smtClean="0"/>
            </a:br>
            <a:r>
              <a:rPr lang="en-US" dirty="0" smtClean="0"/>
              <a:t>never cover the ‘Dalberg #’ in the bottom right., but the bottom line of text can extend under it if necessary.  SOURCE::</a:t>
            </a:r>
            <a:r>
              <a:rPr lang="en-US" dirty="0" err="1" smtClean="0"/>
              <a:t>xxxxxxxxxxxxxxxxxxxxxxxx</a:t>
            </a:r>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 Subtitl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0" y="0"/>
          <a:ext cx="144318" cy="140074"/>
        </p:xfrm>
        <a:graphic>
          <a:graphicData uri="http://schemas.openxmlformats.org/presentationml/2006/ole">
            <mc:AlternateContent xmlns:mc="http://schemas.openxmlformats.org/markup-compatibility/2006">
              <mc:Choice xmlns:v="urn:schemas-microsoft-com:vml" Requires="v">
                <p:oleObj spid="_x0000_s474896" name="think-cell Slide" r:id="rId4" imgW="360" imgH="360" progId="TCLayout.ActiveDocument.1">
                  <p:embed/>
                </p:oleObj>
              </mc:Choice>
              <mc:Fallback>
                <p:oleObj name="think-cell Slide" r:id="rId4" imgW="360" imgH="36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nvPr>
        </p:nvSpPr>
        <p:spPr>
          <a:xfrm>
            <a:off x="415637" y="134471"/>
            <a:ext cx="8312727"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10" name="Text Placeholder 10"/>
          <p:cNvSpPr>
            <a:spLocks noGrp="1"/>
          </p:cNvSpPr>
          <p:nvPr>
            <p:ph type="body" sz="quarter" idx="14" hasCustomPrompt="1"/>
          </p:nvPr>
        </p:nvSpPr>
        <p:spPr>
          <a:xfrm>
            <a:off x="415925" y="1008063"/>
            <a:ext cx="8312727" cy="177919"/>
          </a:xfrm>
          <a:prstGeom prst="rect">
            <a:avLst/>
          </a:prstGeom>
        </p:spPr>
        <p:txBody>
          <a:bodyPr lIns="0" tIns="0" rIns="0" bIns="0"/>
          <a:lstStyle>
            <a:lvl1pPr marL="0" indent="0">
              <a:buNone/>
              <a:defRPr sz="1400" i="1" baseline="0">
                <a:solidFill>
                  <a:schemeClr val="tx2"/>
                </a:solidFill>
              </a:defRPr>
            </a:lvl1pPr>
          </a:lstStyle>
          <a:p>
            <a:pPr lvl="0"/>
            <a:r>
              <a:rPr lang="en-US" dirty="0" smtClean="0"/>
              <a:t>Click to insert Master slide subtitle – a subtitle is rarely used and NEVER appears with a takeaway</a:t>
            </a:r>
            <a:endParaRPr lang="en-US" dirty="0"/>
          </a:p>
        </p:txBody>
      </p:sp>
      <p:sp>
        <p:nvSpPr>
          <p:cNvPr id="11" name="Text Placeholder 9"/>
          <p:cNvSpPr>
            <a:spLocks noGrp="1"/>
          </p:cNvSpPr>
          <p:nvPr>
            <p:ph type="body" sz="quarter" idx="10"/>
          </p:nvPr>
        </p:nvSpPr>
        <p:spPr>
          <a:xfrm>
            <a:off x="415682" y="1330699"/>
            <a:ext cx="8300022" cy="4972001"/>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2" name="Text Placeholder 9"/>
          <p:cNvSpPr>
            <a:spLocks noGrp="1"/>
          </p:cNvSpPr>
          <p:nvPr>
            <p:ph type="body" sz="quarter" idx="37" hasCustomPrompt="1"/>
          </p:nvPr>
        </p:nvSpPr>
        <p:spPr>
          <a:xfrm>
            <a:off x="415925" y="6446487"/>
            <a:ext cx="7539318" cy="386679"/>
          </a:xfrm>
          <a:prstGeom prst="rect">
            <a:avLst/>
          </a:prstGeom>
        </p:spPr>
        <p:txBody>
          <a:bodyPr lIns="0" tIns="0" rIns="0" bIns="0" anchor="b"/>
          <a:lstStyle>
            <a:lvl1pPr marL="0" indent="0">
              <a:buNone/>
              <a:defRPr sz="1000"/>
            </a:lvl1pPr>
          </a:lstStyle>
          <a:p>
            <a:r>
              <a:rPr lang="en-US" dirty="0" smtClean="0"/>
              <a:t>Click to edit Master footer. This space is reserved for footnotes and sources only, and cannot be expanded beyond its current size. Text should </a:t>
            </a:r>
            <a:br>
              <a:rPr lang="en-US" dirty="0" smtClean="0"/>
            </a:br>
            <a:r>
              <a:rPr lang="en-US" dirty="0" smtClean="0"/>
              <a:t>never cover the ‘Dalberg #’ in the bottom right., but the bottom line of text can extend under it if necessary.  SOURCE::</a:t>
            </a:r>
            <a:r>
              <a:rPr lang="en-US" dirty="0" err="1" smtClean="0"/>
              <a:t>xxxxxxxxxxxxxxxxxxxxxxxx</a:t>
            </a:r>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oard Cover Pag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4318" cy="140074"/>
        </p:xfrm>
        <a:graphic>
          <a:graphicData uri="http://schemas.openxmlformats.org/presentationml/2006/ole">
            <mc:AlternateContent xmlns:mc="http://schemas.openxmlformats.org/markup-compatibility/2006">
              <mc:Choice xmlns:v="urn:schemas-microsoft-com:vml" Requires="v">
                <p:oleObj spid="_x0000_s653072" name="think-cell Slide" r:id="rId4" imgW="360" imgH="360" progId="TCLayout.ActiveDocument.1">
                  <p:embed/>
                </p:oleObj>
              </mc:Choice>
              <mc:Fallback>
                <p:oleObj name="think-cell Slide" r:id="rId4" imgW="360" imgH="36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a:xfrm>
            <a:off x="990601" y="2113796"/>
            <a:ext cx="7239000" cy="1470026"/>
          </a:xfrm>
          <a:prstGeom prst="rect">
            <a:avLst/>
          </a:prstGeom>
        </p:spPr>
        <p:txBody>
          <a:bodyPr lIns="0" tIns="0" rIns="0" bIns="0" anchor="t">
            <a:normAutofit/>
          </a:bodyPr>
          <a:lstStyle>
            <a:lvl1pPr algn="l">
              <a:defRPr sz="3000" b="1">
                <a:solidFill>
                  <a:schemeClr val="tx2"/>
                </a:solidFill>
                <a:latin typeface="Calibri" pitchFamily="34" charset="0"/>
                <a:cs typeface="Calibri" pitchFamily="34" charset="0"/>
              </a:defRPr>
            </a:lvl1pPr>
          </a:lstStyle>
          <a:p>
            <a:r>
              <a:rPr lang="en-US" dirty="0" smtClean="0"/>
              <a:t>Click to edit Master </a:t>
            </a:r>
            <a:br>
              <a:rPr lang="en-US" dirty="0" smtClean="0"/>
            </a:br>
            <a:r>
              <a:rPr lang="en-US" dirty="0" smtClean="0"/>
              <a:t>presentation title</a:t>
            </a:r>
            <a:endParaRPr lang="en-US" dirty="0"/>
          </a:p>
        </p:txBody>
      </p:sp>
      <p:sp>
        <p:nvSpPr>
          <p:cNvPr id="3" name="Subtitle 2"/>
          <p:cNvSpPr>
            <a:spLocks noGrp="1"/>
          </p:cNvSpPr>
          <p:nvPr>
            <p:ph type="subTitle" idx="1" hasCustomPrompt="1"/>
          </p:nvPr>
        </p:nvSpPr>
        <p:spPr>
          <a:xfrm>
            <a:off x="990601" y="3335956"/>
            <a:ext cx="7239000" cy="1143000"/>
          </a:xfrm>
          <a:prstGeom prst="rect">
            <a:avLst/>
          </a:prstGeom>
        </p:spPr>
        <p:txBody>
          <a:bodyPr lIns="0" tIns="0" rIns="0" bIns="0">
            <a:normAutofit/>
          </a:bodyPr>
          <a:lstStyle>
            <a:lvl1pPr marL="0" indent="0" algn="l">
              <a:buNone/>
              <a:defRPr sz="2400" i="1">
                <a:solidFill>
                  <a:schemeClr val="tx2"/>
                </a:solidFill>
                <a:latin typeface="Calibri" pitchFamily="34" charset="0"/>
                <a:cs typeface="Calibri" pitchFamily="34" charset="0"/>
              </a:defRPr>
            </a:lvl1pPr>
            <a:lvl2pPr marL="457146" indent="0" algn="ctr">
              <a:buNone/>
              <a:defRPr>
                <a:solidFill>
                  <a:schemeClr val="tx1">
                    <a:tint val="75000"/>
                  </a:schemeClr>
                </a:solidFill>
              </a:defRPr>
            </a:lvl2pPr>
            <a:lvl3pPr marL="914293" indent="0" algn="ctr">
              <a:buNone/>
              <a:defRPr>
                <a:solidFill>
                  <a:schemeClr val="tx1">
                    <a:tint val="75000"/>
                  </a:schemeClr>
                </a:solidFill>
              </a:defRPr>
            </a:lvl3pPr>
            <a:lvl4pPr marL="1371440" indent="0" algn="ctr">
              <a:buNone/>
              <a:defRPr>
                <a:solidFill>
                  <a:schemeClr val="tx1">
                    <a:tint val="75000"/>
                  </a:schemeClr>
                </a:solidFill>
              </a:defRPr>
            </a:lvl4pPr>
            <a:lvl5pPr marL="1828586" indent="0" algn="ctr">
              <a:buNone/>
              <a:defRPr>
                <a:solidFill>
                  <a:schemeClr val="tx1">
                    <a:tint val="75000"/>
                  </a:schemeClr>
                </a:solidFill>
              </a:defRPr>
            </a:lvl5pPr>
            <a:lvl6pPr marL="2285733" indent="0" algn="ctr">
              <a:buNone/>
              <a:defRPr>
                <a:solidFill>
                  <a:schemeClr val="tx1">
                    <a:tint val="75000"/>
                  </a:schemeClr>
                </a:solidFill>
              </a:defRPr>
            </a:lvl6pPr>
            <a:lvl7pPr marL="2742879" indent="0" algn="ctr">
              <a:buNone/>
              <a:defRPr>
                <a:solidFill>
                  <a:schemeClr val="tx1">
                    <a:tint val="75000"/>
                  </a:schemeClr>
                </a:solidFill>
              </a:defRPr>
            </a:lvl7pPr>
            <a:lvl8pPr marL="3200026" indent="0" algn="ctr">
              <a:buNone/>
              <a:defRPr>
                <a:solidFill>
                  <a:schemeClr val="tx1">
                    <a:tint val="75000"/>
                  </a:schemeClr>
                </a:solidFill>
              </a:defRPr>
            </a:lvl8pPr>
            <a:lvl9pPr marL="3657172" indent="0" algn="ctr">
              <a:buNone/>
              <a:defRPr>
                <a:solidFill>
                  <a:schemeClr val="tx1">
                    <a:tint val="75000"/>
                  </a:schemeClr>
                </a:solidFill>
              </a:defRPr>
            </a:lvl9pPr>
          </a:lstStyle>
          <a:p>
            <a:r>
              <a:rPr lang="en-US" dirty="0" smtClean="0"/>
              <a:t>Click to edit Master </a:t>
            </a:r>
            <a:br>
              <a:rPr lang="en-US" dirty="0" smtClean="0"/>
            </a:br>
            <a:r>
              <a:rPr lang="en-US" dirty="0" smtClean="0"/>
              <a:t>presentation subtitle</a:t>
            </a:r>
            <a:endParaRPr lang="en-US" dirty="0"/>
          </a:p>
        </p:txBody>
      </p:sp>
      <p:sp>
        <p:nvSpPr>
          <p:cNvPr id="8" name="Text Placeholder 5"/>
          <p:cNvSpPr>
            <a:spLocks noGrp="1"/>
          </p:cNvSpPr>
          <p:nvPr>
            <p:ph type="body" sz="quarter" idx="14" hasCustomPrompt="1"/>
          </p:nvPr>
        </p:nvSpPr>
        <p:spPr>
          <a:xfrm>
            <a:off x="1005879" y="4465302"/>
            <a:ext cx="7223681" cy="243844"/>
          </a:xfrm>
          <a:prstGeom prst="rect">
            <a:avLst/>
          </a:prstGeom>
        </p:spPr>
        <p:txBody>
          <a:bodyPr lIns="0" tIns="0" rIns="0" bIns="0"/>
          <a:lstStyle>
            <a:lvl1pPr algn="l">
              <a:buNone/>
              <a:defRPr sz="1800" i="0">
                <a:solidFill>
                  <a:schemeClr val="tx2"/>
                </a:solidFill>
                <a:latin typeface="Calibri" pitchFamily="34" charset="0"/>
                <a:cs typeface="Calibri" pitchFamily="34" charset="0"/>
              </a:defRPr>
            </a:lvl1pPr>
          </a:lstStyle>
          <a:p>
            <a:pPr lvl="0"/>
            <a:r>
              <a:rPr lang="en-US" dirty="0" smtClean="0"/>
              <a:t>Date</a:t>
            </a:r>
            <a:endParaRPr lang="en-US" dirty="0"/>
          </a:p>
        </p:txBody>
      </p:sp>
      <p:pic>
        <p:nvPicPr>
          <p:cNvPr id="9" name="Picture 8" descr="Dalberg Dash.jpg"/>
          <p:cNvPicPr>
            <a:picLocks noChangeAspect="1"/>
          </p:cNvPicPr>
          <p:nvPr userDrawn="1"/>
        </p:nvPicPr>
        <p:blipFill>
          <a:blip r:embed="rId6" cstate="print"/>
          <a:stretch>
            <a:fillRect/>
          </a:stretch>
        </p:blipFill>
        <p:spPr>
          <a:xfrm>
            <a:off x="507924" y="2240293"/>
            <a:ext cx="347361" cy="229509"/>
          </a:xfrm>
          <a:prstGeom prst="rect">
            <a:avLst/>
          </a:prstGeom>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oard - Agenda/Content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0" y="0"/>
          <a:ext cx="144318" cy="140074"/>
        </p:xfrm>
        <a:graphic>
          <a:graphicData uri="http://schemas.openxmlformats.org/presentationml/2006/ole">
            <mc:AlternateContent xmlns:mc="http://schemas.openxmlformats.org/markup-compatibility/2006">
              <mc:Choice xmlns:v="urn:schemas-microsoft-com:vml" Requires="v">
                <p:oleObj spid="_x0000_s722704" name="think-cell Slide" r:id="rId4" imgW="360" imgH="360" progId="TCLayout.ActiveDocument.1">
                  <p:embed/>
                </p:oleObj>
              </mc:Choice>
              <mc:Fallback>
                <p:oleObj name="think-cell Slide" r:id="rId4" imgW="360" imgH="36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21"/>
          <p:cNvSpPr>
            <a:spLocks noGrp="1"/>
          </p:cNvSpPr>
          <p:nvPr>
            <p:ph type="body" sz="quarter" idx="15" hasCustomPrompt="1"/>
          </p:nvPr>
        </p:nvSpPr>
        <p:spPr>
          <a:xfrm>
            <a:off x="415637" y="1331282"/>
            <a:ext cx="8312727" cy="914400"/>
          </a:xfrm>
          <a:prstGeom prst="roundRect">
            <a:avLst/>
          </a:prstGeom>
          <a:solidFill>
            <a:schemeClr val="accent1"/>
          </a:solidFill>
          <a:ln w="12700">
            <a:noFill/>
          </a:ln>
        </p:spPr>
        <p:txBody>
          <a:bodyPr lIns="91365" tIns="45683" rIns="91365" bIns="45683" anchor="ctr"/>
          <a:lstStyle>
            <a:lvl1pPr>
              <a:buNone/>
              <a:defRPr sz="1800" b="1">
                <a:solidFill>
                  <a:schemeClr val="accent1"/>
                </a:solidFill>
                <a:latin typeface="Calibri" pitchFamily="34" charset="0"/>
                <a:cs typeface="Calibri" pitchFamily="34" charset="0"/>
              </a:defRPr>
            </a:lvl1pPr>
          </a:lstStyle>
          <a:p>
            <a:pPr lvl="0"/>
            <a:r>
              <a:rPr lang="en-US" dirty="0" smtClean="0"/>
              <a:t>‘</a:t>
            </a:r>
            <a:endParaRPr lang="en-US" dirty="0"/>
          </a:p>
        </p:txBody>
      </p:sp>
      <p:sp>
        <p:nvSpPr>
          <p:cNvPr id="15" name="Text Placeholder 21"/>
          <p:cNvSpPr>
            <a:spLocks noGrp="1"/>
          </p:cNvSpPr>
          <p:nvPr>
            <p:ph type="body" sz="quarter" idx="16" hasCustomPrompt="1"/>
          </p:nvPr>
        </p:nvSpPr>
        <p:spPr>
          <a:xfrm>
            <a:off x="581935" y="2245681"/>
            <a:ext cx="6733236" cy="914400"/>
          </a:xfrm>
          <a:prstGeom prst="roundRect">
            <a:avLst/>
          </a:prstGeom>
        </p:spPr>
        <p:txBody>
          <a:bodyPr lIns="91365" tIns="45683" rIns="91365" bIns="45683" anchor="ctr"/>
          <a:lstStyle>
            <a:lvl1pPr>
              <a:buNone/>
              <a:defRPr lang="en-US" sz="1800" kern="1200" dirty="0">
                <a:solidFill>
                  <a:schemeClr val="tx1"/>
                </a:solidFill>
                <a:latin typeface="Calibri" pitchFamily="34" charset="0"/>
                <a:ea typeface="+mn-ea"/>
                <a:cs typeface="Calibri" pitchFamily="34" charset="0"/>
              </a:defRPr>
            </a:lvl1pPr>
          </a:lstStyle>
          <a:p>
            <a:pPr marL="307502" lvl="0" indent="-307502" algn="l" defTabSz="820007" rtl="0" eaLnBrk="1" latinLnBrk="0" hangingPunct="1">
              <a:spcBef>
                <a:spcPct val="20000"/>
              </a:spcBef>
              <a:buFont typeface="Arial" pitchFamily="34" charset="0"/>
              <a:buNone/>
            </a:pPr>
            <a:r>
              <a:rPr lang="en-US" dirty="0" smtClean="0"/>
              <a:t>Click to edit Master Section II</a:t>
            </a:r>
            <a:endParaRPr lang="en-US" dirty="0"/>
          </a:p>
        </p:txBody>
      </p:sp>
      <p:sp>
        <p:nvSpPr>
          <p:cNvPr id="19" name="Text Placeholder 21"/>
          <p:cNvSpPr>
            <a:spLocks noGrp="1"/>
          </p:cNvSpPr>
          <p:nvPr>
            <p:ph type="body" sz="quarter" idx="17" hasCustomPrompt="1"/>
          </p:nvPr>
        </p:nvSpPr>
        <p:spPr>
          <a:xfrm>
            <a:off x="581935" y="3160082"/>
            <a:ext cx="6733236" cy="914400"/>
          </a:xfrm>
          <a:prstGeom prst="roundRect">
            <a:avLst/>
          </a:prstGeom>
        </p:spPr>
        <p:txBody>
          <a:bodyPr lIns="91365" tIns="45683" rIns="91365" bIns="45683" anchor="ctr"/>
          <a:lstStyle>
            <a:lvl1pPr>
              <a:buNone/>
              <a:defRPr lang="en-US" sz="1800" kern="1200" dirty="0">
                <a:solidFill>
                  <a:schemeClr val="tx1"/>
                </a:solidFill>
                <a:latin typeface="Calibri" pitchFamily="34" charset="0"/>
                <a:ea typeface="+mn-ea"/>
                <a:cs typeface="Calibri" pitchFamily="34" charset="0"/>
              </a:defRPr>
            </a:lvl1pPr>
          </a:lstStyle>
          <a:p>
            <a:pPr marL="307502" lvl="0" indent="-307502" algn="l" defTabSz="820007" rtl="0" eaLnBrk="1" latinLnBrk="0" hangingPunct="1">
              <a:spcBef>
                <a:spcPct val="20000"/>
              </a:spcBef>
              <a:buFont typeface="Arial" pitchFamily="34" charset="0"/>
              <a:buNone/>
            </a:pPr>
            <a:r>
              <a:rPr lang="en-US" dirty="0" smtClean="0"/>
              <a:t>Click to edit Master Section III</a:t>
            </a:r>
            <a:endParaRPr lang="en-US" dirty="0"/>
          </a:p>
        </p:txBody>
      </p:sp>
      <p:sp>
        <p:nvSpPr>
          <p:cNvPr id="21" name="Text Placeholder 21"/>
          <p:cNvSpPr>
            <a:spLocks noGrp="1"/>
          </p:cNvSpPr>
          <p:nvPr>
            <p:ph type="body" sz="quarter" idx="18" hasCustomPrompt="1"/>
          </p:nvPr>
        </p:nvSpPr>
        <p:spPr>
          <a:xfrm>
            <a:off x="581935" y="4074482"/>
            <a:ext cx="6733236" cy="914400"/>
          </a:xfrm>
          <a:prstGeom prst="roundRect">
            <a:avLst/>
          </a:prstGeom>
        </p:spPr>
        <p:txBody>
          <a:bodyPr lIns="91365" tIns="45683" rIns="91365" bIns="45683" anchor="ctr"/>
          <a:lstStyle>
            <a:lvl1pPr>
              <a:buNone/>
              <a:defRPr lang="en-US" sz="1800" kern="1200" dirty="0">
                <a:solidFill>
                  <a:schemeClr val="tx1"/>
                </a:solidFill>
                <a:latin typeface="Calibri" pitchFamily="34" charset="0"/>
                <a:ea typeface="+mn-ea"/>
                <a:cs typeface="Calibri" pitchFamily="34" charset="0"/>
              </a:defRPr>
            </a:lvl1pPr>
          </a:lstStyle>
          <a:p>
            <a:pPr marL="307502" lvl="0" indent="-307502" algn="l" defTabSz="820007" rtl="0" eaLnBrk="1" latinLnBrk="0" hangingPunct="1">
              <a:spcBef>
                <a:spcPct val="20000"/>
              </a:spcBef>
              <a:buFont typeface="Arial" pitchFamily="34" charset="0"/>
              <a:buNone/>
            </a:pPr>
            <a:r>
              <a:rPr lang="en-US" dirty="0" smtClean="0"/>
              <a:t>Click to edit Master Section IV</a:t>
            </a:r>
            <a:endParaRPr lang="en-US" dirty="0"/>
          </a:p>
        </p:txBody>
      </p:sp>
      <p:sp>
        <p:nvSpPr>
          <p:cNvPr id="23" name="Text Placeholder 21"/>
          <p:cNvSpPr>
            <a:spLocks noGrp="1"/>
          </p:cNvSpPr>
          <p:nvPr>
            <p:ph type="body" sz="quarter" idx="20" hasCustomPrompt="1"/>
          </p:nvPr>
        </p:nvSpPr>
        <p:spPr>
          <a:xfrm>
            <a:off x="581934" y="4975434"/>
            <a:ext cx="6733236" cy="914400"/>
          </a:xfrm>
          <a:prstGeom prst="roundRect">
            <a:avLst/>
          </a:prstGeom>
        </p:spPr>
        <p:txBody>
          <a:bodyPr lIns="91365" tIns="45683" rIns="91365" bIns="45683" anchor="ctr"/>
          <a:lstStyle>
            <a:lvl1pPr>
              <a:buNone/>
              <a:defRPr sz="1800">
                <a:latin typeface="Calibri" pitchFamily="34" charset="0"/>
                <a:cs typeface="Calibri" pitchFamily="34" charset="0"/>
              </a:defRPr>
            </a:lvl1pPr>
          </a:lstStyle>
          <a:p>
            <a:pPr lvl="0"/>
            <a:r>
              <a:rPr lang="en-US" dirty="0" smtClean="0"/>
              <a:t>Click to edit Master Section V</a:t>
            </a:r>
            <a:endParaRPr lang="en-US" dirty="0"/>
          </a:p>
        </p:txBody>
      </p:sp>
      <p:sp>
        <p:nvSpPr>
          <p:cNvPr id="10" name="Title 1"/>
          <p:cNvSpPr>
            <a:spLocks noGrp="1"/>
          </p:cNvSpPr>
          <p:nvPr>
            <p:ph type="title" hasCustomPrompt="1"/>
          </p:nvPr>
        </p:nvSpPr>
        <p:spPr>
          <a:xfrm>
            <a:off x="416068" y="289359"/>
            <a:ext cx="8312727" cy="582389"/>
          </a:xfrm>
          <a:prstGeom prst="rect">
            <a:avLst/>
          </a:prstGeom>
        </p:spPr>
        <p:txBody>
          <a:bodyPr lIns="0" tIns="0" rIns="0" bIns="0" anchor="b"/>
          <a:lstStyle>
            <a:lvl1pPr algn="l">
              <a:defRPr sz="2600" b="1" baseline="0">
                <a:solidFill>
                  <a:schemeClr val="bg1"/>
                </a:solidFill>
              </a:defRPr>
            </a:lvl1pPr>
          </a:lstStyle>
          <a:p>
            <a:r>
              <a:rPr lang="en-US" dirty="0" smtClean="0"/>
              <a:t>Click to edit </a:t>
            </a:r>
            <a:br>
              <a:rPr lang="en-US" dirty="0" smtClean="0"/>
            </a:br>
            <a:r>
              <a:rPr lang="en-US" dirty="0" smtClean="0"/>
              <a:t>Contents/Agenda slide title</a:t>
            </a:r>
            <a:endParaRPr lang="en-US" dirty="0"/>
          </a:p>
        </p:txBody>
      </p:sp>
      <p:sp>
        <p:nvSpPr>
          <p:cNvPr id="11" name="Text Placeholder 21"/>
          <p:cNvSpPr>
            <a:spLocks noGrp="1"/>
          </p:cNvSpPr>
          <p:nvPr>
            <p:ph type="body" sz="quarter" idx="21" hasCustomPrompt="1"/>
          </p:nvPr>
        </p:nvSpPr>
        <p:spPr>
          <a:xfrm>
            <a:off x="581935" y="1330699"/>
            <a:ext cx="6733235" cy="914400"/>
          </a:xfrm>
          <a:prstGeom prst="roundRect">
            <a:avLst/>
          </a:prstGeom>
        </p:spPr>
        <p:txBody>
          <a:bodyPr lIns="91365" tIns="45683" rIns="91365" bIns="45683" anchor="ctr"/>
          <a:lstStyle>
            <a:lvl1pPr>
              <a:buNone/>
              <a:defRPr lang="en-US" sz="1800" b="1" kern="1200" dirty="0">
                <a:solidFill>
                  <a:schemeClr val="bg1"/>
                </a:solidFill>
                <a:latin typeface="Calibri" pitchFamily="34" charset="0"/>
                <a:ea typeface="+mn-ea"/>
                <a:cs typeface="Calibri" pitchFamily="34" charset="0"/>
              </a:defRPr>
            </a:lvl1pPr>
          </a:lstStyle>
          <a:p>
            <a:pPr marL="307502" lvl="0" indent="-307502" algn="l" defTabSz="820007" rtl="0" eaLnBrk="1" latinLnBrk="0" hangingPunct="1">
              <a:spcBef>
                <a:spcPct val="20000"/>
              </a:spcBef>
              <a:buFont typeface="Arial" pitchFamily="34" charset="0"/>
              <a:buNone/>
            </a:pPr>
            <a:r>
              <a:rPr lang="en-US" dirty="0" smtClean="0"/>
              <a:t>Click to edit Master Section II</a:t>
            </a:r>
            <a:endParaRPr lang="en-US" dirty="0"/>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oard - Annex">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0" y="0"/>
          <a:ext cx="144318" cy="140074"/>
        </p:xfrm>
        <a:graphic>
          <a:graphicData uri="http://schemas.openxmlformats.org/presentationml/2006/ole">
            <mc:AlternateContent xmlns:mc="http://schemas.openxmlformats.org/markup-compatibility/2006">
              <mc:Choice xmlns:v="urn:schemas-microsoft-com:vml" Requires="v">
                <p:oleObj spid="_x0000_s723728" name="think-cell Slide" r:id="rId9" imgW="360" imgH="360" progId="TCLayout.ActiveDocument.1">
                  <p:embed/>
                </p:oleObj>
              </mc:Choice>
              <mc:Fallback>
                <p:oleObj name="think-cell Slide" r:id="rId9" imgW="360" imgH="360" progId="TCLayout.ActiveDocument.1">
                  <p:embed/>
                  <p:pic>
                    <p:nvPicPr>
                      <p:cNvPr id="0" name="Picture 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21"/>
          <p:cNvSpPr>
            <a:spLocks noGrp="1"/>
          </p:cNvSpPr>
          <p:nvPr>
            <p:ph type="body" sz="quarter" idx="15" hasCustomPrompt="1"/>
            <p:custDataLst>
              <p:tags r:id="rId3"/>
            </p:custDataLst>
          </p:nvPr>
        </p:nvSpPr>
        <p:spPr>
          <a:xfrm>
            <a:off x="415637" y="1331282"/>
            <a:ext cx="8312727" cy="914400"/>
          </a:xfrm>
          <a:prstGeom prst="roundRect">
            <a:avLst/>
          </a:prstGeom>
          <a:solidFill>
            <a:schemeClr val="accent1"/>
          </a:solidFill>
          <a:ln w="12700">
            <a:noFill/>
          </a:ln>
        </p:spPr>
        <p:txBody>
          <a:bodyPr lIns="91365" tIns="45683" rIns="91365" bIns="45683" anchor="ctr"/>
          <a:lstStyle>
            <a:lvl1pPr>
              <a:buNone/>
              <a:defRPr sz="1800" b="1">
                <a:solidFill>
                  <a:schemeClr val="accent1"/>
                </a:solidFill>
                <a:latin typeface="Calibri" pitchFamily="34" charset="0"/>
                <a:cs typeface="Calibri" pitchFamily="34" charset="0"/>
              </a:defRPr>
            </a:lvl1pPr>
          </a:lstStyle>
          <a:p>
            <a:pPr lvl="0"/>
            <a:r>
              <a:rPr lang="en-US" dirty="0" smtClean="0"/>
              <a:t>‘</a:t>
            </a:r>
            <a:endParaRPr lang="en-US" dirty="0"/>
          </a:p>
        </p:txBody>
      </p:sp>
      <p:sp>
        <p:nvSpPr>
          <p:cNvPr id="7" name="Text Placeholder 21"/>
          <p:cNvSpPr>
            <a:spLocks noGrp="1"/>
          </p:cNvSpPr>
          <p:nvPr>
            <p:ph type="body" sz="quarter" idx="21" hasCustomPrompt="1"/>
            <p:custDataLst>
              <p:tags r:id="rId4"/>
            </p:custDataLst>
          </p:nvPr>
        </p:nvSpPr>
        <p:spPr>
          <a:xfrm>
            <a:off x="581935" y="1330699"/>
            <a:ext cx="6733235" cy="914400"/>
          </a:xfrm>
          <a:prstGeom prst="roundRect">
            <a:avLst/>
          </a:prstGeom>
        </p:spPr>
        <p:txBody>
          <a:bodyPr lIns="91365" tIns="45683" rIns="91365" bIns="45683" anchor="ctr"/>
          <a:lstStyle>
            <a:lvl1pPr>
              <a:buNone/>
              <a:defRPr lang="en-US" sz="1800" b="1" kern="1200" dirty="0">
                <a:solidFill>
                  <a:schemeClr val="bg1"/>
                </a:solidFill>
                <a:latin typeface="Calibri" pitchFamily="34" charset="0"/>
                <a:ea typeface="+mn-ea"/>
                <a:cs typeface="Calibri" pitchFamily="34" charset="0"/>
              </a:defRPr>
            </a:lvl1pPr>
          </a:lstStyle>
          <a:p>
            <a:pPr marL="307502" lvl="0" indent="-307502" algn="l" defTabSz="820007" rtl="0" eaLnBrk="1" latinLnBrk="0" hangingPunct="1">
              <a:spcBef>
                <a:spcPct val="20000"/>
              </a:spcBef>
              <a:buFont typeface="Arial" pitchFamily="34" charset="0"/>
              <a:buNone/>
            </a:pPr>
            <a:r>
              <a:rPr lang="en-US" dirty="0" smtClean="0"/>
              <a:t>Click to edit ANNEX: Section</a:t>
            </a:r>
            <a:endParaRPr lang="en-US" dirty="0"/>
          </a:p>
        </p:txBody>
      </p:sp>
      <p:sp>
        <p:nvSpPr>
          <p:cNvPr id="9" name="TextBox 8"/>
          <p:cNvSpPr txBox="1"/>
          <p:nvPr userDrawn="1">
            <p:custDataLst>
              <p:tags r:id="rId5"/>
            </p:custDataLst>
          </p:nvPr>
        </p:nvSpPr>
        <p:spPr>
          <a:xfrm>
            <a:off x="415637" y="286591"/>
            <a:ext cx="8312727" cy="641284"/>
          </a:xfrm>
          <a:prstGeom prst="rect">
            <a:avLst/>
          </a:prstGeom>
          <a:noFill/>
        </p:spPr>
        <p:txBody>
          <a:bodyPr wrap="square" lIns="0" tIns="0" rIns="0" bIns="57441" rtlCol="0" anchor="b">
            <a:noAutofit/>
          </a:bodyPr>
          <a:lstStyle/>
          <a:p>
            <a:r>
              <a:rPr lang="en-US" sz="2600" b="1" dirty="0" smtClean="0">
                <a:solidFill>
                  <a:schemeClr val="bg1"/>
                </a:solidFill>
              </a:rPr>
              <a:t>Annex</a:t>
            </a:r>
            <a:endParaRPr lang="en-US" sz="2600" b="1" dirty="0">
              <a:solidFill>
                <a:schemeClr val="bg1"/>
              </a:solidFill>
            </a:endParaRPr>
          </a:p>
        </p:txBody>
      </p:sp>
      <p:sp>
        <p:nvSpPr>
          <p:cNvPr id="10" name="Text Placeholder 21"/>
          <p:cNvSpPr>
            <a:spLocks noGrp="1"/>
          </p:cNvSpPr>
          <p:nvPr>
            <p:ph type="body" sz="quarter" idx="16" hasCustomPrompt="1"/>
            <p:custDataLst>
              <p:tags r:id="rId6"/>
            </p:custDataLst>
          </p:nvPr>
        </p:nvSpPr>
        <p:spPr>
          <a:xfrm>
            <a:off x="581935" y="2245681"/>
            <a:ext cx="6733236" cy="914400"/>
          </a:xfrm>
          <a:prstGeom prst="roundRect">
            <a:avLst/>
          </a:prstGeom>
        </p:spPr>
        <p:txBody>
          <a:bodyPr lIns="91365" tIns="45683" rIns="91365" bIns="45683" anchor="ctr"/>
          <a:lstStyle>
            <a:lvl1pPr>
              <a:buNone/>
              <a:defRPr lang="en-US" sz="1800" kern="1200" dirty="0">
                <a:solidFill>
                  <a:schemeClr val="tx1"/>
                </a:solidFill>
                <a:latin typeface="Calibri" pitchFamily="34" charset="0"/>
                <a:ea typeface="+mn-ea"/>
                <a:cs typeface="Calibri" pitchFamily="34" charset="0"/>
              </a:defRPr>
            </a:lvl1pPr>
          </a:lstStyle>
          <a:p>
            <a:pPr marL="307502" lvl="0" indent="-307502" algn="l" defTabSz="820007" rtl="0" eaLnBrk="1" latinLnBrk="0" hangingPunct="1">
              <a:spcBef>
                <a:spcPct val="20000"/>
              </a:spcBef>
              <a:buFont typeface="Arial" pitchFamily="34" charset="0"/>
              <a:buNone/>
            </a:pPr>
            <a:r>
              <a:rPr lang="en-US" dirty="0" smtClean="0"/>
              <a:t>Click to edit Annex section</a:t>
            </a:r>
            <a:endParaRPr lang="en-US" dirty="0"/>
          </a:p>
        </p:txBody>
      </p:sp>
      <p:sp>
        <p:nvSpPr>
          <p:cNvPr id="11" name="Text Placeholder 21"/>
          <p:cNvSpPr>
            <a:spLocks noGrp="1"/>
          </p:cNvSpPr>
          <p:nvPr>
            <p:ph type="body" sz="quarter" idx="17" hasCustomPrompt="1"/>
            <p:custDataLst>
              <p:tags r:id="rId7"/>
            </p:custDataLst>
          </p:nvPr>
        </p:nvSpPr>
        <p:spPr>
          <a:xfrm>
            <a:off x="581935" y="3160082"/>
            <a:ext cx="6733236" cy="914400"/>
          </a:xfrm>
          <a:prstGeom prst="roundRect">
            <a:avLst/>
          </a:prstGeom>
        </p:spPr>
        <p:txBody>
          <a:bodyPr lIns="91365" tIns="45683" rIns="91365" bIns="45683" anchor="ctr"/>
          <a:lstStyle>
            <a:lvl1pPr>
              <a:buNone/>
              <a:defRPr lang="en-US" sz="1800" kern="1200" dirty="0">
                <a:solidFill>
                  <a:schemeClr val="tx1"/>
                </a:solidFill>
                <a:latin typeface="Calibri" pitchFamily="34" charset="0"/>
                <a:ea typeface="+mn-ea"/>
                <a:cs typeface="Calibri" pitchFamily="34" charset="0"/>
              </a:defRPr>
            </a:lvl1pPr>
          </a:lstStyle>
          <a:p>
            <a:pPr marL="307502" lvl="0" indent="-307502" algn="l" defTabSz="820007" rtl="0" eaLnBrk="1" latinLnBrk="0" hangingPunct="1">
              <a:spcBef>
                <a:spcPct val="20000"/>
              </a:spcBef>
              <a:buFont typeface="Arial" pitchFamily="34" charset="0"/>
              <a:buNone/>
            </a:pPr>
            <a:r>
              <a:rPr lang="en-US" dirty="0" smtClean="0"/>
              <a:t>Click to edit Annex section</a:t>
            </a:r>
            <a:endParaRPr lang="en-US" dirty="0"/>
          </a:p>
        </p:txBody>
      </p:sp>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0" y="3"/>
          <a:ext cx="144318" cy="140074"/>
        </p:xfrm>
        <a:graphic>
          <a:graphicData uri="http://schemas.openxmlformats.org/presentationml/2006/ole">
            <mc:AlternateContent xmlns:mc="http://schemas.openxmlformats.org/markup-compatibility/2006">
              <mc:Choice xmlns:v="urn:schemas-microsoft-com:vml" Requires="v">
                <p:oleObj spid="_x0000_s297745" name="think-cell Slide" r:id="rId4" imgW="360" imgH="360" progId="TCLayout.ActiveDocument.1">
                  <p:embed/>
                </p:oleObj>
              </mc:Choice>
              <mc:Fallback>
                <p:oleObj name="think-cell Slide" r:id="rId4" imgW="360" imgH="36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3"/>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7"/>
          <p:cNvSpPr>
            <a:spLocks noGrp="1"/>
          </p:cNvSpPr>
          <p:nvPr>
            <p:ph type="body" sz="quarter" idx="13" hasCustomPrompt="1"/>
          </p:nvPr>
        </p:nvSpPr>
        <p:spPr>
          <a:xfrm>
            <a:off x="415638" y="1330699"/>
            <a:ext cx="8312726" cy="4989391"/>
          </a:xfrm>
          <a:prstGeom prst="rect">
            <a:avLst/>
          </a:prstGeom>
        </p:spPr>
        <p:txBody>
          <a:bodyPr lIns="0" tIns="0" rIns="0" bIns="0">
            <a:noAutofit/>
          </a:bodyPr>
          <a:lstStyle>
            <a:lvl1pPr marL="173038" indent="-173038">
              <a:spcBef>
                <a:spcPts val="718"/>
              </a:spcBef>
              <a:defRPr sz="1800" baseline="0"/>
            </a:lvl1pPr>
            <a:lvl2pPr marL="347663" indent="-174625">
              <a:spcBef>
                <a:spcPts val="718"/>
              </a:spcBef>
              <a:defRPr sz="1600"/>
            </a:lvl2pPr>
            <a:lvl3pPr marL="509588" indent="-161925">
              <a:buFont typeface="Courier New" pitchFamily="49" charset="0"/>
              <a:buChar char="o"/>
              <a:defRPr sz="1600"/>
            </a:lvl3pPr>
            <a:lvl4pPr marL="682625" indent="-173038">
              <a:defRPr sz="1600"/>
            </a:lvl4pPr>
            <a:lvl5pPr>
              <a:defRPr sz="1800"/>
            </a:lvl5pPr>
          </a:lstStyle>
          <a:p>
            <a:pPr lvl="0"/>
            <a:r>
              <a:rPr lang="en-US" dirty="0" smtClean="0"/>
              <a:t>Click to edit Master text first level</a:t>
            </a:r>
          </a:p>
          <a:p>
            <a:pPr lvl="1"/>
            <a:r>
              <a:rPr lang="en-US" dirty="0" smtClean="0"/>
              <a:t>Second level</a:t>
            </a:r>
          </a:p>
          <a:p>
            <a:pPr lvl="2"/>
            <a:r>
              <a:rPr lang="en-US" dirty="0" smtClean="0"/>
              <a:t>Third level</a:t>
            </a:r>
          </a:p>
          <a:p>
            <a:pPr lvl="3"/>
            <a:r>
              <a:rPr lang="en-US" dirty="0" smtClean="0"/>
              <a:t>Fourth level</a:t>
            </a:r>
          </a:p>
        </p:txBody>
      </p:sp>
      <p:sp>
        <p:nvSpPr>
          <p:cNvPr id="6" name="Title 1"/>
          <p:cNvSpPr>
            <a:spLocks noGrp="1"/>
          </p:cNvSpPr>
          <p:nvPr>
            <p:ph type="title" hasCustomPrompt="1"/>
          </p:nvPr>
        </p:nvSpPr>
        <p:spPr>
          <a:xfrm>
            <a:off x="416068" y="289359"/>
            <a:ext cx="8312727" cy="582389"/>
          </a:xfrm>
          <a:prstGeom prst="rect">
            <a:avLst/>
          </a:prstGeom>
        </p:spPr>
        <p:txBody>
          <a:bodyPr lIns="0" tIns="0" rIns="0" bIns="0" anchor="b"/>
          <a:lstStyle>
            <a:lvl1pPr algn="l">
              <a:defRPr sz="2600" b="1" baseline="0">
                <a:solidFill>
                  <a:schemeClr val="bg1"/>
                </a:solidFill>
              </a:defRPr>
            </a:lvl1pPr>
          </a:lstStyle>
          <a:p>
            <a:r>
              <a:rPr lang="en-US" dirty="0" smtClean="0"/>
              <a:t>Click to edit </a:t>
            </a:r>
            <a:br>
              <a:rPr lang="en-US" dirty="0" smtClean="0"/>
            </a:br>
            <a:r>
              <a:rPr lang="en-US" dirty="0" smtClean="0"/>
              <a:t>Master title</a:t>
            </a:r>
            <a:endParaRPr lang="en-US" dirty="0"/>
          </a:p>
        </p:txBody>
      </p:sp>
      <p:sp>
        <p:nvSpPr>
          <p:cNvPr id="9" name="Slide Number Placeholder 5"/>
          <p:cNvSpPr txBox="1">
            <a:spLocks/>
          </p:cNvSpPr>
          <p:nvPr userDrawn="1"/>
        </p:nvSpPr>
        <p:spPr>
          <a:xfrm>
            <a:off x="415925" y="6446651"/>
            <a:ext cx="7447879" cy="365592"/>
          </a:xfrm>
          <a:prstGeom prst="rect">
            <a:avLst/>
          </a:prstGeom>
        </p:spPr>
        <p:txBody>
          <a:bodyPr vert="horz" lIns="0" tIns="0" rIns="0" bIns="0" rtlCol="0" anchor="ctr"/>
          <a:lstStyle>
            <a:lvl1pPr algn="r">
              <a:defRPr sz="1200">
                <a:solidFill>
                  <a:schemeClr val="tx1">
                    <a:tint val="75000"/>
                  </a:schemeClr>
                </a:solidFill>
              </a:defRPr>
            </a:lvl1pPr>
          </a:lstStyle>
          <a:p>
            <a:pPr algn="l"/>
            <a:r>
              <a:rPr lang="en-US" sz="1000" dirty="0" smtClean="0">
                <a:solidFill>
                  <a:schemeClr val="tx1"/>
                </a:solidFill>
              </a:rPr>
              <a:t>Click to edit Master footer. This space is reserved for footnotes and sources only, and cannot be expanded beyond its current size. Text should </a:t>
            </a:r>
            <a:br>
              <a:rPr lang="en-US" sz="1000" dirty="0" smtClean="0">
                <a:solidFill>
                  <a:schemeClr val="tx1"/>
                </a:solidFill>
              </a:rPr>
            </a:br>
            <a:r>
              <a:rPr lang="en-US" sz="1000" dirty="0" smtClean="0">
                <a:solidFill>
                  <a:schemeClr val="tx1"/>
                </a:solidFill>
              </a:rPr>
              <a:t>never cover the ‘Dalberg #’ in the bottom right., but the bottom line of text can extend under it if necessary.  SOURCE::xxxxxxxxxxxxxxxxxxxxxx</a:t>
            </a:r>
            <a:endParaRPr lang="en-US" sz="1000" dirty="0">
              <a:solidFill>
                <a:schemeClr val="tx1"/>
              </a:solidFil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ndard/Deliverable Contents/Agenda">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nvPr>
        </p:nvGraphicFramePr>
        <p:xfrm>
          <a:off x="1" y="0"/>
          <a:ext cx="135688" cy="143442"/>
        </p:xfrm>
        <a:graphic>
          <a:graphicData uri="http://schemas.openxmlformats.org/presentationml/2006/ole">
            <mc:AlternateContent xmlns:mc="http://schemas.openxmlformats.org/markup-compatibility/2006">
              <mc:Choice xmlns:v="urn:schemas-microsoft-com:vml" Requires="v">
                <p:oleObj spid="_x0000_s468751" name="think-cell Slide" r:id="rId12" imgW="360" imgH="360" progId="TCLayout.ActiveDocument.1">
                  <p:embed/>
                </p:oleObj>
              </mc:Choice>
              <mc:Fallback>
                <p:oleObj name="think-cell Slide" r:id="rId12" imgW="360" imgH="360" progId="TCLayout.ActiveDocument.1">
                  <p:embed/>
                  <p:pic>
                    <p:nvPicPr>
                      <p:cNvPr id="0" name="Picture 5"/>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 y="0"/>
                        <a:ext cx="135688" cy="14344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SmartArt Placeholder 18"/>
          <p:cNvSpPr>
            <a:spLocks noGrp="1"/>
          </p:cNvSpPr>
          <p:nvPr>
            <p:ph type="dgm" sz="quarter" idx="20" hasCustomPrompt="1"/>
            <p:custDataLst>
              <p:tags r:id="rId3"/>
            </p:custDataLst>
          </p:nvPr>
        </p:nvSpPr>
        <p:spPr>
          <a:xfrm>
            <a:off x="415637" y="1008556"/>
            <a:ext cx="8298295" cy="826231"/>
          </a:xfrm>
          <a:prstGeom prst="roundRect">
            <a:avLst/>
          </a:prstGeom>
          <a:solidFill>
            <a:schemeClr val="accent1"/>
          </a:solidFill>
        </p:spPr>
        <p:txBody>
          <a:bodyPr lIns="82058" tIns="41029" rIns="82058" bIns="41029"/>
          <a:lstStyle>
            <a:lvl1pPr>
              <a:buNone/>
              <a:defRPr>
                <a:solidFill>
                  <a:schemeClr val="accent1"/>
                </a:solidFill>
              </a:defRPr>
            </a:lvl1pPr>
          </a:lstStyle>
          <a:p>
            <a:r>
              <a:rPr lang="en-US" dirty="0" smtClean="0"/>
              <a:t>`</a:t>
            </a:r>
            <a:endParaRPr lang="en-US" dirty="0"/>
          </a:p>
        </p:txBody>
      </p:sp>
      <p:sp>
        <p:nvSpPr>
          <p:cNvPr id="11" name="Text Placeholder 13"/>
          <p:cNvSpPr>
            <a:spLocks noGrp="1"/>
          </p:cNvSpPr>
          <p:nvPr>
            <p:ph type="body" sz="quarter" idx="13" hasCustomPrompt="1"/>
            <p:custDataLst>
              <p:tags r:id="rId4"/>
            </p:custDataLst>
          </p:nvPr>
        </p:nvSpPr>
        <p:spPr>
          <a:xfrm>
            <a:off x="581935" y="1008565"/>
            <a:ext cx="6899488" cy="806824"/>
          </a:xfrm>
          <a:prstGeom prst="roundRect">
            <a:avLst/>
          </a:prstGeom>
          <a:noFill/>
        </p:spPr>
        <p:txBody>
          <a:bodyPr lIns="82058" tIns="41029" rIns="82058" bIns="41029" anchor="ctr"/>
          <a:lstStyle>
            <a:lvl1pPr>
              <a:buNone/>
              <a:defRPr sz="1400" b="1" baseline="0">
                <a:solidFill>
                  <a:schemeClr val="bg1"/>
                </a:solidFill>
                <a:latin typeface="Calibri" pitchFamily="34" charset="0"/>
                <a:cs typeface="Calibri" pitchFamily="34" charset="0"/>
              </a:defRPr>
            </a:lvl1pPr>
          </a:lstStyle>
          <a:p>
            <a:pPr lvl="0"/>
            <a:r>
              <a:rPr lang="en-US" dirty="0" smtClean="0"/>
              <a:t>Click to edit Master section I</a:t>
            </a:r>
            <a:endParaRPr lang="en-US" dirty="0"/>
          </a:p>
        </p:txBody>
      </p:sp>
      <p:sp>
        <p:nvSpPr>
          <p:cNvPr id="12" name="Text Placeholder 15"/>
          <p:cNvSpPr>
            <a:spLocks noGrp="1"/>
          </p:cNvSpPr>
          <p:nvPr>
            <p:ph type="body" sz="quarter" idx="14" hasCustomPrompt="1"/>
            <p:custDataLst>
              <p:tags r:id="rId5"/>
            </p:custDataLst>
          </p:nvPr>
        </p:nvSpPr>
        <p:spPr>
          <a:xfrm>
            <a:off x="581935" y="1815388"/>
            <a:ext cx="6897147" cy="806824"/>
          </a:xfrm>
          <a:prstGeom prst="roundRect">
            <a:avLst/>
          </a:prstGeom>
        </p:spPr>
        <p:txBody>
          <a:bodyPr lIns="82058" tIns="41029" rIns="82058" bIns="41029" anchor="ctr"/>
          <a:lstStyle>
            <a:lvl1pPr>
              <a:buNone/>
              <a:defRPr sz="1400" baseline="0">
                <a:latin typeface="Calibri" pitchFamily="34" charset="0"/>
                <a:cs typeface="Calibri" pitchFamily="34" charset="0"/>
              </a:defRPr>
            </a:lvl1pPr>
          </a:lstStyle>
          <a:p>
            <a:pPr lvl="0"/>
            <a:r>
              <a:rPr lang="en-US" dirty="0" smtClean="0"/>
              <a:t>Click to edit Master section II</a:t>
            </a:r>
            <a:endParaRPr lang="en-US" dirty="0"/>
          </a:p>
        </p:txBody>
      </p:sp>
      <p:sp>
        <p:nvSpPr>
          <p:cNvPr id="13" name="Text Placeholder 17"/>
          <p:cNvSpPr>
            <a:spLocks noGrp="1"/>
          </p:cNvSpPr>
          <p:nvPr>
            <p:ph type="body" sz="quarter" idx="15" hasCustomPrompt="1"/>
            <p:custDataLst>
              <p:tags r:id="rId6"/>
            </p:custDataLst>
          </p:nvPr>
        </p:nvSpPr>
        <p:spPr>
          <a:xfrm>
            <a:off x="581935" y="2622212"/>
            <a:ext cx="6897147" cy="806824"/>
          </a:xfrm>
          <a:prstGeom prst="roundRect">
            <a:avLst/>
          </a:prstGeom>
        </p:spPr>
        <p:txBody>
          <a:bodyPr lIns="82058" tIns="41029" rIns="82058" bIns="41029" anchor="ctr"/>
          <a:lstStyle>
            <a:lvl1pPr>
              <a:buNone/>
              <a:defRPr sz="1400" baseline="0">
                <a:latin typeface="Calibri" pitchFamily="34" charset="0"/>
                <a:cs typeface="Calibri" pitchFamily="34" charset="0"/>
              </a:defRPr>
            </a:lvl1pPr>
          </a:lstStyle>
          <a:p>
            <a:pPr lvl="0"/>
            <a:r>
              <a:rPr lang="en-US" dirty="0" smtClean="0"/>
              <a:t>Click to edit Master section III, etc.</a:t>
            </a:r>
            <a:endParaRPr lang="en-US" dirty="0"/>
          </a:p>
        </p:txBody>
      </p:sp>
      <p:sp>
        <p:nvSpPr>
          <p:cNvPr id="14" name="Text Placeholder 19"/>
          <p:cNvSpPr>
            <a:spLocks noGrp="1"/>
          </p:cNvSpPr>
          <p:nvPr>
            <p:ph type="body" sz="quarter" idx="16" hasCustomPrompt="1"/>
            <p:custDataLst>
              <p:tags r:id="rId7"/>
            </p:custDataLst>
          </p:nvPr>
        </p:nvSpPr>
        <p:spPr>
          <a:xfrm>
            <a:off x="581935" y="3429036"/>
            <a:ext cx="6897147" cy="806824"/>
          </a:xfrm>
          <a:prstGeom prst="roundRect">
            <a:avLst/>
          </a:prstGeom>
        </p:spPr>
        <p:txBody>
          <a:bodyPr lIns="82058" tIns="41029" rIns="82058" bIns="41029" anchor="ctr"/>
          <a:lstStyle>
            <a:lvl1pPr>
              <a:buNone/>
              <a:defRPr sz="1400" baseline="0">
                <a:latin typeface="Calibri" pitchFamily="34" charset="0"/>
                <a:cs typeface="Calibri" pitchFamily="34" charset="0"/>
              </a:defRPr>
            </a:lvl1pPr>
          </a:lstStyle>
          <a:p>
            <a:pPr lvl="0"/>
            <a:r>
              <a:rPr lang="en-US" dirty="0" smtClean="0"/>
              <a:t>Click to edit – once completed, copy and paste slide as needed</a:t>
            </a:r>
            <a:endParaRPr lang="en-US" dirty="0"/>
          </a:p>
        </p:txBody>
      </p:sp>
      <p:sp>
        <p:nvSpPr>
          <p:cNvPr id="15" name="Text Placeholder 19"/>
          <p:cNvSpPr>
            <a:spLocks noGrp="1"/>
          </p:cNvSpPr>
          <p:nvPr>
            <p:ph type="body" sz="quarter" idx="18" hasCustomPrompt="1"/>
            <p:custDataLst>
              <p:tags r:id="rId8"/>
            </p:custDataLst>
          </p:nvPr>
        </p:nvSpPr>
        <p:spPr>
          <a:xfrm>
            <a:off x="581935" y="4235859"/>
            <a:ext cx="6897147" cy="806824"/>
          </a:xfrm>
          <a:prstGeom prst="roundRect">
            <a:avLst/>
          </a:prstGeom>
        </p:spPr>
        <p:txBody>
          <a:bodyPr lIns="82058" tIns="41029" rIns="82058" bIns="41029" anchor="ctr"/>
          <a:lstStyle>
            <a:lvl1pPr>
              <a:buNone/>
              <a:defRPr sz="1400" baseline="0">
                <a:latin typeface="Calibri" pitchFamily="34" charset="0"/>
                <a:cs typeface="Calibri" pitchFamily="34" charset="0"/>
              </a:defRPr>
            </a:lvl1pPr>
          </a:lstStyle>
          <a:p>
            <a:pPr lvl="0"/>
            <a:r>
              <a:rPr lang="en-US" dirty="0" smtClean="0"/>
              <a:t>Click to edit – move gray box down to next section, adjust font accordingly</a:t>
            </a:r>
            <a:endParaRPr lang="en-US" dirty="0"/>
          </a:p>
        </p:txBody>
      </p:sp>
      <p:sp>
        <p:nvSpPr>
          <p:cNvPr id="16" name="Text Placeholder 19"/>
          <p:cNvSpPr>
            <a:spLocks noGrp="1"/>
          </p:cNvSpPr>
          <p:nvPr>
            <p:ph type="body" sz="quarter" idx="19"/>
            <p:custDataLst>
              <p:tags r:id="rId9"/>
            </p:custDataLst>
          </p:nvPr>
        </p:nvSpPr>
        <p:spPr>
          <a:xfrm>
            <a:off x="581935" y="5042683"/>
            <a:ext cx="6897147" cy="806824"/>
          </a:xfrm>
          <a:prstGeom prst="roundRect">
            <a:avLst/>
          </a:prstGeom>
        </p:spPr>
        <p:txBody>
          <a:bodyPr lIns="82058" tIns="41029" rIns="82058" bIns="41029" anchor="ctr">
            <a:normAutofit/>
          </a:bodyPr>
          <a:lstStyle>
            <a:lvl1pPr>
              <a:buNone/>
              <a:defRPr sz="1400" baseline="0">
                <a:latin typeface="Calibri" pitchFamily="34" charset="0"/>
                <a:cs typeface="Calibri" pitchFamily="34" charset="0"/>
              </a:defRPr>
            </a:lvl1pPr>
          </a:lstStyle>
          <a:p>
            <a:pPr lvl="0"/>
            <a:r>
              <a:rPr lang="en-US" dirty="0" smtClean="0"/>
              <a:t>Click to edit</a:t>
            </a:r>
            <a:endParaRPr lang="en-US" dirty="0"/>
          </a:p>
        </p:txBody>
      </p:sp>
      <p:sp>
        <p:nvSpPr>
          <p:cNvPr id="10" name="Title 1"/>
          <p:cNvSpPr>
            <a:spLocks noGrp="1"/>
          </p:cNvSpPr>
          <p:nvPr>
            <p:ph type="title" hasCustomPrompt="1"/>
            <p:custDataLst>
              <p:tags r:id="rId10"/>
            </p:custDataLst>
          </p:nvPr>
        </p:nvSpPr>
        <p:spPr>
          <a:xfrm>
            <a:off x="415637" y="134471"/>
            <a:ext cx="8312727" cy="609600"/>
          </a:xfrm>
          <a:prstGeom prst="rect">
            <a:avLst/>
          </a:prstGeom>
        </p:spPr>
        <p:txBody>
          <a:bodyPr lIns="0" tIns="0" rIns="0" bIns="0" anchor="b"/>
          <a:lstStyle>
            <a:lvl1pPr algn="l">
              <a:defRPr sz="2200" b="1" cap="none" baseline="0"/>
            </a:lvl1pPr>
          </a:lstStyle>
          <a:p>
            <a:r>
              <a:rPr lang="en-US" dirty="0" smtClean="0"/>
              <a:t>Click to edit Contents/Agenda slide title</a:t>
            </a:r>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 Takeaway">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0" y="0"/>
          <a:ext cx="144318" cy="140074"/>
        </p:xfrm>
        <a:graphic>
          <a:graphicData uri="http://schemas.openxmlformats.org/presentationml/2006/ole">
            <mc:AlternateContent xmlns:mc="http://schemas.openxmlformats.org/markup-compatibility/2006">
              <mc:Choice xmlns:v="urn:schemas-microsoft-com:vml" Requires="v">
                <p:oleObj spid="_x0000_s660239" name="think-cell Slide" r:id="rId8" imgW="360" imgH="360" progId="TCLayout.ActiveDocument.1">
                  <p:embed/>
                </p:oleObj>
              </mc:Choice>
              <mc:Fallback>
                <p:oleObj name="think-cell Slide" r:id="rId8" imgW="360" imgH="360" progId="TCLayout.ActiveDocument.1">
                  <p:embed/>
                  <p:pic>
                    <p:nvPicPr>
                      <p:cNvPr id="0" name="Picture 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7"/>
          <p:cNvSpPr>
            <a:spLocks noGrp="1"/>
          </p:cNvSpPr>
          <p:nvPr>
            <p:ph type="body" sz="quarter" idx="13" hasCustomPrompt="1"/>
            <p:custDataLst>
              <p:tags r:id="rId3"/>
            </p:custDataLst>
          </p:nvPr>
        </p:nvSpPr>
        <p:spPr>
          <a:xfrm>
            <a:off x="415636" y="1331282"/>
            <a:ext cx="8312682" cy="4049016"/>
          </a:xfrm>
          <a:prstGeom prst="rect">
            <a:avLst/>
          </a:prstGeom>
        </p:spPr>
        <p:txBody>
          <a:bodyPr lIns="0" tIns="0" rIns="0" bIns="0">
            <a:noAutofit/>
          </a:bodyPr>
          <a:lstStyle>
            <a:lvl1pPr marL="173038" indent="-173038">
              <a:spcBef>
                <a:spcPts val="718"/>
              </a:spcBef>
              <a:defRPr sz="1800" baseline="0"/>
            </a:lvl1pPr>
            <a:lvl2pPr marL="347663" indent="-174625">
              <a:spcBef>
                <a:spcPts val="718"/>
              </a:spcBef>
              <a:defRPr sz="1600"/>
            </a:lvl2pPr>
            <a:lvl3pPr marL="509588" indent="-161925">
              <a:buFont typeface="Courier New" pitchFamily="49" charset="0"/>
              <a:buChar char="o"/>
              <a:defRPr sz="1600"/>
            </a:lvl3pPr>
            <a:lvl4pPr marL="682625" indent="-173038">
              <a:defRPr sz="1600"/>
            </a:lvl4pPr>
            <a:lvl5pPr>
              <a:defRPr sz="1800"/>
            </a:lvl5pPr>
          </a:lstStyle>
          <a:p>
            <a:pPr lvl="0"/>
            <a:r>
              <a:rPr lang="en-US" dirty="0" smtClean="0"/>
              <a:t>Click to edit Master text first level</a:t>
            </a:r>
          </a:p>
          <a:p>
            <a:pPr lvl="1"/>
            <a:r>
              <a:rPr lang="en-US" dirty="0" smtClean="0"/>
              <a:t>Second level</a:t>
            </a:r>
          </a:p>
          <a:p>
            <a:pPr lvl="2"/>
            <a:r>
              <a:rPr lang="en-US" dirty="0" smtClean="0"/>
              <a:t>Third level</a:t>
            </a:r>
          </a:p>
          <a:p>
            <a:pPr lvl="3"/>
            <a:r>
              <a:rPr lang="en-US" dirty="0" smtClean="0"/>
              <a:t>Fourth level</a:t>
            </a:r>
          </a:p>
        </p:txBody>
      </p:sp>
      <p:sp>
        <p:nvSpPr>
          <p:cNvPr id="10" name="Title 1"/>
          <p:cNvSpPr>
            <a:spLocks noGrp="1"/>
          </p:cNvSpPr>
          <p:nvPr>
            <p:ph type="title" hasCustomPrompt="1"/>
            <p:custDataLst>
              <p:tags r:id="rId4"/>
            </p:custDataLst>
          </p:nvPr>
        </p:nvSpPr>
        <p:spPr>
          <a:xfrm>
            <a:off x="416068" y="289359"/>
            <a:ext cx="8312727" cy="582389"/>
          </a:xfrm>
          <a:prstGeom prst="rect">
            <a:avLst/>
          </a:prstGeom>
        </p:spPr>
        <p:txBody>
          <a:bodyPr lIns="0" tIns="0" rIns="0" bIns="0" anchor="b"/>
          <a:lstStyle>
            <a:lvl1pPr algn="l">
              <a:defRPr sz="2600" b="1" baseline="0">
                <a:solidFill>
                  <a:schemeClr val="bg1"/>
                </a:solidFill>
              </a:defRPr>
            </a:lvl1pPr>
          </a:lstStyle>
          <a:p>
            <a:r>
              <a:rPr lang="en-US" dirty="0" smtClean="0"/>
              <a:t>Click to edit </a:t>
            </a:r>
            <a:br>
              <a:rPr lang="en-US" dirty="0" smtClean="0"/>
            </a:br>
            <a:r>
              <a:rPr lang="en-US" dirty="0" smtClean="0"/>
              <a:t>Master title</a:t>
            </a:r>
            <a:endParaRPr lang="en-US" dirty="0"/>
          </a:p>
        </p:txBody>
      </p:sp>
      <p:sp>
        <p:nvSpPr>
          <p:cNvPr id="6" name="Text Placeholder 8"/>
          <p:cNvSpPr>
            <a:spLocks noGrp="1"/>
          </p:cNvSpPr>
          <p:nvPr>
            <p:ph type="body" sz="quarter" idx="16" hasCustomPrompt="1"/>
            <p:custDataLst>
              <p:tags r:id="rId5"/>
            </p:custDataLst>
          </p:nvPr>
        </p:nvSpPr>
        <p:spPr>
          <a:xfrm>
            <a:off x="1995083" y="5577177"/>
            <a:ext cx="5161014" cy="742914"/>
          </a:xfrm>
          <a:prstGeom prst="roundRect">
            <a:avLst/>
          </a:prstGeom>
          <a:ln w="19050">
            <a:solidFill>
              <a:schemeClr val="tx2"/>
            </a:solidFill>
          </a:ln>
        </p:spPr>
        <p:txBody>
          <a:bodyPr lIns="82058" tIns="82058" rIns="82058" bIns="82058" anchor="ctr"/>
          <a:lstStyle>
            <a:lvl1pPr marL="0" indent="0" algn="ctr">
              <a:buNone/>
              <a:defRPr sz="1800" b="1" baseline="0"/>
            </a:lvl1pPr>
          </a:lstStyle>
          <a:p>
            <a:pPr lvl="0"/>
            <a:r>
              <a:rPr lang="en-US" b="1" dirty="0" smtClean="0"/>
              <a:t>Click to edit: Takeaway/Transition boxes should be used only when they add to the impact of a slide. </a:t>
            </a:r>
            <a:endParaRPr lang="en-US" dirty="0"/>
          </a:p>
        </p:txBody>
      </p:sp>
      <p:sp>
        <p:nvSpPr>
          <p:cNvPr id="11" name="Slide Number Placeholder 5"/>
          <p:cNvSpPr txBox="1">
            <a:spLocks/>
          </p:cNvSpPr>
          <p:nvPr userDrawn="1">
            <p:custDataLst>
              <p:tags r:id="rId6"/>
            </p:custDataLst>
          </p:nvPr>
        </p:nvSpPr>
        <p:spPr>
          <a:xfrm>
            <a:off x="415925" y="6446651"/>
            <a:ext cx="7447879" cy="365592"/>
          </a:xfrm>
          <a:prstGeom prst="rect">
            <a:avLst/>
          </a:prstGeom>
        </p:spPr>
        <p:txBody>
          <a:bodyPr vert="horz" lIns="0" tIns="0" rIns="0" bIns="0" rtlCol="0" anchor="ctr"/>
          <a:lstStyle>
            <a:lvl1pPr algn="r">
              <a:defRPr sz="1200">
                <a:solidFill>
                  <a:schemeClr val="tx1">
                    <a:tint val="75000"/>
                  </a:schemeClr>
                </a:solidFill>
              </a:defRPr>
            </a:lvl1pPr>
          </a:lstStyle>
          <a:p>
            <a:pPr algn="l"/>
            <a:r>
              <a:rPr lang="en-US" sz="1000" dirty="0" smtClean="0">
                <a:solidFill>
                  <a:schemeClr val="tx1"/>
                </a:solidFill>
              </a:rPr>
              <a:t>Click to edit Master footer. This space is reserved for footnotes and sources only, and cannot be expanded beyond its current size. Text should </a:t>
            </a:r>
            <a:br>
              <a:rPr lang="en-US" sz="1000" dirty="0" smtClean="0">
                <a:solidFill>
                  <a:schemeClr val="tx1"/>
                </a:solidFill>
              </a:rPr>
            </a:br>
            <a:r>
              <a:rPr lang="en-US" sz="1000" dirty="0" smtClean="0">
                <a:solidFill>
                  <a:schemeClr val="tx1"/>
                </a:solidFill>
              </a:rPr>
              <a:t>never cover the ‘Dalberg #’ in the bottom right., but the bottom line of text can extend under it if necessary.  SOURCE::xxxxxxxxxxxxxxxxxxxxxx</a:t>
            </a:r>
            <a:endParaRPr lang="en-US" sz="1000" dirty="0">
              <a:solidFill>
                <a:schemeClr val="tx1"/>
              </a:solidFill>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Column Chevrons">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0" y="0"/>
          <a:ext cx="144318" cy="140074"/>
        </p:xfrm>
        <a:graphic>
          <a:graphicData uri="http://schemas.openxmlformats.org/presentationml/2006/ole">
            <mc:AlternateContent xmlns:mc="http://schemas.openxmlformats.org/markup-compatibility/2006">
              <mc:Choice xmlns:v="urn:schemas-microsoft-com:vml" Requires="v">
                <p:oleObj spid="_x0000_s732944" name="think-cell Slide" r:id="rId12" imgW="360" imgH="360" progId="TCLayout.ActiveDocument.1">
                  <p:embed/>
                </p:oleObj>
              </mc:Choice>
              <mc:Fallback>
                <p:oleObj name="think-cell Slide" r:id="rId12" imgW="360" imgH="360" progId="TCLayout.ActiveDocument.1">
                  <p:embed/>
                  <p:pic>
                    <p:nvPicPr>
                      <p:cNvPr id="0" name="Picture 6"/>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1"/>
          <p:cNvSpPr>
            <a:spLocks noGrp="1"/>
          </p:cNvSpPr>
          <p:nvPr>
            <p:ph type="title"/>
            <p:custDataLst>
              <p:tags r:id="rId3"/>
            </p:custDataLst>
          </p:nvPr>
        </p:nvSpPr>
        <p:spPr>
          <a:xfrm>
            <a:off x="416068" y="289359"/>
            <a:ext cx="8312727" cy="582389"/>
          </a:xfrm>
          <a:prstGeom prst="rect">
            <a:avLst/>
          </a:prstGeom>
        </p:spPr>
        <p:txBody>
          <a:bodyPr lIns="0" tIns="0" rIns="0" bIns="0" anchor="b"/>
          <a:lstStyle>
            <a:lvl1pPr algn="l">
              <a:defRPr sz="2600" b="1" baseline="0">
                <a:solidFill>
                  <a:schemeClr val="bg1"/>
                </a:solidFill>
              </a:defRPr>
            </a:lvl1pPr>
          </a:lstStyle>
          <a:p>
            <a:r>
              <a:rPr lang="en-US" dirty="0" smtClean="0"/>
              <a:t>Click to edit Master title</a:t>
            </a:r>
            <a:endParaRPr lang="en-US" dirty="0"/>
          </a:p>
        </p:txBody>
      </p:sp>
      <p:sp>
        <p:nvSpPr>
          <p:cNvPr id="15" name="Text Placeholder 9"/>
          <p:cNvSpPr>
            <a:spLocks noGrp="1"/>
          </p:cNvSpPr>
          <p:nvPr>
            <p:ph type="body" sz="quarter" idx="10"/>
          </p:nvPr>
        </p:nvSpPr>
        <p:spPr>
          <a:xfrm>
            <a:off x="415636" y="2148854"/>
            <a:ext cx="1579447" cy="4185271"/>
          </a:xfrm>
          <a:prstGeom prst="rect">
            <a:avLst/>
          </a:prstGeom>
        </p:spPr>
        <p:txBody>
          <a:bodyPr lIns="0" tIns="0" rIns="0" bIns="0"/>
          <a:lstStyle>
            <a:lvl1pPr marL="173038" indent="-173038">
              <a:defRPr sz="1800"/>
            </a:lvl1pPr>
            <a:lvl2pPr marL="347663" indent="-174625">
              <a:defRPr sz="1600"/>
            </a:lvl2pPr>
            <a:lvl3pPr marL="509588" indent="-161925">
              <a:buFont typeface="Courier New" pitchFamily="49" charset="0"/>
              <a:buChar char="o"/>
              <a:defRPr sz="1600"/>
            </a:lvl3pPr>
            <a:lvl4pPr marL="682625" indent="-173038">
              <a:defRPr sz="16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1" name="Text Placeholder 17"/>
          <p:cNvSpPr>
            <a:spLocks noGrp="1"/>
          </p:cNvSpPr>
          <p:nvPr>
            <p:ph type="body" sz="quarter" idx="40" hasCustomPrompt="1"/>
            <p:custDataLst>
              <p:tags r:id="rId4"/>
            </p:custDataLst>
          </p:nvPr>
        </p:nvSpPr>
        <p:spPr>
          <a:xfrm>
            <a:off x="415682" y="1330700"/>
            <a:ext cx="1662526" cy="726716"/>
          </a:xfrm>
          <a:prstGeom prst="homePlate">
            <a:avLst>
              <a:gd name="adj" fmla="val 15355"/>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text</a:t>
            </a:r>
            <a:endParaRPr lang="en-US" dirty="0"/>
          </a:p>
        </p:txBody>
      </p:sp>
      <p:sp>
        <p:nvSpPr>
          <p:cNvPr id="39" name="Text Placeholder 17"/>
          <p:cNvSpPr>
            <a:spLocks noGrp="1"/>
          </p:cNvSpPr>
          <p:nvPr>
            <p:ph type="body" sz="quarter" idx="56" hasCustomPrompt="1"/>
            <p:custDataLst>
              <p:tags r:id="rId5"/>
            </p:custDataLst>
          </p:nvPr>
        </p:nvSpPr>
        <p:spPr>
          <a:xfrm>
            <a:off x="2078210" y="1330699"/>
            <a:ext cx="1662526" cy="734564"/>
          </a:xfrm>
          <a:prstGeom prst="chevron">
            <a:avLst>
              <a:gd name="adj" fmla="val 11708"/>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text</a:t>
            </a:r>
            <a:endParaRPr lang="en-US" dirty="0"/>
          </a:p>
        </p:txBody>
      </p:sp>
      <p:sp>
        <p:nvSpPr>
          <p:cNvPr id="40" name="Text Placeholder 17"/>
          <p:cNvSpPr>
            <a:spLocks noGrp="1"/>
          </p:cNvSpPr>
          <p:nvPr>
            <p:ph type="body" sz="quarter" idx="57" hasCustomPrompt="1"/>
            <p:custDataLst>
              <p:tags r:id="rId6"/>
            </p:custDataLst>
          </p:nvPr>
        </p:nvSpPr>
        <p:spPr>
          <a:xfrm>
            <a:off x="3740738" y="1330699"/>
            <a:ext cx="1662526" cy="734564"/>
          </a:xfrm>
          <a:prstGeom prst="chevron">
            <a:avLst>
              <a:gd name="adj" fmla="val 11708"/>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text</a:t>
            </a:r>
            <a:endParaRPr lang="en-US" dirty="0"/>
          </a:p>
        </p:txBody>
      </p:sp>
      <p:sp>
        <p:nvSpPr>
          <p:cNvPr id="41" name="Text Placeholder 17"/>
          <p:cNvSpPr>
            <a:spLocks noGrp="1"/>
          </p:cNvSpPr>
          <p:nvPr>
            <p:ph type="body" sz="quarter" idx="58" hasCustomPrompt="1"/>
            <p:custDataLst>
              <p:tags r:id="rId7"/>
            </p:custDataLst>
          </p:nvPr>
        </p:nvSpPr>
        <p:spPr>
          <a:xfrm>
            <a:off x="5403265" y="1330699"/>
            <a:ext cx="1662526" cy="734564"/>
          </a:xfrm>
          <a:prstGeom prst="chevron">
            <a:avLst>
              <a:gd name="adj" fmla="val 11708"/>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text</a:t>
            </a:r>
            <a:endParaRPr lang="en-US" dirty="0"/>
          </a:p>
        </p:txBody>
      </p:sp>
      <p:sp>
        <p:nvSpPr>
          <p:cNvPr id="42" name="Text Placeholder 17"/>
          <p:cNvSpPr>
            <a:spLocks noGrp="1"/>
          </p:cNvSpPr>
          <p:nvPr>
            <p:ph type="body" sz="quarter" idx="59" hasCustomPrompt="1"/>
            <p:custDataLst>
              <p:tags r:id="rId8"/>
            </p:custDataLst>
          </p:nvPr>
        </p:nvSpPr>
        <p:spPr>
          <a:xfrm>
            <a:off x="7065792" y="1330699"/>
            <a:ext cx="1662526" cy="734564"/>
          </a:xfrm>
          <a:prstGeom prst="chevron">
            <a:avLst>
              <a:gd name="adj" fmla="val 11708"/>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text</a:t>
            </a:r>
            <a:endParaRPr lang="en-US" dirty="0"/>
          </a:p>
        </p:txBody>
      </p:sp>
      <p:sp>
        <p:nvSpPr>
          <p:cNvPr id="26" name="Text Placeholder 9"/>
          <p:cNvSpPr>
            <a:spLocks noGrp="1"/>
          </p:cNvSpPr>
          <p:nvPr>
            <p:ph type="body" sz="quarter" idx="60"/>
          </p:nvPr>
        </p:nvSpPr>
        <p:spPr>
          <a:xfrm>
            <a:off x="2103147" y="2148854"/>
            <a:ext cx="1579447" cy="4185271"/>
          </a:xfrm>
          <a:prstGeom prst="rect">
            <a:avLst/>
          </a:prstGeom>
        </p:spPr>
        <p:txBody>
          <a:bodyPr lIns="0" tIns="0" rIns="0" bIns="0"/>
          <a:lstStyle>
            <a:lvl1pPr marL="173038" indent="-173038">
              <a:defRPr sz="1800"/>
            </a:lvl1pPr>
            <a:lvl2pPr marL="347663" indent="-174625">
              <a:defRPr sz="1600"/>
            </a:lvl2pPr>
            <a:lvl3pPr marL="509588" indent="-161925">
              <a:buFont typeface="Courier New" pitchFamily="49" charset="0"/>
              <a:buChar char="o"/>
              <a:defRPr sz="1600"/>
            </a:lvl3pPr>
            <a:lvl4pPr marL="682625" indent="-173038">
              <a:defRPr sz="16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7" name="Text Placeholder 9"/>
          <p:cNvSpPr>
            <a:spLocks noGrp="1"/>
          </p:cNvSpPr>
          <p:nvPr>
            <p:ph type="body" sz="quarter" idx="61"/>
          </p:nvPr>
        </p:nvSpPr>
        <p:spPr>
          <a:xfrm>
            <a:off x="3749049" y="2148854"/>
            <a:ext cx="1579447" cy="4185271"/>
          </a:xfrm>
          <a:prstGeom prst="rect">
            <a:avLst/>
          </a:prstGeom>
        </p:spPr>
        <p:txBody>
          <a:bodyPr lIns="0" tIns="0" rIns="0" bIns="0"/>
          <a:lstStyle>
            <a:lvl1pPr marL="173038" indent="-173038">
              <a:defRPr sz="1800"/>
            </a:lvl1pPr>
            <a:lvl2pPr marL="347663" indent="-174625">
              <a:defRPr sz="1600"/>
            </a:lvl2pPr>
            <a:lvl3pPr marL="509588" indent="-161925">
              <a:buFont typeface="Courier New" pitchFamily="49" charset="0"/>
              <a:buChar char="o"/>
              <a:defRPr sz="1600"/>
            </a:lvl3pPr>
            <a:lvl4pPr marL="682625" indent="-173038">
              <a:defRPr sz="16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8" name="Text Placeholder 9"/>
          <p:cNvSpPr>
            <a:spLocks noGrp="1"/>
          </p:cNvSpPr>
          <p:nvPr>
            <p:ph type="body" sz="quarter" idx="62"/>
          </p:nvPr>
        </p:nvSpPr>
        <p:spPr>
          <a:xfrm>
            <a:off x="5394951" y="2148854"/>
            <a:ext cx="1579447" cy="4185271"/>
          </a:xfrm>
          <a:prstGeom prst="rect">
            <a:avLst/>
          </a:prstGeom>
        </p:spPr>
        <p:txBody>
          <a:bodyPr lIns="0" tIns="0" rIns="0" bIns="0"/>
          <a:lstStyle>
            <a:lvl1pPr marL="173038" indent="-173038">
              <a:defRPr sz="1800"/>
            </a:lvl1pPr>
            <a:lvl2pPr marL="347663" indent="-174625">
              <a:defRPr sz="1600"/>
            </a:lvl2pPr>
            <a:lvl3pPr marL="509588" indent="-161925">
              <a:buFont typeface="Courier New" pitchFamily="49" charset="0"/>
              <a:buChar char="o"/>
              <a:defRPr sz="1600"/>
            </a:lvl3pPr>
            <a:lvl4pPr marL="682625" indent="-173038">
              <a:defRPr sz="16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9" name="Text Placeholder 9"/>
          <p:cNvSpPr>
            <a:spLocks noGrp="1"/>
          </p:cNvSpPr>
          <p:nvPr>
            <p:ph type="body" sz="quarter" idx="63"/>
            <p:custDataLst>
              <p:tags r:id="rId9"/>
            </p:custDataLst>
          </p:nvPr>
        </p:nvSpPr>
        <p:spPr>
          <a:xfrm>
            <a:off x="7040853" y="2148854"/>
            <a:ext cx="1579447" cy="4185271"/>
          </a:xfrm>
          <a:prstGeom prst="rect">
            <a:avLst/>
          </a:prstGeom>
        </p:spPr>
        <p:txBody>
          <a:bodyPr lIns="0" tIns="0" rIns="0" bIns="0"/>
          <a:lstStyle>
            <a:lvl1pPr marL="173038" indent="-173038">
              <a:defRPr sz="1800"/>
            </a:lvl1pPr>
            <a:lvl2pPr marL="347663" indent="-174625">
              <a:defRPr sz="1600"/>
            </a:lvl2pPr>
            <a:lvl3pPr marL="509588" indent="-161925">
              <a:buFont typeface="Courier New" pitchFamily="49" charset="0"/>
              <a:buChar char="o"/>
              <a:defRPr sz="1600"/>
            </a:lvl3pPr>
            <a:lvl4pPr marL="682625" indent="-173038">
              <a:defRPr sz="16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7" name="Slide Number Placeholder 5"/>
          <p:cNvSpPr txBox="1">
            <a:spLocks/>
          </p:cNvSpPr>
          <p:nvPr userDrawn="1">
            <p:custDataLst>
              <p:tags r:id="rId10"/>
            </p:custDataLst>
          </p:nvPr>
        </p:nvSpPr>
        <p:spPr>
          <a:xfrm>
            <a:off x="415925" y="6446651"/>
            <a:ext cx="7447879" cy="365592"/>
          </a:xfrm>
          <a:prstGeom prst="rect">
            <a:avLst/>
          </a:prstGeom>
        </p:spPr>
        <p:txBody>
          <a:bodyPr vert="horz" lIns="0" tIns="0" rIns="0" bIns="0" rtlCol="0" anchor="ctr"/>
          <a:lstStyle>
            <a:lvl1pPr algn="r">
              <a:defRPr sz="1200">
                <a:solidFill>
                  <a:schemeClr val="tx1">
                    <a:tint val="75000"/>
                  </a:schemeClr>
                </a:solidFill>
              </a:defRPr>
            </a:lvl1pPr>
          </a:lstStyle>
          <a:p>
            <a:pPr algn="l"/>
            <a:r>
              <a:rPr lang="en-US" sz="1000" dirty="0" smtClean="0">
                <a:solidFill>
                  <a:schemeClr val="tx1"/>
                </a:solidFill>
              </a:rPr>
              <a:t>Click to edit Master footer. This space is reserved for footnotes and sources only, and cannot be expanded beyond its current size. Text should </a:t>
            </a:r>
            <a:br>
              <a:rPr lang="en-US" sz="1000" dirty="0" smtClean="0">
                <a:solidFill>
                  <a:schemeClr val="tx1"/>
                </a:solidFill>
              </a:rPr>
            </a:br>
            <a:r>
              <a:rPr lang="en-US" sz="1000" dirty="0" smtClean="0">
                <a:solidFill>
                  <a:schemeClr val="tx1"/>
                </a:solidFill>
              </a:rPr>
              <a:t>never cover the ‘Dalberg #’ in the bottom right., but the bottom line of text can extend under it if necessary.  SOURCE::xxxxxxxxxxxxxxxxxxxxxx</a:t>
            </a:r>
            <a:endParaRPr lang="en-US" sz="1000" dirty="0">
              <a:solidFill>
                <a:schemeClr val="tx1"/>
              </a:solidFill>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Row Boxes">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0" y="0"/>
          <a:ext cx="144318" cy="140074"/>
        </p:xfrm>
        <a:graphic>
          <a:graphicData uri="http://schemas.openxmlformats.org/presentationml/2006/ole">
            <mc:AlternateContent xmlns:mc="http://schemas.openxmlformats.org/markup-compatibility/2006">
              <mc:Choice xmlns:v="urn:schemas-microsoft-com:vml" Requires="v">
                <p:oleObj spid="_x0000_s742160" name="think-cell Slide" r:id="rId16" imgW="360" imgH="360" progId="TCLayout.ActiveDocument.1">
                  <p:embed/>
                </p:oleObj>
              </mc:Choice>
              <mc:Fallback>
                <p:oleObj name="think-cell Slide" r:id="rId16" imgW="360" imgH="360" progId="TCLayout.ActiveDocument.1">
                  <p:embed/>
                  <p:pic>
                    <p:nvPicPr>
                      <p:cNvPr id="0" name="Picture 6"/>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1"/>
          <p:cNvSpPr>
            <a:spLocks noGrp="1"/>
          </p:cNvSpPr>
          <p:nvPr>
            <p:ph type="title"/>
            <p:custDataLst>
              <p:tags r:id="rId3"/>
            </p:custDataLst>
          </p:nvPr>
        </p:nvSpPr>
        <p:spPr>
          <a:xfrm>
            <a:off x="416068" y="289359"/>
            <a:ext cx="8312727" cy="582389"/>
          </a:xfrm>
          <a:prstGeom prst="rect">
            <a:avLst/>
          </a:prstGeom>
        </p:spPr>
        <p:txBody>
          <a:bodyPr lIns="0" tIns="0" rIns="0" bIns="0" anchor="b"/>
          <a:lstStyle>
            <a:lvl1pPr algn="l">
              <a:defRPr sz="2600" b="1" baseline="0">
                <a:solidFill>
                  <a:schemeClr val="bg1"/>
                </a:solidFill>
              </a:defRPr>
            </a:lvl1pPr>
          </a:lstStyle>
          <a:p>
            <a:r>
              <a:rPr lang="en-US" dirty="0" smtClean="0"/>
              <a:t>Click to edit Master title</a:t>
            </a:r>
            <a:endParaRPr lang="en-US" dirty="0"/>
          </a:p>
        </p:txBody>
      </p:sp>
      <p:sp>
        <p:nvSpPr>
          <p:cNvPr id="34" name="Text Placeholder 14"/>
          <p:cNvSpPr>
            <a:spLocks noGrp="1"/>
          </p:cNvSpPr>
          <p:nvPr>
            <p:ph type="body" sz="quarter" idx="68" hasCustomPrompt="1"/>
            <p:custDataLst>
              <p:tags r:id="rId4"/>
            </p:custDataLst>
          </p:nvPr>
        </p:nvSpPr>
        <p:spPr>
          <a:xfrm>
            <a:off x="415682" y="1331282"/>
            <a:ext cx="1798567"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35" name="Text Placeholder 9"/>
          <p:cNvSpPr>
            <a:spLocks noGrp="1"/>
          </p:cNvSpPr>
          <p:nvPr>
            <p:ph type="body" sz="quarter" idx="69"/>
            <p:custDataLst>
              <p:tags r:id="rId5"/>
            </p:custDataLst>
          </p:nvPr>
        </p:nvSpPr>
        <p:spPr>
          <a:xfrm>
            <a:off x="2314644" y="1330699"/>
            <a:ext cx="6386344" cy="830975"/>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36" name="Text Placeholder 14"/>
          <p:cNvSpPr>
            <a:spLocks noGrp="1"/>
          </p:cNvSpPr>
          <p:nvPr>
            <p:ph type="body" sz="quarter" idx="70" hasCustomPrompt="1"/>
            <p:custDataLst>
              <p:tags r:id="rId6"/>
            </p:custDataLst>
          </p:nvPr>
        </p:nvSpPr>
        <p:spPr>
          <a:xfrm>
            <a:off x="415637" y="2299460"/>
            <a:ext cx="1798567"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37" name="Text Placeholder 9"/>
          <p:cNvSpPr>
            <a:spLocks noGrp="1"/>
          </p:cNvSpPr>
          <p:nvPr>
            <p:ph type="body" sz="quarter" idx="71"/>
            <p:custDataLst>
              <p:tags r:id="rId7"/>
            </p:custDataLst>
          </p:nvPr>
        </p:nvSpPr>
        <p:spPr>
          <a:xfrm>
            <a:off x="2314599" y="2320215"/>
            <a:ext cx="6386344" cy="809636"/>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38" name="Text Placeholder 14"/>
          <p:cNvSpPr>
            <a:spLocks noGrp="1"/>
          </p:cNvSpPr>
          <p:nvPr>
            <p:ph type="body" sz="quarter" idx="72" hasCustomPrompt="1"/>
            <p:custDataLst>
              <p:tags r:id="rId8"/>
            </p:custDataLst>
          </p:nvPr>
        </p:nvSpPr>
        <p:spPr>
          <a:xfrm>
            <a:off x="415637" y="3267638"/>
            <a:ext cx="1798567"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39" name="Text Placeholder 9"/>
          <p:cNvSpPr>
            <a:spLocks noGrp="1"/>
          </p:cNvSpPr>
          <p:nvPr>
            <p:ph type="body" sz="quarter" idx="73"/>
            <p:custDataLst>
              <p:tags r:id="rId9"/>
            </p:custDataLst>
          </p:nvPr>
        </p:nvSpPr>
        <p:spPr>
          <a:xfrm>
            <a:off x="2314599" y="3288393"/>
            <a:ext cx="6386344" cy="809636"/>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40" name="Text Placeholder 14"/>
          <p:cNvSpPr>
            <a:spLocks noGrp="1"/>
          </p:cNvSpPr>
          <p:nvPr>
            <p:ph type="body" sz="quarter" idx="74" hasCustomPrompt="1"/>
            <p:custDataLst>
              <p:tags r:id="rId10"/>
            </p:custDataLst>
          </p:nvPr>
        </p:nvSpPr>
        <p:spPr>
          <a:xfrm>
            <a:off x="415637" y="4235815"/>
            <a:ext cx="1798567"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41" name="Text Placeholder 9"/>
          <p:cNvSpPr>
            <a:spLocks noGrp="1"/>
          </p:cNvSpPr>
          <p:nvPr>
            <p:ph type="body" sz="quarter" idx="75"/>
            <p:custDataLst>
              <p:tags r:id="rId11"/>
            </p:custDataLst>
          </p:nvPr>
        </p:nvSpPr>
        <p:spPr>
          <a:xfrm>
            <a:off x="2314599" y="4256571"/>
            <a:ext cx="6386344" cy="809636"/>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42" name="Text Placeholder 14"/>
          <p:cNvSpPr>
            <a:spLocks noGrp="1"/>
          </p:cNvSpPr>
          <p:nvPr>
            <p:ph type="body" sz="quarter" idx="76" hasCustomPrompt="1"/>
            <p:custDataLst>
              <p:tags r:id="rId12"/>
            </p:custDataLst>
          </p:nvPr>
        </p:nvSpPr>
        <p:spPr>
          <a:xfrm>
            <a:off x="415637" y="5203993"/>
            <a:ext cx="1798567"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43" name="Text Placeholder 9"/>
          <p:cNvSpPr>
            <a:spLocks noGrp="1"/>
          </p:cNvSpPr>
          <p:nvPr>
            <p:ph type="body" sz="quarter" idx="77"/>
            <p:custDataLst>
              <p:tags r:id="rId13"/>
            </p:custDataLst>
          </p:nvPr>
        </p:nvSpPr>
        <p:spPr>
          <a:xfrm>
            <a:off x="2314599" y="5224748"/>
            <a:ext cx="6386344" cy="809636"/>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16" name="Slide Number Placeholder 5"/>
          <p:cNvSpPr txBox="1">
            <a:spLocks/>
          </p:cNvSpPr>
          <p:nvPr userDrawn="1">
            <p:custDataLst>
              <p:tags r:id="rId14"/>
            </p:custDataLst>
          </p:nvPr>
        </p:nvSpPr>
        <p:spPr>
          <a:xfrm>
            <a:off x="415925" y="6446651"/>
            <a:ext cx="7447879" cy="365592"/>
          </a:xfrm>
          <a:prstGeom prst="rect">
            <a:avLst/>
          </a:prstGeom>
        </p:spPr>
        <p:txBody>
          <a:bodyPr vert="horz" lIns="0" tIns="0" rIns="0" bIns="0" rtlCol="0" anchor="ctr"/>
          <a:lstStyle>
            <a:lvl1pPr algn="r">
              <a:defRPr sz="1200">
                <a:solidFill>
                  <a:schemeClr val="tx1">
                    <a:tint val="75000"/>
                  </a:schemeClr>
                </a:solidFill>
              </a:defRPr>
            </a:lvl1pPr>
          </a:lstStyle>
          <a:p>
            <a:pPr algn="l"/>
            <a:r>
              <a:rPr lang="en-US" sz="1000" dirty="0" smtClean="0">
                <a:solidFill>
                  <a:schemeClr val="tx1"/>
                </a:solidFill>
              </a:rPr>
              <a:t>Click to edit Master footer. This space is reserved for footnotes and sources only, and cannot be expanded beyond its current size. Text should </a:t>
            </a:r>
            <a:br>
              <a:rPr lang="en-US" sz="1000" dirty="0" smtClean="0">
                <a:solidFill>
                  <a:schemeClr val="tx1"/>
                </a:solidFill>
              </a:rPr>
            </a:br>
            <a:r>
              <a:rPr lang="en-US" sz="1000" dirty="0" smtClean="0">
                <a:solidFill>
                  <a:schemeClr val="tx1"/>
                </a:solidFill>
              </a:rPr>
              <a:t>never cover the ‘Dalberg #’ in the bottom right., but the bottom line of text can extend under it if necessary.  SOURCE::xxxxxxxxxxxxxxxxxxxxxx</a:t>
            </a:r>
            <a:endParaRPr lang="en-US" sz="1000" dirty="0">
              <a:solidFill>
                <a:schemeClr val="tx1"/>
              </a:solidFill>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Row Boxes + Header">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0" y="0"/>
          <a:ext cx="144318" cy="140074"/>
        </p:xfrm>
        <a:graphic>
          <a:graphicData uri="http://schemas.openxmlformats.org/presentationml/2006/ole">
            <mc:AlternateContent xmlns:mc="http://schemas.openxmlformats.org/markup-compatibility/2006">
              <mc:Choice xmlns:v="urn:schemas-microsoft-com:vml" Requires="v">
                <p:oleObj spid="_x0000_s748304" name="think-cell Slide" r:id="rId18" imgW="360" imgH="360" progId="TCLayout.ActiveDocument.1">
                  <p:embed/>
                </p:oleObj>
              </mc:Choice>
              <mc:Fallback>
                <p:oleObj name="think-cell Slide" r:id="rId18" imgW="360" imgH="360" progId="TCLayout.ActiveDocument.1">
                  <p:embed/>
                  <p:pic>
                    <p:nvPicPr>
                      <p:cNvPr id="0" name="Picture 6"/>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0" y="0"/>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1"/>
          <p:cNvSpPr>
            <a:spLocks noGrp="1"/>
          </p:cNvSpPr>
          <p:nvPr>
            <p:ph type="title"/>
            <p:custDataLst>
              <p:tags r:id="rId3"/>
            </p:custDataLst>
          </p:nvPr>
        </p:nvSpPr>
        <p:spPr>
          <a:xfrm>
            <a:off x="416068" y="289359"/>
            <a:ext cx="8312727" cy="582389"/>
          </a:xfrm>
          <a:prstGeom prst="rect">
            <a:avLst/>
          </a:prstGeom>
        </p:spPr>
        <p:txBody>
          <a:bodyPr lIns="0" tIns="0" rIns="0" bIns="0" anchor="b"/>
          <a:lstStyle>
            <a:lvl1pPr algn="l">
              <a:defRPr sz="2600" b="1" baseline="0">
                <a:solidFill>
                  <a:schemeClr val="bg1"/>
                </a:solidFill>
              </a:defRPr>
            </a:lvl1pPr>
          </a:lstStyle>
          <a:p>
            <a:r>
              <a:rPr lang="en-US" dirty="0" smtClean="0"/>
              <a:t>Click to edit Master title</a:t>
            </a:r>
            <a:endParaRPr lang="en-US" dirty="0"/>
          </a:p>
        </p:txBody>
      </p:sp>
      <p:sp>
        <p:nvSpPr>
          <p:cNvPr id="16" name="Text Placeholder 15"/>
          <p:cNvSpPr>
            <a:spLocks noGrp="1"/>
          </p:cNvSpPr>
          <p:nvPr>
            <p:ph type="body" sz="quarter" idx="78" hasCustomPrompt="1"/>
            <p:custDataLst>
              <p:tags r:id="rId4"/>
            </p:custDataLst>
          </p:nvPr>
        </p:nvSpPr>
        <p:spPr>
          <a:xfrm>
            <a:off x="2327807" y="1330697"/>
            <a:ext cx="6400511" cy="452401"/>
          </a:xfrm>
          <a:prstGeom prst="rect">
            <a:avLst/>
          </a:prstGeom>
        </p:spPr>
        <p:txBody>
          <a:bodyPr lIns="0" tIns="0" rIns="0" bIns="0" anchor="b"/>
          <a:lstStyle>
            <a:lvl1pPr algn="ctr">
              <a:buNone/>
              <a:defRPr sz="1800" b="1"/>
            </a:lvl1pPr>
            <a:lvl2pPr>
              <a:defRPr sz="1600"/>
            </a:lvl2pPr>
            <a:lvl3pPr>
              <a:defRPr sz="1600"/>
            </a:lvl3pPr>
            <a:lvl4pPr>
              <a:defRPr sz="1600"/>
            </a:lvl4pPr>
            <a:lvl5pPr>
              <a:defRPr sz="1600"/>
            </a:lvl5pPr>
          </a:lstStyle>
          <a:p>
            <a:pPr lvl="0"/>
            <a:r>
              <a:rPr lang="en-US" dirty="0" smtClean="0"/>
              <a:t>Click to edit Master header</a:t>
            </a:r>
          </a:p>
        </p:txBody>
      </p:sp>
      <p:cxnSp>
        <p:nvCxnSpPr>
          <p:cNvPr id="20" name="Straight Connector 19"/>
          <p:cNvCxnSpPr/>
          <p:nvPr userDrawn="1">
            <p:custDataLst>
              <p:tags r:id="rId5"/>
            </p:custDataLst>
          </p:nvPr>
        </p:nvCxnSpPr>
        <p:spPr>
          <a:xfrm>
            <a:off x="2327589" y="1874537"/>
            <a:ext cx="64007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14"/>
          <p:cNvSpPr>
            <a:spLocks noGrp="1"/>
          </p:cNvSpPr>
          <p:nvPr>
            <p:ph type="body" sz="quarter" idx="68" hasCustomPrompt="1"/>
            <p:custDataLst>
              <p:tags r:id="rId6"/>
            </p:custDataLst>
          </p:nvPr>
        </p:nvSpPr>
        <p:spPr>
          <a:xfrm>
            <a:off x="415970" y="1953748"/>
            <a:ext cx="1798567"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19" name="Text Placeholder 9"/>
          <p:cNvSpPr>
            <a:spLocks noGrp="1"/>
          </p:cNvSpPr>
          <p:nvPr>
            <p:ph type="body" sz="quarter" idx="69"/>
            <p:custDataLst>
              <p:tags r:id="rId7"/>
            </p:custDataLst>
          </p:nvPr>
        </p:nvSpPr>
        <p:spPr>
          <a:xfrm>
            <a:off x="2314932" y="1953165"/>
            <a:ext cx="6386344" cy="830975"/>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22" name="Text Placeholder 14"/>
          <p:cNvSpPr>
            <a:spLocks noGrp="1"/>
          </p:cNvSpPr>
          <p:nvPr>
            <p:ph type="body" sz="quarter" idx="70" hasCustomPrompt="1"/>
            <p:custDataLst>
              <p:tags r:id="rId8"/>
            </p:custDataLst>
          </p:nvPr>
        </p:nvSpPr>
        <p:spPr>
          <a:xfrm>
            <a:off x="415925" y="2841244"/>
            <a:ext cx="1798567"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23" name="Text Placeholder 9"/>
          <p:cNvSpPr>
            <a:spLocks noGrp="1"/>
          </p:cNvSpPr>
          <p:nvPr>
            <p:ph type="body" sz="quarter" idx="71"/>
            <p:custDataLst>
              <p:tags r:id="rId9"/>
            </p:custDataLst>
          </p:nvPr>
        </p:nvSpPr>
        <p:spPr>
          <a:xfrm>
            <a:off x="2314887" y="2862000"/>
            <a:ext cx="6386344" cy="809636"/>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24" name="Text Placeholder 14"/>
          <p:cNvSpPr>
            <a:spLocks noGrp="1"/>
          </p:cNvSpPr>
          <p:nvPr>
            <p:ph type="body" sz="quarter" idx="72" hasCustomPrompt="1"/>
            <p:custDataLst>
              <p:tags r:id="rId10"/>
            </p:custDataLst>
          </p:nvPr>
        </p:nvSpPr>
        <p:spPr>
          <a:xfrm>
            <a:off x="415925" y="3728741"/>
            <a:ext cx="1798567"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25" name="Text Placeholder 9"/>
          <p:cNvSpPr>
            <a:spLocks noGrp="1"/>
          </p:cNvSpPr>
          <p:nvPr>
            <p:ph type="body" sz="quarter" idx="73"/>
            <p:custDataLst>
              <p:tags r:id="rId11"/>
            </p:custDataLst>
          </p:nvPr>
        </p:nvSpPr>
        <p:spPr>
          <a:xfrm>
            <a:off x="2314887" y="3749496"/>
            <a:ext cx="6386344" cy="809636"/>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26" name="Text Placeholder 14"/>
          <p:cNvSpPr>
            <a:spLocks noGrp="1"/>
          </p:cNvSpPr>
          <p:nvPr>
            <p:ph type="body" sz="quarter" idx="74" hasCustomPrompt="1"/>
            <p:custDataLst>
              <p:tags r:id="rId12"/>
            </p:custDataLst>
          </p:nvPr>
        </p:nvSpPr>
        <p:spPr>
          <a:xfrm>
            <a:off x="415925" y="4616237"/>
            <a:ext cx="1798567"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27" name="Text Placeholder 9"/>
          <p:cNvSpPr>
            <a:spLocks noGrp="1"/>
          </p:cNvSpPr>
          <p:nvPr>
            <p:ph type="body" sz="quarter" idx="75"/>
            <p:custDataLst>
              <p:tags r:id="rId13"/>
            </p:custDataLst>
          </p:nvPr>
        </p:nvSpPr>
        <p:spPr>
          <a:xfrm>
            <a:off x="2314887" y="4636992"/>
            <a:ext cx="6386344" cy="809636"/>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28" name="Text Placeholder 14"/>
          <p:cNvSpPr>
            <a:spLocks noGrp="1"/>
          </p:cNvSpPr>
          <p:nvPr>
            <p:ph type="body" sz="quarter" idx="76" hasCustomPrompt="1"/>
            <p:custDataLst>
              <p:tags r:id="rId14"/>
            </p:custDataLst>
          </p:nvPr>
        </p:nvSpPr>
        <p:spPr>
          <a:xfrm>
            <a:off x="415925" y="5503733"/>
            <a:ext cx="1798567" cy="830392"/>
          </a:xfrm>
          <a:prstGeom prst="rect">
            <a:avLst/>
          </a:prstGeom>
          <a:solidFill>
            <a:srgbClr val="BBBBBF"/>
          </a:solidFill>
        </p:spPr>
        <p:txBody>
          <a:bodyPr lIns="82058" tIns="41029" rIns="82058" bIns="41029" anchor="ctr"/>
          <a:lstStyle>
            <a:lvl1pPr marL="0" indent="0" algn="ctr">
              <a:buNone/>
              <a:defRPr sz="1800" b="1">
                <a:solidFill>
                  <a:schemeClr val="tx1"/>
                </a:solidFill>
              </a:defRPr>
            </a:lvl1pPr>
          </a:lstStyle>
          <a:p>
            <a:pPr lvl="0"/>
            <a:r>
              <a:rPr lang="en-US" dirty="0" smtClean="0"/>
              <a:t>Click to edit box text</a:t>
            </a:r>
            <a:endParaRPr lang="en-US" dirty="0"/>
          </a:p>
        </p:txBody>
      </p:sp>
      <p:sp>
        <p:nvSpPr>
          <p:cNvPr id="29" name="Text Placeholder 9"/>
          <p:cNvSpPr>
            <a:spLocks noGrp="1"/>
          </p:cNvSpPr>
          <p:nvPr>
            <p:ph type="body" sz="quarter" idx="77"/>
            <p:custDataLst>
              <p:tags r:id="rId15"/>
            </p:custDataLst>
          </p:nvPr>
        </p:nvSpPr>
        <p:spPr>
          <a:xfrm>
            <a:off x="2314887" y="5524488"/>
            <a:ext cx="6386344" cy="809636"/>
          </a:xfrm>
          <a:prstGeom prst="rect">
            <a:avLst/>
          </a:prstGeom>
          <a:noFill/>
        </p:spPr>
        <p:txBody>
          <a:bodyPr lIns="0" tIns="0" rIns="0" bIns="0"/>
          <a:lstStyle>
            <a:lvl1pPr marL="173038" indent="-173038">
              <a:defRPr sz="1800"/>
            </a:lvl1pPr>
            <a:lvl2pPr marL="347663" indent="-174625">
              <a:defRPr sz="1600"/>
            </a:lvl2pPr>
            <a:lvl3pPr>
              <a:defRPr sz="1600"/>
            </a:lvl3pPr>
          </a:lstStyle>
          <a:p>
            <a:pPr lvl="0"/>
            <a:r>
              <a:rPr lang="en-US" dirty="0" smtClean="0"/>
              <a:t>Click to edit Master text styles</a:t>
            </a:r>
          </a:p>
          <a:p>
            <a:pPr lvl="1"/>
            <a:r>
              <a:rPr lang="en-US" dirty="0" smtClean="0"/>
              <a:t>Second level</a:t>
            </a:r>
          </a:p>
        </p:txBody>
      </p:sp>
      <p:sp>
        <p:nvSpPr>
          <p:cNvPr id="17" name="Slide Number Placeholder 5"/>
          <p:cNvSpPr txBox="1">
            <a:spLocks/>
          </p:cNvSpPr>
          <p:nvPr userDrawn="1">
            <p:custDataLst>
              <p:tags r:id="rId16"/>
            </p:custDataLst>
          </p:nvPr>
        </p:nvSpPr>
        <p:spPr>
          <a:xfrm>
            <a:off x="415925" y="6446651"/>
            <a:ext cx="7447879" cy="365592"/>
          </a:xfrm>
          <a:prstGeom prst="rect">
            <a:avLst/>
          </a:prstGeom>
        </p:spPr>
        <p:txBody>
          <a:bodyPr vert="horz" lIns="0" tIns="0" rIns="0" bIns="0" rtlCol="0" anchor="ctr"/>
          <a:lstStyle>
            <a:lvl1pPr algn="r">
              <a:defRPr sz="1200">
                <a:solidFill>
                  <a:schemeClr val="tx1">
                    <a:tint val="75000"/>
                  </a:schemeClr>
                </a:solidFill>
              </a:defRPr>
            </a:lvl1pPr>
          </a:lstStyle>
          <a:p>
            <a:pPr algn="l"/>
            <a:r>
              <a:rPr lang="en-US" sz="1000" dirty="0" smtClean="0">
                <a:solidFill>
                  <a:schemeClr val="tx1"/>
                </a:solidFill>
              </a:rPr>
              <a:t>Click to edit Master footer. This space is reserved for footnotes and sources only, and cannot be expanded beyond its current size. Text should </a:t>
            </a:r>
            <a:br>
              <a:rPr lang="en-US" sz="1000" dirty="0" smtClean="0">
                <a:solidFill>
                  <a:schemeClr val="tx1"/>
                </a:solidFill>
              </a:rPr>
            </a:br>
            <a:r>
              <a:rPr lang="en-US" sz="1000" dirty="0" smtClean="0">
                <a:solidFill>
                  <a:schemeClr val="tx1"/>
                </a:solidFill>
              </a:rPr>
              <a:t>never cover the ‘Dalberg #’ in the bottom right., but the bottom line of text can extend under it if necessary.  SOURCE::xxxxxxxxxxxxxxxxxxxxxx</a:t>
            </a:r>
            <a:endParaRPr lang="en-US" sz="1000" dirty="0">
              <a:solidFill>
                <a:schemeClr val="tx1"/>
              </a:solidFill>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Graph + Text + Footer + Arrow">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0" y="3"/>
          <a:ext cx="144318" cy="140074"/>
        </p:xfrm>
        <a:graphic>
          <a:graphicData uri="http://schemas.openxmlformats.org/presentationml/2006/ole">
            <mc:AlternateContent xmlns:mc="http://schemas.openxmlformats.org/markup-compatibility/2006">
              <mc:Choice xmlns:v="urn:schemas-microsoft-com:vml" Requires="v">
                <p:oleObj spid="_x0000_s320272" name="think-cell Slide" r:id="rId11" imgW="360" imgH="360" progId="TCLayout.ActiveDocument.1">
                  <p:embed/>
                </p:oleObj>
              </mc:Choice>
              <mc:Fallback>
                <p:oleObj name="think-cell Slide" r:id="rId11" imgW="360" imgH="360" progId="TCLayout.ActiveDocument.1">
                  <p:embed/>
                  <p:pic>
                    <p:nvPicPr>
                      <p:cNvPr id="0" name="Picture 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3"/>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 name="Rectangle 39" hidden="1"/>
          <p:cNvSpPr/>
          <p:nvPr userDrawn="1">
            <p:custDataLst>
              <p:tags r:id="rId3"/>
            </p:custDataLst>
          </p:nvPr>
        </p:nvSpPr>
        <p:spPr bwMode="auto">
          <a:xfrm>
            <a:off x="0" y="0"/>
            <a:ext cx="144318" cy="140074"/>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marL="0" lvl="0" indent="0" algn="ctr" defTabSz="914293" rtl="0" eaLnBrk="1" latinLnBrk="0" hangingPunct="1">
              <a:lnSpc>
                <a:spcPct val="100000"/>
              </a:lnSpc>
              <a:spcBef>
                <a:spcPct val="0"/>
              </a:spcBef>
              <a:spcAft>
                <a:spcPct val="0"/>
              </a:spcAft>
              <a:buNone/>
            </a:pPr>
            <a:endParaRPr lang="en-US" sz="1800" b="0" i="0" baseline="0" dirty="0">
              <a:latin typeface="Calibri"/>
              <a:ea typeface="+mn-ea"/>
              <a:cs typeface="Calibri"/>
              <a:sym typeface="Calibri"/>
            </a:endParaRPr>
          </a:p>
        </p:txBody>
      </p:sp>
      <p:sp>
        <p:nvSpPr>
          <p:cNvPr id="10" name="SmartArt Placeholder 12"/>
          <p:cNvSpPr>
            <a:spLocks noGrp="1"/>
          </p:cNvSpPr>
          <p:nvPr>
            <p:ph type="dgm" sz="quarter" idx="20" hasCustomPrompt="1"/>
            <p:custDataLst>
              <p:tags r:id="rId4"/>
            </p:custDataLst>
          </p:nvPr>
        </p:nvSpPr>
        <p:spPr>
          <a:xfrm rot="5400000">
            <a:off x="2991013" y="3522790"/>
            <a:ext cx="3552751" cy="390775"/>
          </a:xfrm>
          <a:prstGeom prst="triangle">
            <a:avLst>
              <a:gd name="adj" fmla="val 50484"/>
            </a:avLst>
          </a:prstGeom>
          <a:solidFill>
            <a:schemeClr val="tx2"/>
          </a:solidFill>
        </p:spPr>
        <p:txBody>
          <a:bodyPr lIns="82058" tIns="41029" rIns="82058" bIns="41029"/>
          <a:lstStyle>
            <a:lvl1pPr>
              <a:buNone/>
              <a:defRPr lang="en-US">
                <a:solidFill>
                  <a:schemeClr val="tx2"/>
                </a:solidFill>
              </a:defRPr>
            </a:lvl1pPr>
          </a:lstStyle>
          <a:p>
            <a:r>
              <a:rPr lang="en-US" dirty="0" smtClean="0"/>
              <a:t>        `</a:t>
            </a:r>
            <a:endParaRPr lang="en-US" dirty="0"/>
          </a:p>
        </p:txBody>
      </p:sp>
      <p:sp>
        <p:nvSpPr>
          <p:cNvPr id="42" name="Text Placeholder 7"/>
          <p:cNvSpPr>
            <a:spLocks noGrp="1"/>
          </p:cNvSpPr>
          <p:nvPr>
            <p:ph type="body" sz="quarter" idx="30"/>
            <p:custDataLst>
              <p:tags r:id="rId5"/>
            </p:custDataLst>
          </p:nvPr>
        </p:nvSpPr>
        <p:spPr>
          <a:xfrm>
            <a:off x="5196765" y="1331282"/>
            <a:ext cx="3531554" cy="4873976"/>
          </a:xfrm>
          <a:prstGeom prst="rect">
            <a:avLst/>
          </a:prstGeom>
        </p:spPr>
        <p:txBody>
          <a:bodyPr lIns="0" tIns="0" rIns="0" bIns="0" numCol="1" spcCol="228413"/>
          <a:lstStyle>
            <a:lvl1pPr marL="0" marR="0" indent="0" algn="just" defTabSz="820007" rtl="0" eaLnBrk="1" fontAlgn="auto" latinLnBrk="0" hangingPunct="1">
              <a:lnSpc>
                <a:spcPct val="100000"/>
              </a:lnSpc>
              <a:spcBef>
                <a:spcPts val="718"/>
              </a:spcBef>
              <a:spcAft>
                <a:spcPts val="0"/>
              </a:spcAft>
              <a:buClrTx/>
              <a:buSzTx/>
              <a:buFont typeface="Arial" pitchFamily="34" charset="0"/>
              <a:buNone/>
              <a:tabLst/>
              <a:defRPr sz="1800" baseline="0"/>
            </a:lvl1pPr>
            <a:lvl2pPr>
              <a:buNone/>
              <a:defRPr sz="1800" baseline="0"/>
            </a:lvl2pPr>
            <a:lvl3pPr marL="337861" indent="-337861">
              <a:defRPr sz="1800"/>
            </a:lvl3pPr>
            <a:lvl4pPr marL="704273" indent="-299793">
              <a:defRPr sz="1800"/>
            </a:lvl4pPr>
            <a:lvl5pPr>
              <a:defRPr sz="1800"/>
            </a:lvl5pPr>
          </a:lstStyle>
          <a:p>
            <a:pPr lvl="0"/>
            <a:r>
              <a:rPr lang="en-US" dirty="0" smtClean="0"/>
              <a:t>Click to edit Master text</a:t>
            </a:r>
          </a:p>
        </p:txBody>
      </p:sp>
      <p:sp>
        <p:nvSpPr>
          <p:cNvPr id="12" name="Title 1"/>
          <p:cNvSpPr>
            <a:spLocks noGrp="1"/>
          </p:cNvSpPr>
          <p:nvPr>
            <p:ph type="title" hasCustomPrompt="1"/>
            <p:custDataLst>
              <p:tags r:id="rId6"/>
            </p:custDataLst>
          </p:nvPr>
        </p:nvSpPr>
        <p:spPr>
          <a:xfrm>
            <a:off x="416068" y="289359"/>
            <a:ext cx="8312727" cy="582389"/>
          </a:xfrm>
          <a:prstGeom prst="rect">
            <a:avLst/>
          </a:prstGeom>
        </p:spPr>
        <p:txBody>
          <a:bodyPr lIns="0" tIns="0" rIns="0" bIns="0" anchor="b"/>
          <a:lstStyle>
            <a:lvl1pPr algn="l">
              <a:defRPr sz="2600" b="1" baseline="0">
                <a:solidFill>
                  <a:schemeClr val="bg1"/>
                </a:solidFill>
              </a:defRPr>
            </a:lvl1pPr>
          </a:lstStyle>
          <a:p>
            <a:r>
              <a:rPr lang="en-US" dirty="0" smtClean="0"/>
              <a:t>Click to edit </a:t>
            </a:r>
            <a:br>
              <a:rPr lang="en-US" dirty="0" smtClean="0"/>
            </a:br>
            <a:r>
              <a:rPr lang="en-US" dirty="0" smtClean="0"/>
              <a:t>Graph slide title</a:t>
            </a:r>
            <a:endParaRPr lang="en-US" dirty="0"/>
          </a:p>
        </p:txBody>
      </p:sp>
      <p:sp>
        <p:nvSpPr>
          <p:cNvPr id="15" name="Text Placeholder 7"/>
          <p:cNvSpPr>
            <a:spLocks noGrp="1"/>
          </p:cNvSpPr>
          <p:nvPr>
            <p:ph type="body" sz="quarter" idx="13" hasCustomPrompt="1"/>
            <p:custDataLst>
              <p:tags r:id="rId7"/>
            </p:custDataLst>
          </p:nvPr>
        </p:nvSpPr>
        <p:spPr>
          <a:xfrm>
            <a:off x="404831" y="1331282"/>
            <a:ext cx="3892852" cy="237301"/>
          </a:xfrm>
          <a:prstGeom prst="rect">
            <a:avLst/>
          </a:prstGeom>
        </p:spPr>
        <p:txBody>
          <a:bodyPr lIns="0" tIns="0" rIns="0" bIns="0">
            <a:noAutofit/>
          </a:bodyPr>
          <a:lstStyle>
            <a:lvl1pPr marL="0" indent="0">
              <a:spcBef>
                <a:spcPts val="718"/>
              </a:spcBef>
              <a:buNone/>
              <a:defRPr sz="1400" b="1" baseline="0"/>
            </a:lvl1pPr>
            <a:lvl2pPr>
              <a:spcBef>
                <a:spcPts val="718"/>
              </a:spcBef>
              <a:buNone/>
              <a:defRPr sz="1800"/>
            </a:lvl2pPr>
            <a:lvl3pPr>
              <a:defRPr sz="1800"/>
            </a:lvl3pPr>
            <a:lvl4pPr>
              <a:defRPr sz="1800"/>
            </a:lvl4pPr>
            <a:lvl5pPr>
              <a:defRPr sz="1800"/>
            </a:lvl5pPr>
          </a:lstStyle>
          <a:p>
            <a:pPr lvl="0"/>
            <a:r>
              <a:rPr lang="en-US" dirty="0" smtClean="0"/>
              <a:t>Click to edit Master Graph title</a:t>
            </a:r>
          </a:p>
        </p:txBody>
      </p:sp>
      <p:sp>
        <p:nvSpPr>
          <p:cNvPr id="16" name="Text Placeholder 7"/>
          <p:cNvSpPr>
            <a:spLocks noGrp="1"/>
          </p:cNvSpPr>
          <p:nvPr>
            <p:ph type="body" sz="quarter" idx="14" hasCustomPrompt="1"/>
            <p:custDataLst>
              <p:tags r:id="rId8"/>
            </p:custDataLst>
          </p:nvPr>
        </p:nvSpPr>
        <p:spPr>
          <a:xfrm>
            <a:off x="404830" y="1589662"/>
            <a:ext cx="3892852" cy="274757"/>
          </a:xfrm>
          <a:prstGeom prst="rect">
            <a:avLst/>
          </a:prstGeom>
        </p:spPr>
        <p:txBody>
          <a:bodyPr lIns="0" tIns="0" rIns="0" bIns="0">
            <a:noAutofit/>
          </a:bodyPr>
          <a:lstStyle>
            <a:lvl1pPr marL="0" indent="0">
              <a:spcBef>
                <a:spcPts val="718"/>
              </a:spcBef>
              <a:buNone/>
              <a:defRPr sz="1200" b="0" baseline="0"/>
            </a:lvl1pPr>
            <a:lvl2pPr>
              <a:spcBef>
                <a:spcPts val="718"/>
              </a:spcBef>
              <a:buNone/>
              <a:defRPr sz="1800"/>
            </a:lvl2pPr>
            <a:lvl3pPr>
              <a:defRPr sz="1800"/>
            </a:lvl3pPr>
            <a:lvl4pPr>
              <a:defRPr sz="1800"/>
            </a:lvl4pPr>
            <a:lvl5pPr>
              <a:defRPr sz="1800"/>
            </a:lvl5pPr>
          </a:lstStyle>
          <a:p>
            <a:pPr lvl="0"/>
            <a:r>
              <a:rPr lang="en-US" dirty="0" smtClean="0"/>
              <a:t>Click to edit Master Graph units</a:t>
            </a:r>
          </a:p>
        </p:txBody>
      </p:sp>
      <p:sp>
        <p:nvSpPr>
          <p:cNvPr id="11" name="Slide Number Placeholder 5"/>
          <p:cNvSpPr txBox="1">
            <a:spLocks/>
          </p:cNvSpPr>
          <p:nvPr userDrawn="1">
            <p:custDataLst>
              <p:tags r:id="rId9"/>
            </p:custDataLst>
          </p:nvPr>
        </p:nvSpPr>
        <p:spPr>
          <a:xfrm>
            <a:off x="415925" y="6446651"/>
            <a:ext cx="7447879" cy="365592"/>
          </a:xfrm>
          <a:prstGeom prst="rect">
            <a:avLst/>
          </a:prstGeom>
        </p:spPr>
        <p:txBody>
          <a:bodyPr vert="horz" lIns="0" tIns="0" rIns="0" bIns="0" rtlCol="0" anchor="ctr"/>
          <a:lstStyle>
            <a:lvl1pPr algn="r">
              <a:defRPr sz="1200">
                <a:solidFill>
                  <a:schemeClr val="tx1">
                    <a:tint val="75000"/>
                  </a:schemeClr>
                </a:solidFill>
              </a:defRPr>
            </a:lvl1pPr>
          </a:lstStyle>
          <a:p>
            <a:pPr algn="l"/>
            <a:r>
              <a:rPr lang="en-US" sz="1000" dirty="0" smtClean="0">
                <a:solidFill>
                  <a:schemeClr val="tx1"/>
                </a:solidFill>
              </a:rPr>
              <a:t>Click to edit Master footer. This space is reserved for footnotes and sources only, and cannot be expanded beyond its current size. Text should </a:t>
            </a:r>
            <a:br>
              <a:rPr lang="en-US" sz="1000" dirty="0" smtClean="0">
                <a:solidFill>
                  <a:schemeClr val="tx1"/>
                </a:solidFill>
              </a:rPr>
            </a:br>
            <a:r>
              <a:rPr lang="en-US" sz="1000" dirty="0" smtClean="0">
                <a:solidFill>
                  <a:schemeClr val="tx1"/>
                </a:solidFill>
              </a:rPr>
              <a:t>never cover the ‘Dalberg #’ in the bottom right., but the bottom line of text can extend under it if necessary.  SOURCE::xxxxxxxxxxxxxxxxxxxxxx</a:t>
            </a:r>
            <a:endParaRPr lang="en-US" sz="1000" dirty="0">
              <a:solidFill>
                <a:schemeClr val="tx1"/>
              </a:solidFill>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 Arrows (Descendin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0" y="3"/>
          <a:ext cx="144318" cy="140074"/>
        </p:xfrm>
        <a:graphic>
          <a:graphicData uri="http://schemas.openxmlformats.org/presentationml/2006/ole">
            <mc:AlternateContent xmlns:mc="http://schemas.openxmlformats.org/markup-compatibility/2006">
              <mc:Choice xmlns:v="urn:schemas-microsoft-com:vml" Requires="v">
                <p:oleObj spid="_x0000_s321296" name="think-cell Slide" r:id="rId11" imgW="360" imgH="360" progId="TCLayout.ActiveDocument.1">
                  <p:embed/>
                </p:oleObj>
              </mc:Choice>
              <mc:Fallback>
                <p:oleObj name="think-cell Slide" r:id="rId11" imgW="360" imgH="360" progId="TCLayout.ActiveDocument.1">
                  <p:embed/>
                  <p:pic>
                    <p:nvPicPr>
                      <p:cNvPr id="0" name="Picture 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3"/>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7"/>
          <p:cNvSpPr>
            <a:spLocks noGrp="1"/>
          </p:cNvSpPr>
          <p:nvPr>
            <p:ph type="body" sz="quarter" idx="13"/>
            <p:custDataLst>
              <p:tags r:id="rId3"/>
            </p:custDataLst>
          </p:nvPr>
        </p:nvSpPr>
        <p:spPr>
          <a:xfrm>
            <a:off x="415682" y="1331282"/>
            <a:ext cx="8300022" cy="826751"/>
          </a:xfrm>
          <a:prstGeom prst="rect">
            <a:avLst/>
          </a:prstGeom>
        </p:spPr>
        <p:txBody>
          <a:bodyPr lIns="0" tIns="0" rIns="0" bIns="0">
            <a:noAutofit/>
          </a:bodyPr>
          <a:lstStyle>
            <a:lvl1pPr marL="0" indent="0">
              <a:spcBef>
                <a:spcPts val="718"/>
              </a:spcBef>
              <a:buNone/>
              <a:defRPr sz="1800" baseline="0"/>
            </a:lvl1pPr>
            <a:lvl2pPr>
              <a:spcBef>
                <a:spcPts val="718"/>
              </a:spcBef>
              <a:buNone/>
              <a:defRPr sz="1800"/>
            </a:lvl2pPr>
            <a:lvl3pPr>
              <a:defRPr sz="1800"/>
            </a:lvl3pPr>
            <a:lvl4pPr>
              <a:defRPr sz="1800"/>
            </a:lvl4pPr>
            <a:lvl5pPr>
              <a:defRPr sz="1800"/>
            </a:lvl5pPr>
          </a:lstStyle>
          <a:p>
            <a:pPr lvl="0"/>
            <a:r>
              <a:rPr lang="en-US" dirty="0" smtClean="0"/>
              <a:t>Click to edit Master text</a:t>
            </a:r>
          </a:p>
        </p:txBody>
      </p:sp>
      <p:sp>
        <p:nvSpPr>
          <p:cNvPr id="9" name="Text Placeholder 7"/>
          <p:cNvSpPr>
            <a:spLocks noGrp="1"/>
          </p:cNvSpPr>
          <p:nvPr>
            <p:ph type="body" sz="quarter" idx="14"/>
            <p:custDataLst>
              <p:tags r:id="rId4"/>
            </p:custDataLst>
          </p:nvPr>
        </p:nvSpPr>
        <p:spPr>
          <a:xfrm>
            <a:off x="415682" y="3314745"/>
            <a:ext cx="8300022" cy="868241"/>
          </a:xfrm>
          <a:prstGeom prst="rect">
            <a:avLst/>
          </a:prstGeom>
        </p:spPr>
        <p:txBody>
          <a:bodyPr lIns="0" tIns="0" rIns="0" bIns="0">
            <a:noAutofit/>
          </a:bodyPr>
          <a:lstStyle>
            <a:lvl1pPr marL="0" indent="0">
              <a:spcBef>
                <a:spcPts val="718"/>
              </a:spcBef>
              <a:buNone/>
              <a:defRPr sz="1800" baseline="0"/>
            </a:lvl1pPr>
            <a:lvl2pPr>
              <a:spcBef>
                <a:spcPts val="718"/>
              </a:spcBef>
              <a:buNone/>
              <a:defRPr sz="1800"/>
            </a:lvl2pPr>
            <a:lvl3pPr>
              <a:defRPr sz="1800"/>
            </a:lvl3pPr>
            <a:lvl4pPr>
              <a:defRPr sz="1800"/>
            </a:lvl4pPr>
            <a:lvl5pPr>
              <a:defRPr sz="1800"/>
            </a:lvl5pPr>
          </a:lstStyle>
          <a:p>
            <a:pPr lvl="0"/>
            <a:r>
              <a:rPr lang="en-US" dirty="0" smtClean="0"/>
              <a:t>Click to edit Master text</a:t>
            </a:r>
          </a:p>
        </p:txBody>
      </p:sp>
      <p:sp>
        <p:nvSpPr>
          <p:cNvPr id="10" name="Text Placeholder 7"/>
          <p:cNvSpPr>
            <a:spLocks noGrp="1"/>
          </p:cNvSpPr>
          <p:nvPr>
            <p:ph type="body" sz="quarter" idx="15"/>
            <p:custDataLst>
              <p:tags r:id="rId5"/>
            </p:custDataLst>
          </p:nvPr>
        </p:nvSpPr>
        <p:spPr>
          <a:xfrm>
            <a:off x="415682" y="5420215"/>
            <a:ext cx="8300022" cy="868241"/>
          </a:xfrm>
          <a:prstGeom prst="rect">
            <a:avLst/>
          </a:prstGeom>
        </p:spPr>
        <p:txBody>
          <a:bodyPr lIns="0" tIns="0" rIns="0" bIns="0">
            <a:noAutofit/>
          </a:bodyPr>
          <a:lstStyle>
            <a:lvl1pPr marL="0" indent="0">
              <a:spcBef>
                <a:spcPts val="718"/>
              </a:spcBef>
              <a:buNone/>
              <a:defRPr sz="1800" baseline="0"/>
            </a:lvl1pPr>
            <a:lvl2pPr>
              <a:spcBef>
                <a:spcPts val="718"/>
              </a:spcBef>
              <a:buNone/>
              <a:defRPr sz="1800"/>
            </a:lvl2pPr>
            <a:lvl3pPr>
              <a:defRPr sz="1800"/>
            </a:lvl3pPr>
            <a:lvl4pPr>
              <a:defRPr sz="1800"/>
            </a:lvl4pPr>
            <a:lvl5pPr>
              <a:defRPr sz="1800"/>
            </a:lvl5pPr>
          </a:lstStyle>
          <a:p>
            <a:pPr lvl="0"/>
            <a:r>
              <a:rPr lang="en-US" dirty="0" smtClean="0"/>
              <a:t>Click to edit Master text</a:t>
            </a:r>
          </a:p>
        </p:txBody>
      </p:sp>
      <p:sp>
        <p:nvSpPr>
          <p:cNvPr id="13" name="SmartArt Placeholder 12"/>
          <p:cNvSpPr>
            <a:spLocks noGrp="1"/>
          </p:cNvSpPr>
          <p:nvPr>
            <p:ph type="dgm" sz="quarter" idx="16" hasCustomPrompt="1"/>
            <p:custDataLst>
              <p:tags r:id="rId6"/>
            </p:custDataLst>
          </p:nvPr>
        </p:nvSpPr>
        <p:spPr>
          <a:xfrm>
            <a:off x="4017818" y="2437535"/>
            <a:ext cx="1108364" cy="696064"/>
          </a:xfrm>
          <a:prstGeom prst="downArrow">
            <a:avLst/>
          </a:prstGeom>
          <a:solidFill>
            <a:schemeClr val="tx2"/>
          </a:solidFill>
        </p:spPr>
        <p:txBody>
          <a:bodyPr lIns="82058" tIns="41029" rIns="82058" bIns="41029"/>
          <a:lstStyle>
            <a:lvl1pPr>
              <a:buNone/>
              <a:defRPr>
                <a:solidFill>
                  <a:schemeClr val="tx2"/>
                </a:solidFill>
              </a:defRPr>
            </a:lvl1pPr>
          </a:lstStyle>
          <a:p>
            <a:r>
              <a:rPr lang="en-US" dirty="0" smtClean="0"/>
              <a:t>`</a:t>
            </a:r>
            <a:endParaRPr lang="en-US" dirty="0"/>
          </a:p>
        </p:txBody>
      </p:sp>
      <p:sp>
        <p:nvSpPr>
          <p:cNvPr id="14" name="SmartArt Placeholder 12"/>
          <p:cNvSpPr>
            <a:spLocks noGrp="1"/>
          </p:cNvSpPr>
          <p:nvPr>
            <p:ph type="dgm" sz="quarter" idx="17" hasCustomPrompt="1"/>
            <p:custDataLst>
              <p:tags r:id="rId7"/>
            </p:custDataLst>
          </p:nvPr>
        </p:nvSpPr>
        <p:spPr>
          <a:xfrm>
            <a:off x="4017818" y="4503089"/>
            <a:ext cx="1108364" cy="696064"/>
          </a:xfrm>
          <a:prstGeom prst="downArrow">
            <a:avLst/>
          </a:prstGeom>
          <a:solidFill>
            <a:schemeClr val="tx2"/>
          </a:solidFill>
        </p:spPr>
        <p:txBody>
          <a:bodyPr lIns="82058" tIns="41029" rIns="82058" bIns="41029"/>
          <a:lstStyle>
            <a:lvl1pPr>
              <a:buNone/>
              <a:defRPr>
                <a:solidFill>
                  <a:schemeClr val="tx2"/>
                </a:solidFill>
              </a:defRPr>
            </a:lvl1pPr>
          </a:lstStyle>
          <a:p>
            <a:r>
              <a:rPr lang="en-US" dirty="0" smtClean="0"/>
              <a:t>`</a:t>
            </a:r>
            <a:endParaRPr lang="en-US" dirty="0"/>
          </a:p>
        </p:txBody>
      </p:sp>
      <p:sp>
        <p:nvSpPr>
          <p:cNvPr id="15" name="Title 1"/>
          <p:cNvSpPr>
            <a:spLocks noGrp="1"/>
          </p:cNvSpPr>
          <p:nvPr>
            <p:ph type="title" hasCustomPrompt="1"/>
            <p:custDataLst>
              <p:tags r:id="rId8"/>
            </p:custDataLst>
          </p:nvPr>
        </p:nvSpPr>
        <p:spPr>
          <a:xfrm>
            <a:off x="416068" y="289359"/>
            <a:ext cx="8312727" cy="582389"/>
          </a:xfrm>
          <a:prstGeom prst="rect">
            <a:avLst/>
          </a:prstGeom>
        </p:spPr>
        <p:txBody>
          <a:bodyPr lIns="0" tIns="0" rIns="0" bIns="0" anchor="b"/>
          <a:lstStyle>
            <a:lvl1pPr algn="l">
              <a:defRPr sz="2600" b="1" baseline="0">
                <a:solidFill>
                  <a:schemeClr val="bg1"/>
                </a:solidFill>
              </a:defRPr>
            </a:lvl1pPr>
          </a:lstStyle>
          <a:p>
            <a:r>
              <a:rPr lang="en-US" dirty="0" smtClean="0"/>
              <a:t>Click to edit </a:t>
            </a:r>
            <a:br>
              <a:rPr lang="en-US" dirty="0" smtClean="0"/>
            </a:br>
            <a:r>
              <a:rPr lang="en-US" dirty="0" smtClean="0"/>
              <a:t>Master title</a:t>
            </a:r>
            <a:endParaRPr lang="en-US" dirty="0"/>
          </a:p>
        </p:txBody>
      </p:sp>
      <p:sp>
        <p:nvSpPr>
          <p:cNvPr id="16" name="Slide Number Placeholder 5"/>
          <p:cNvSpPr txBox="1">
            <a:spLocks/>
          </p:cNvSpPr>
          <p:nvPr userDrawn="1">
            <p:custDataLst>
              <p:tags r:id="rId9"/>
            </p:custDataLst>
          </p:nvPr>
        </p:nvSpPr>
        <p:spPr>
          <a:xfrm>
            <a:off x="415925" y="6446651"/>
            <a:ext cx="7447879" cy="365592"/>
          </a:xfrm>
          <a:prstGeom prst="rect">
            <a:avLst/>
          </a:prstGeom>
        </p:spPr>
        <p:txBody>
          <a:bodyPr vert="horz" lIns="0" tIns="0" rIns="0" bIns="0" rtlCol="0" anchor="ctr"/>
          <a:lstStyle>
            <a:lvl1pPr algn="r">
              <a:defRPr sz="1200">
                <a:solidFill>
                  <a:schemeClr val="tx1">
                    <a:tint val="75000"/>
                  </a:schemeClr>
                </a:solidFill>
              </a:defRPr>
            </a:lvl1pPr>
          </a:lstStyle>
          <a:p>
            <a:pPr algn="l"/>
            <a:r>
              <a:rPr lang="en-US" sz="1000" dirty="0" smtClean="0">
                <a:solidFill>
                  <a:schemeClr val="tx1"/>
                </a:solidFill>
              </a:rPr>
              <a:t>Click to edit Master footer. This space is reserved for footnotes and sources only, and cannot be expanded beyond its current size. Text should </a:t>
            </a:r>
            <a:br>
              <a:rPr lang="en-US" sz="1000" dirty="0" smtClean="0">
                <a:solidFill>
                  <a:schemeClr val="tx1"/>
                </a:solidFill>
              </a:rPr>
            </a:br>
            <a:r>
              <a:rPr lang="en-US" sz="1000" dirty="0" smtClean="0">
                <a:solidFill>
                  <a:schemeClr val="tx1"/>
                </a:solidFill>
              </a:rPr>
              <a:t>never cover the ‘Dalberg #’ in the bottom right., but the bottom line of text can extend under it if necessary.  SOURCE::xxxxxxxxxxxxxxxxxxxxxx</a:t>
            </a:r>
            <a:endParaRPr lang="en-US" sz="1000" dirty="0">
              <a:solidFill>
                <a:schemeClr val="tx1"/>
              </a:solidFill>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 Subtitl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0" y="3"/>
          <a:ext cx="144318" cy="140074"/>
        </p:xfrm>
        <a:graphic>
          <a:graphicData uri="http://schemas.openxmlformats.org/presentationml/2006/ole">
            <mc:AlternateContent xmlns:mc="http://schemas.openxmlformats.org/markup-compatibility/2006">
              <mc:Choice xmlns:v="urn:schemas-microsoft-com:vml" Requires="v">
                <p:oleObj spid="_x0000_s731920" name="think-cell Slide" r:id="rId8" imgW="360" imgH="360" progId="TCLayout.ActiveDocument.1">
                  <p:embed/>
                </p:oleObj>
              </mc:Choice>
              <mc:Fallback>
                <p:oleObj name="think-cell Slide" r:id="rId8" imgW="360" imgH="360" progId="TCLayout.ActiveDocument.1">
                  <p:embed/>
                  <p:pic>
                    <p:nvPicPr>
                      <p:cNvPr id="0" name="Picture 6"/>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3"/>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Subtitle 2"/>
          <p:cNvSpPr>
            <a:spLocks noGrp="1"/>
          </p:cNvSpPr>
          <p:nvPr>
            <p:ph type="subTitle" idx="1"/>
            <p:custDataLst>
              <p:tags r:id="rId3"/>
            </p:custDataLst>
          </p:nvPr>
        </p:nvSpPr>
        <p:spPr>
          <a:xfrm>
            <a:off x="416068" y="1331282"/>
            <a:ext cx="8312727" cy="298909"/>
          </a:xfrm>
          <a:prstGeom prst="rect">
            <a:avLst/>
          </a:prstGeom>
        </p:spPr>
        <p:txBody>
          <a:bodyPr lIns="0" tIns="0" rIns="0" bIns="0">
            <a:noAutofit/>
          </a:bodyPr>
          <a:lstStyle>
            <a:lvl1pPr marL="0" indent="0" algn="l">
              <a:buNone/>
              <a:defRPr sz="1800" i="1">
                <a:solidFill>
                  <a:srgbClr val="67103F"/>
                </a:solidFill>
              </a:defRPr>
            </a:lvl1pPr>
            <a:lvl2pPr marL="456827" indent="0" algn="ctr">
              <a:buNone/>
              <a:defRPr>
                <a:solidFill>
                  <a:schemeClr val="tx1">
                    <a:tint val="75000"/>
                  </a:schemeClr>
                </a:solidFill>
              </a:defRPr>
            </a:lvl2pPr>
            <a:lvl3pPr marL="913651" indent="0" algn="ctr">
              <a:buNone/>
              <a:defRPr>
                <a:solidFill>
                  <a:schemeClr val="tx1">
                    <a:tint val="75000"/>
                  </a:schemeClr>
                </a:solidFill>
              </a:defRPr>
            </a:lvl3pPr>
            <a:lvl4pPr marL="1370479" indent="0" algn="ctr">
              <a:buNone/>
              <a:defRPr>
                <a:solidFill>
                  <a:schemeClr val="tx1">
                    <a:tint val="75000"/>
                  </a:schemeClr>
                </a:solidFill>
              </a:defRPr>
            </a:lvl4pPr>
            <a:lvl5pPr marL="1827303" indent="0" algn="ctr">
              <a:buNone/>
              <a:defRPr>
                <a:solidFill>
                  <a:schemeClr val="tx1">
                    <a:tint val="75000"/>
                  </a:schemeClr>
                </a:solidFill>
              </a:defRPr>
            </a:lvl5pPr>
            <a:lvl6pPr marL="2284131" indent="0" algn="ctr">
              <a:buNone/>
              <a:defRPr>
                <a:solidFill>
                  <a:schemeClr val="tx1">
                    <a:tint val="75000"/>
                  </a:schemeClr>
                </a:solidFill>
              </a:defRPr>
            </a:lvl6pPr>
            <a:lvl7pPr marL="2740955" indent="0" algn="ctr">
              <a:buNone/>
              <a:defRPr>
                <a:solidFill>
                  <a:schemeClr val="tx1">
                    <a:tint val="75000"/>
                  </a:schemeClr>
                </a:solidFill>
              </a:defRPr>
            </a:lvl7pPr>
            <a:lvl8pPr marL="3197782" indent="0" algn="ctr">
              <a:buNone/>
              <a:defRPr>
                <a:solidFill>
                  <a:schemeClr val="tx1">
                    <a:tint val="75000"/>
                  </a:schemeClr>
                </a:solidFill>
              </a:defRPr>
            </a:lvl8pPr>
            <a:lvl9pPr marL="3654606" indent="0" algn="ctr">
              <a:buNone/>
              <a:defRPr>
                <a:solidFill>
                  <a:schemeClr val="tx1">
                    <a:tint val="75000"/>
                  </a:schemeClr>
                </a:solidFill>
              </a:defRPr>
            </a:lvl9pPr>
          </a:lstStyle>
          <a:p>
            <a:r>
              <a:rPr lang="en-US" dirty="0" smtClean="0"/>
              <a:t>Click to edit Master subtitle style</a:t>
            </a:r>
            <a:endParaRPr lang="en-US" dirty="0"/>
          </a:p>
        </p:txBody>
      </p:sp>
      <p:sp>
        <p:nvSpPr>
          <p:cNvPr id="10" name="Title 1"/>
          <p:cNvSpPr>
            <a:spLocks noGrp="1"/>
          </p:cNvSpPr>
          <p:nvPr>
            <p:ph type="title" hasCustomPrompt="1"/>
            <p:custDataLst>
              <p:tags r:id="rId4"/>
            </p:custDataLst>
          </p:nvPr>
        </p:nvSpPr>
        <p:spPr>
          <a:xfrm>
            <a:off x="416068" y="289359"/>
            <a:ext cx="8312727" cy="582389"/>
          </a:xfrm>
          <a:prstGeom prst="rect">
            <a:avLst/>
          </a:prstGeom>
        </p:spPr>
        <p:txBody>
          <a:bodyPr lIns="0" tIns="0" rIns="0" bIns="0" anchor="b"/>
          <a:lstStyle>
            <a:lvl1pPr algn="l">
              <a:defRPr sz="2600" b="1" baseline="0">
                <a:solidFill>
                  <a:schemeClr val="bg1"/>
                </a:solidFill>
              </a:defRPr>
            </a:lvl1pPr>
          </a:lstStyle>
          <a:p>
            <a:r>
              <a:rPr lang="en-US" dirty="0" smtClean="0"/>
              <a:t>Click to edit </a:t>
            </a:r>
            <a:br>
              <a:rPr lang="en-US" dirty="0" smtClean="0"/>
            </a:br>
            <a:r>
              <a:rPr lang="en-US" dirty="0" smtClean="0"/>
              <a:t>Master title</a:t>
            </a:r>
            <a:endParaRPr lang="en-US" dirty="0"/>
          </a:p>
        </p:txBody>
      </p:sp>
      <p:sp>
        <p:nvSpPr>
          <p:cNvPr id="8" name="Text Placeholder 7"/>
          <p:cNvSpPr>
            <a:spLocks noGrp="1"/>
          </p:cNvSpPr>
          <p:nvPr>
            <p:ph type="body" sz="quarter" idx="13" hasCustomPrompt="1"/>
            <p:custDataLst>
              <p:tags r:id="rId5"/>
            </p:custDataLst>
          </p:nvPr>
        </p:nvSpPr>
        <p:spPr>
          <a:xfrm>
            <a:off x="415637" y="1691658"/>
            <a:ext cx="8312727" cy="4628431"/>
          </a:xfrm>
          <a:prstGeom prst="rect">
            <a:avLst/>
          </a:prstGeom>
        </p:spPr>
        <p:txBody>
          <a:bodyPr lIns="0" tIns="0" rIns="0" bIns="0">
            <a:noAutofit/>
          </a:bodyPr>
          <a:lstStyle>
            <a:lvl1pPr marL="173038" indent="-173038">
              <a:spcBef>
                <a:spcPts val="718"/>
              </a:spcBef>
              <a:defRPr sz="1800" baseline="0"/>
            </a:lvl1pPr>
            <a:lvl2pPr marL="347663" indent="-174625">
              <a:spcBef>
                <a:spcPts val="718"/>
              </a:spcBef>
              <a:defRPr sz="1600"/>
            </a:lvl2pPr>
            <a:lvl3pPr marL="509588" indent="-161925">
              <a:buFont typeface="Courier New" pitchFamily="49" charset="0"/>
              <a:buChar char="o"/>
              <a:defRPr sz="1600"/>
            </a:lvl3pPr>
            <a:lvl4pPr marL="682625" indent="-173038">
              <a:defRPr sz="1600"/>
            </a:lvl4pPr>
            <a:lvl5pPr>
              <a:defRPr sz="1800"/>
            </a:lvl5pPr>
          </a:lstStyle>
          <a:p>
            <a:pPr lvl="0"/>
            <a:r>
              <a:rPr lang="en-US" dirty="0" smtClean="0"/>
              <a:t>Click to edit Master text first level</a:t>
            </a:r>
          </a:p>
          <a:p>
            <a:pPr lvl="1"/>
            <a:r>
              <a:rPr lang="en-US" dirty="0" smtClean="0"/>
              <a:t>Second level</a:t>
            </a:r>
          </a:p>
          <a:p>
            <a:pPr lvl="2"/>
            <a:r>
              <a:rPr lang="en-US" dirty="0" smtClean="0"/>
              <a:t>Third level</a:t>
            </a:r>
          </a:p>
          <a:p>
            <a:pPr lvl="3"/>
            <a:r>
              <a:rPr lang="en-US" dirty="0" smtClean="0"/>
              <a:t>Fourth level</a:t>
            </a:r>
          </a:p>
        </p:txBody>
      </p:sp>
      <p:sp>
        <p:nvSpPr>
          <p:cNvPr id="11" name="Slide Number Placeholder 5"/>
          <p:cNvSpPr txBox="1">
            <a:spLocks/>
          </p:cNvSpPr>
          <p:nvPr userDrawn="1">
            <p:custDataLst>
              <p:tags r:id="rId6"/>
            </p:custDataLst>
          </p:nvPr>
        </p:nvSpPr>
        <p:spPr>
          <a:xfrm>
            <a:off x="415925" y="6446651"/>
            <a:ext cx="7447879" cy="365592"/>
          </a:xfrm>
          <a:prstGeom prst="rect">
            <a:avLst/>
          </a:prstGeom>
        </p:spPr>
        <p:txBody>
          <a:bodyPr vert="horz" lIns="0" tIns="0" rIns="0" bIns="0" rtlCol="0" anchor="ctr"/>
          <a:lstStyle>
            <a:lvl1pPr algn="r">
              <a:defRPr sz="1200">
                <a:solidFill>
                  <a:schemeClr val="tx1">
                    <a:tint val="75000"/>
                  </a:schemeClr>
                </a:solidFill>
              </a:defRPr>
            </a:lvl1pPr>
          </a:lstStyle>
          <a:p>
            <a:pPr algn="l"/>
            <a:r>
              <a:rPr lang="en-US" sz="1000" dirty="0" smtClean="0">
                <a:solidFill>
                  <a:schemeClr val="tx1"/>
                </a:solidFill>
              </a:rPr>
              <a:t>Click to edit Master footer. This space is reserved for footnotes and sources only, and cannot be expanded beyond its current size. Text should </a:t>
            </a:r>
            <a:br>
              <a:rPr lang="en-US" sz="1000" dirty="0" smtClean="0">
                <a:solidFill>
                  <a:schemeClr val="tx1"/>
                </a:solidFill>
              </a:rPr>
            </a:br>
            <a:r>
              <a:rPr lang="en-US" sz="1000" dirty="0" smtClean="0">
                <a:solidFill>
                  <a:schemeClr val="tx1"/>
                </a:solidFill>
              </a:rPr>
              <a:t>never cover the ‘Dalberg #’ in the bottom right., but the bottom line of text can extend under it if necessary.  SOURCE::xxxxxxxxxxxxxxxxxxxxxx</a:t>
            </a:r>
            <a:endParaRPr lang="en-US" sz="1000" dirty="0">
              <a:solidFill>
                <a:schemeClr val="tx1"/>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andard/Deliverable Annex">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0" y="0"/>
          <a:ext cx="144318" cy="140074"/>
        </p:xfrm>
        <a:graphic>
          <a:graphicData uri="http://schemas.openxmlformats.org/presentationml/2006/ole">
            <mc:AlternateContent xmlns:mc="http://schemas.openxmlformats.org/markup-compatibility/2006">
              <mc:Choice xmlns:v="urn:schemas-microsoft-com:vml" Requires="v">
                <p:oleObj spid="_x0000_s469775" name="think-cell Slide" r:id="rId9" imgW="360" imgH="360" progId="TCLayout.ActiveDocument.1">
                  <p:embed/>
                </p:oleObj>
              </mc:Choice>
              <mc:Fallback>
                <p:oleObj name="think-cell Slide" r:id="rId9" imgW="360" imgH="360" progId="TCLayout.ActiveDocument.1">
                  <p:embed/>
                  <p:pic>
                    <p:nvPicPr>
                      <p:cNvPr id="0" name="Picture 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SmartArt Placeholder 18"/>
          <p:cNvSpPr>
            <a:spLocks noGrp="1"/>
          </p:cNvSpPr>
          <p:nvPr>
            <p:ph type="dgm" sz="quarter" idx="20" hasCustomPrompt="1"/>
            <p:custDataLst>
              <p:tags r:id="rId3"/>
            </p:custDataLst>
          </p:nvPr>
        </p:nvSpPr>
        <p:spPr>
          <a:xfrm>
            <a:off x="415637" y="1008556"/>
            <a:ext cx="8298295" cy="826231"/>
          </a:xfrm>
          <a:prstGeom prst="roundRect">
            <a:avLst/>
          </a:prstGeom>
          <a:solidFill>
            <a:schemeClr val="accent1"/>
          </a:solidFill>
        </p:spPr>
        <p:txBody>
          <a:bodyPr lIns="82058" tIns="41029" rIns="82058" bIns="41029"/>
          <a:lstStyle>
            <a:lvl1pPr>
              <a:buNone/>
              <a:defRPr>
                <a:solidFill>
                  <a:schemeClr val="accent1"/>
                </a:solidFill>
              </a:defRPr>
            </a:lvl1pPr>
          </a:lstStyle>
          <a:p>
            <a:r>
              <a:rPr lang="en-US" dirty="0" smtClean="0"/>
              <a:t>`</a:t>
            </a:r>
            <a:endParaRPr lang="en-US" dirty="0"/>
          </a:p>
        </p:txBody>
      </p:sp>
      <p:sp>
        <p:nvSpPr>
          <p:cNvPr id="10" name="Text Placeholder 13"/>
          <p:cNvSpPr>
            <a:spLocks noGrp="1"/>
          </p:cNvSpPr>
          <p:nvPr>
            <p:ph type="body" sz="quarter" idx="13" hasCustomPrompt="1"/>
            <p:custDataLst>
              <p:tags r:id="rId4"/>
            </p:custDataLst>
          </p:nvPr>
        </p:nvSpPr>
        <p:spPr>
          <a:xfrm>
            <a:off x="581935" y="1008565"/>
            <a:ext cx="6899488" cy="806824"/>
          </a:xfrm>
          <a:prstGeom prst="roundRect">
            <a:avLst/>
          </a:prstGeom>
          <a:noFill/>
        </p:spPr>
        <p:txBody>
          <a:bodyPr lIns="82058" tIns="41029" rIns="82058" bIns="41029" anchor="ctr"/>
          <a:lstStyle>
            <a:lvl1pPr>
              <a:buNone/>
              <a:defRPr sz="1400" b="1" baseline="0">
                <a:solidFill>
                  <a:schemeClr val="bg1"/>
                </a:solidFill>
                <a:latin typeface="Calibri" pitchFamily="34" charset="0"/>
                <a:cs typeface="Calibri" pitchFamily="34" charset="0"/>
              </a:defRPr>
            </a:lvl1pPr>
          </a:lstStyle>
          <a:p>
            <a:pPr lvl="0"/>
            <a:r>
              <a:rPr lang="en-US" dirty="0" smtClean="0"/>
              <a:t>Click to edit ANNEX: section</a:t>
            </a:r>
            <a:endParaRPr lang="en-US" dirty="0"/>
          </a:p>
        </p:txBody>
      </p:sp>
      <p:sp>
        <p:nvSpPr>
          <p:cNvPr id="8" name="TextBox 7"/>
          <p:cNvSpPr txBox="1"/>
          <p:nvPr userDrawn="1">
            <p:custDataLst>
              <p:tags r:id="rId5"/>
            </p:custDataLst>
          </p:nvPr>
        </p:nvSpPr>
        <p:spPr>
          <a:xfrm>
            <a:off x="415637" y="121060"/>
            <a:ext cx="8312726" cy="641284"/>
          </a:xfrm>
          <a:prstGeom prst="rect">
            <a:avLst/>
          </a:prstGeom>
          <a:noFill/>
        </p:spPr>
        <p:txBody>
          <a:bodyPr wrap="square" lIns="0" tIns="0" rIns="0" bIns="0" rtlCol="0" anchor="b">
            <a:noAutofit/>
          </a:bodyPr>
          <a:lstStyle/>
          <a:p>
            <a:pPr marL="207995" indent="-207995"/>
            <a:r>
              <a:rPr lang="en-US" sz="2200" b="1" dirty="0" smtClean="0">
                <a:solidFill>
                  <a:schemeClr val="tx2"/>
                </a:solidFill>
                <a:latin typeface="+mj-lt"/>
              </a:rPr>
              <a:t>Annex</a:t>
            </a:r>
          </a:p>
        </p:txBody>
      </p:sp>
      <p:sp>
        <p:nvSpPr>
          <p:cNvPr id="9" name="Text Placeholder 15"/>
          <p:cNvSpPr>
            <a:spLocks noGrp="1"/>
          </p:cNvSpPr>
          <p:nvPr>
            <p:ph type="body" sz="quarter" idx="14" hasCustomPrompt="1"/>
            <p:custDataLst>
              <p:tags r:id="rId6"/>
            </p:custDataLst>
          </p:nvPr>
        </p:nvSpPr>
        <p:spPr>
          <a:xfrm>
            <a:off x="581935" y="1815388"/>
            <a:ext cx="6897147" cy="806824"/>
          </a:xfrm>
          <a:prstGeom prst="roundRect">
            <a:avLst/>
          </a:prstGeom>
        </p:spPr>
        <p:txBody>
          <a:bodyPr lIns="82058" tIns="41029" rIns="82058" bIns="41029" anchor="ctr"/>
          <a:lstStyle>
            <a:lvl1pPr>
              <a:buNone/>
              <a:defRPr sz="1400" baseline="0">
                <a:latin typeface="Calibri" pitchFamily="34" charset="0"/>
                <a:cs typeface="Calibri" pitchFamily="34" charset="0"/>
              </a:defRPr>
            </a:lvl1pPr>
          </a:lstStyle>
          <a:p>
            <a:pPr lvl="0"/>
            <a:r>
              <a:rPr lang="en-US" dirty="0" smtClean="0"/>
              <a:t>Click to edit Annex section</a:t>
            </a:r>
            <a:endParaRPr lang="en-US" dirty="0"/>
          </a:p>
        </p:txBody>
      </p:sp>
      <p:sp>
        <p:nvSpPr>
          <p:cNvPr id="11" name="Text Placeholder 17"/>
          <p:cNvSpPr>
            <a:spLocks noGrp="1"/>
          </p:cNvSpPr>
          <p:nvPr>
            <p:ph type="body" sz="quarter" idx="15" hasCustomPrompt="1"/>
            <p:custDataLst>
              <p:tags r:id="rId7"/>
            </p:custDataLst>
          </p:nvPr>
        </p:nvSpPr>
        <p:spPr>
          <a:xfrm>
            <a:off x="581935" y="2622212"/>
            <a:ext cx="6897147" cy="806824"/>
          </a:xfrm>
          <a:prstGeom prst="roundRect">
            <a:avLst/>
          </a:prstGeom>
        </p:spPr>
        <p:txBody>
          <a:bodyPr lIns="82058" tIns="41029" rIns="82058" bIns="41029" anchor="ctr"/>
          <a:lstStyle>
            <a:lvl1pPr>
              <a:buNone/>
              <a:defRPr sz="1400" baseline="0">
                <a:latin typeface="Calibri" pitchFamily="34" charset="0"/>
                <a:cs typeface="Calibri" pitchFamily="34" charset="0"/>
              </a:defRPr>
            </a:lvl1pPr>
          </a:lstStyle>
          <a:p>
            <a:pPr lvl="0"/>
            <a:r>
              <a:rPr lang="en-US" dirty="0" smtClean="0"/>
              <a:t>Click to edit Annex section, etc.</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951897270"/>
              </p:ext>
            </p:extLst>
          </p:nvPr>
        </p:nvGraphicFramePr>
        <p:xfrm>
          <a:off x="0" y="0"/>
          <a:ext cx="144318" cy="140074"/>
        </p:xfrm>
        <a:graphic>
          <a:graphicData uri="http://schemas.openxmlformats.org/presentationml/2006/ole">
            <mc:AlternateContent xmlns:mc="http://schemas.openxmlformats.org/markup-compatibility/2006">
              <mc:Choice xmlns:v="urn:schemas-microsoft-com:vml" Requires="v">
                <p:oleObj spid="_x0000_s466763" name="think-cell Slide" r:id="rId4" imgW="360" imgH="360" progId="TCLayout.ActiveDocument.1">
                  <p:embed/>
                </p:oleObj>
              </mc:Choice>
              <mc:Fallback>
                <p:oleObj name="think-cell Slide" r:id="rId4" imgW="360" imgH="36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nvPr>
        </p:nvSpPr>
        <p:spPr>
          <a:xfrm>
            <a:off x="415637" y="134471"/>
            <a:ext cx="8312727"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6" name="Text Placeholder 9"/>
          <p:cNvSpPr>
            <a:spLocks noGrp="1"/>
          </p:cNvSpPr>
          <p:nvPr>
            <p:ph type="body" sz="quarter" idx="37" hasCustomPrompt="1"/>
          </p:nvPr>
        </p:nvSpPr>
        <p:spPr>
          <a:xfrm>
            <a:off x="415925" y="6446487"/>
            <a:ext cx="7539318" cy="386679"/>
          </a:xfrm>
          <a:prstGeom prst="rect">
            <a:avLst/>
          </a:prstGeom>
        </p:spPr>
        <p:txBody>
          <a:bodyPr lIns="0" tIns="0" rIns="0" bIns="0" anchor="b"/>
          <a:lstStyle>
            <a:lvl1pPr marL="0" indent="0">
              <a:buNone/>
              <a:defRPr sz="1000"/>
            </a:lvl1pPr>
          </a:lstStyle>
          <a:p>
            <a:r>
              <a:rPr lang="en-US" dirty="0" smtClean="0"/>
              <a:t>Click to edit Master footer. This space is reserved for footnotes and sources only, and cannot be expanded beyond its current size. Text should </a:t>
            </a:r>
            <a:br>
              <a:rPr lang="en-US" dirty="0" smtClean="0"/>
            </a:br>
            <a:r>
              <a:rPr lang="en-US" dirty="0" smtClean="0"/>
              <a:t>never cover the ‘Dalberg #’ in the bottom right., but the bottom line of text can extend under it if necessary.  SOURCE::</a:t>
            </a:r>
            <a:r>
              <a:rPr lang="en-US" dirty="0" err="1" smtClean="0"/>
              <a:t>xxxxxxxxxxxxxxxxxxxxxxxx</a:t>
            </a:r>
            <a:endParaRPr lang="en-US" dirty="0"/>
          </a:p>
        </p:txBody>
      </p:sp>
      <p:sp>
        <p:nvSpPr>
          <p:cNvPr id="9" name="Text Placeholder 9"/>
          <p:cNvSpPr>
            <a:spLocks noGrp="1"/>
          </p:cNvSpPr>
          <p:nvPr>
            <p:ph type="body" sz="quarter" idx="10"/>
          </p:nvPr>
        </p:nvSpPr>
        <p:spPr>
          <a:xfrm>
            <a:off x="415682" y="1008530"/>
            <a:ext cx="8300022" cy="5325595"/>
          </a:xfrm>
          <a:prstGeom prst="rect">
            <a:avLst/>
          </a:prstGeom>
        </p:spPr>
        <p:txBody>
          <a:bodyPr lIns="0" tIns="0" rIns="0" bIns="0"/>
          <a:lstStyle>
            <a:lvl1pPr marL="173038" indent="-173038">
              <a:defRPr sz="1400"/>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 Takeawa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377451617"/>
              </p:ext>
            </p:extLst>
          </p:nvPr>
        </p:nvGraphicFramePr>
        <p:xfrm>
          <a:off x="0" y="0"/>
          <a:ext cx="144318" cy="140074"/>
        </p:xfrm>
        <a:graphic>
          <a:graphicData uri="http://schemas.openxmlformats.org/presentationml/2006/ole">
            <mc:AlternateContent xmlns:mc="http://schemas.openxmlformats.org/markup-compatibility/2006">
              <mc:Choice xmlns:v="urn:schemas-microsoft-com:vml" Requires="v">
                <p:oleObj spid="_x0000_s471825" name="think-cell Slide" r:id="rId4" imgW="360" imgH="360" progId="TCLayout.ActiveDocument.1">
                  <p:embed/>
                </p:oleObj>
              </mc:Choice>
              <mc:Fallback>
                <p:oleObj name="think-cell Slide" r:id="rId4" imgW="360" imgH="36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p:cNvSpPr>
            <a:spLocks noGrp="1"/>
          </p:cNvSpPr>
          <p:nvPr>
            <p:ph type="title" hasCustomPrompt="1"/>
          </p:nvPr>
        </p:nvSpPr>
        <p:spPr>
          <a:xfrm>
            <a:off x="415637" y="134471"/>
            <a:ext cx="8312727"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11" name="Text Placeholder 8"/>
          <p:cNvSpPr>
            <a:spLocks noGrp="1"/>
          </p:cNvSpPr>
          <p:nvPr>
            <p:ph type="body" sz="quarter" idx="13" hasCustomPrompt="1"/>
          </p:nvPr>
        </p:nvSpPr>
        <p:spPr>
          <a:xfrm>
            <a:off x="1995056" y="5672557"/>
            <a:ext cx="5236988" cy="660976"/>
          </a:xfrm>
          <a:prstGeom prst="roundRect">
            <a:avLst/>
          </a:prstGeom>
          <a:noFill/>
          <a:ln w="19050">
            <a:solidFill>
              <a:schemeClr val="tx2"/>
            </a:solidFill>
          </a:ln>
        </p:spPr>
        <p:txBody>
          <a:bodyPr lIns="82058" tIns="82058" rIns="82058" bIns="82058" anchor="ctr"/>
          <a:lstStyle>
            <a:lvl1pPr marL="0" indent="0" algn="ctr">
              <a:buNone/>
              <a:defRPr sz="1400" b="1" baseline="0"/>
            </a:lvl1pPr>
          </a:lstStyle>
          <a:p>
            <a:pPr lvl="0"/>
            <a:r>
              <a:rPr lang="en-US" dirty="0" smtClean="0"/>
              <a:t>Click to edit Master takeaway/transition. DO NOT SIMPLY RESTATE TITLE OR SUBTITLE. Box always rests on bottom margin.</a:t>
            </a:r>
            <a:endParaRPr lang="en-US" dirty="0"/>
          </a:p>
        </p:txBody>
      </p:sp>
      <p:sp>
        <p:nvSpPr>
          <p:cNvPr id="9" name="Text Placeholder 9"/>
          <p:cNvSpPr>
            <a:spLocks noGrp="1"/>
          </p:cNvSpPr>
          <p:nvPr>
            <p:ph type="body" sz="quarter" idx="10"/>
          </p:nvPr>
        </p:nvSpPr>
        <p:spPr>
          <a:xfrm>
            <a:off x="415682" y="1008530"/>
            <a:ext cx="8300022" cy="4523567"/>
          </a:xfrm>
          <a:prstGeom prst="rect">
            <a:avLst/>
          </a:prstGeom>
        </p:spPr>
        <p:txBody>
          <a:bodyPr lIns="0" tIns="0" rIns="0" bIns="0"/>
          <a:lstStyle>
            <a:lvl1pPr marL="173038" indent="-173038">
              <a:defRPr sz="1400"/>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2" name="Text Placeholder 9"/>
          <p:cNvSpPr>
            <a:spLocks noGrp="1"/>
          </p:cNvSpPr>
          <p:nvPr>
            <p:ph type="body" sz="quarter" idx="37" hasCustomPrompt="1"/>
          </p:nvPr>
        </p:nvSpPr>
        <p:spPr>
          <a:xfrm>
            <a:off x="415925" y="6446487"/>
            <a:ext cx="7539318" cy="386679"/>
          </a:xfrm>
          <a:prstGeom prst="rect">
            <a:avLst/>
          </a:prstGeom>
        </p:spPr>
        <p:txBody>
          <a:bodyPr lIns="0" tIns="0" rIns="0" bIns="0" anchor="b"/>
          <a:lstStyle>
            <a:lvl1pPr marL="0" indent="0">
              <a:buNone/>
              <a:defRPr sz="1000"/>
            </a:lvl1pPr>
          </a:lstStyle>
          <a:p>
            <a:r>
              <a:rPr lang="en-US" dirty="0" smtClean="0"/>
              <a:t>Click to edit Master footer. This space is reserved for footnotes and sources only, and cannot be expanded beyond its current size. Text should </a:t>
            </a:r>
            <a:br>
              <a:rPr lang="en-US" dirty="0" smtClean="0"/>
            </a:br>
            <a:r>
              <a:rPr lang="en-US" dirty="0" smtClean="0"/>
              <a:t>never cover the ‘Dalberg #’ in the bottom right., but the bottom line of text can extend under it if necessary.  SOURCE::</a:t>
            </a:r>
            <a:r>
              <a:rPr lang="en-US" dirty="0" err="1" smtClean="0"/>
              <a:t>xxxxxxxxxxxxxxxxxxxxxxxx</a:t>
            </a:r>
            <a:endParaRPr lang="en-US"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Column Text + Headers">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0" y="0"/>
          <a:ext cx="144318" cy="140074"/>
        </p:xfrm>
        <a:graphic>
          <a:graphicData uri="http://schemas.openxmlformats.org/presentationml/2006/ole">
            <mc:AlternateContent xmlns:mc="http://schemas.openxmlformats.org/markup-compatibility/2006">
              <mc:Choice xmlns:v="urn:schemas-microsoft-com:vml" Requires="v">
                <p:oleObj spid="_x0000_s484112" name="think-cell Slide" r:id="rId4" imgW="360" imgH="360" progId="TCLayout.ActiveDocument.1">
                  <p:embed/>
                </p:oleObj>
              </mc:Choice>
              <mc:Fallback>
                <p:oleObj name="think-cell Slide" r:id="rId4" imgW="360" imgH="36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1"/>
          <p:cNvSpPr>
            <a:spLocks noGrp="1"/>
          </p:cNvSpPr>
          <p:nvPr>
            <p:ph type="title" hasCustomPrompt="1"/>
          </p:nvPr>
        </p:nvSpPr>
        <p:spPr>
          <a:xfrm>
            <a:off x="415637" y="134471"/>
            <a:ext cx="8312727"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16" name="Text Placeholder 14"/>
          <p:cNvSpPr>
            <a:spLocks noGrp="1"/>
          </p:cNvSpPr>
          <p:nvPr>
            <p:ph type="body" sz="quarter" idx="35"/>
          </p:nvPr>
        </p:nvSpPr>
        <p:spPr>
          <a:xfrm>
            <a:off x="415683" y="1008557"/>
            <a:ext cx="3986915" cy="460302"/>
          </a:xfrm>
          <a:prstGeom prst="rect">
            <a:avLst/>
          </a:prstGeom>
          <a:noFill/>
        </p:spPr>
        <p:txBody>
          <a:bodyPr lIns="0" tIns="0" rIns="0" bIns="0" anchor="b"/>
          <a:lstStyle>
            <a:lvl1pPr marL="0" indent="0" algn="ctr">
              <a:buNone/>
              <a:defRPr sz="1400" b="1" baseline="0">
                <a:solidFill>
                  <a:schemeClr val="tx1"/>
                </a:solidFill>
              </a:defRPr>
            </a:lvl1pPr>
          </a:lstStyle>
          <a:p>
            <a:pPr lvl="0"/>
            <a:r>
              <a:rPr lang="en-US" dirty="0" smtClean="0"/>
              <a:t>Click to edit </a:t>
            </a:r>
          </a:p>
          <a:p>
            <a:pPr lvl="0"/>
            <a:r>
              <a:rPr lang="en-US" dirty="0" smtClean="0"/>
              <a:t>Header text</a:t>
            </a:r>
            <a:endParaRPr lang="en-US" dirty="0"/>
          </a:p>
        </p:txBody>
      </p:sp>
      <p:cxnSp>
        <p:nvCxnSpPr>
          <p:cNvPr id="13" name="Straight Connector 12"/>
          <p:cNvCxnSpPr/>
          <p:nvPr userDrawn="1"/>
        </p:nvCxnSpPr>
        <p:spPr>
          <a:xfrm>
            <a:off x="415682" y="1484784"/>
            <a:ext cx="397712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9"/>
          <p:cNvSpPr>
            <a:spLocks noGrp="1"/>
          </p:cNvSpPr>
          <p:nvPr>
            <p:ph type="body" sz="quarter" idx="10"/>
          </p:nvPr>
        </p:nvSpPr>
        <p:spPr>
          <a:xfrm>
            <a:off x="415683" y="1644572"/>
            <a:ext cx="3986915" cy="4688961"/>
          </a:xfrm>
          <a:prstGeom prst="rect">
            <a:avLst/>
          </a:prstGeom>
        </p:spPr>
        <p:txBody>
          <a:bodyPr lIns="0" tIns="0" rIns="0" bIns="0"/>
          <a:lstStyle>
            <a:lvl1pPr marL="173038" indent="-173038">
              <a:defRPr sz="1400"/>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2" name="Text Placeholder 14"/>
          <p:cNvSpPr>
            <a:spLocks noGrp="1"/>
          </p:cNvSpPr>
          <p:nvPr>
            <p:ph type="body" sz="quarter" idx="38"/>
          </p:nvPr>
        </p:nvSpPr>
        <p:spPr>
          <a:xfrm>
            <a:off x="4754880" y="1009149"/>
            <a:ext cx="3973196" cy="460302"/>
          </a:xfrm>
          <a:prstGeom prst="rect">
            <a:avLst/>
          </a:prstGeom>
          <a:noFill/>
        </p:spPr>
        <p:txBody>
          <a:bodyPr lIns="0" tIns="0" rIns="0" bIns="0" anchor="b"/>
          <a:lstStyle>
            <a:lvl1pPr marL="0" indent="0" algn="ctr">
              <a:buNone/>
              <a:defRPr sz="1400" b="1" baseline="0">
                <a:solidFill>
                  <a:schemeClr val="tx1"/>
                </a:solidFill>
              </a:defRPr>
            </a:lvl1pPr>
          </a:lstStyle>
          <a:p>
            <a:pPr lvl="0"/>
            <a:r>
              <a:rPr lang="en-US" dirty="0" smtClean="0"/>
              <a:t>Click to edit </a:t>
            </a:r>
          </a:p>
          <a:p>
            <a:pPr lvl="0"/>
            <a:r>
              <a:rPr lang="en-US" dirty="0" smtClean="0"/>
              <a:t>Header text</a:t>
            </a:r>
            <a:endParaRPr lang="en-US" dirty="0"/>
          </a:p>
        </p:txBody>
      </p:sp>
      <p:cxnSp>
        <p:nvCxnSpPr>
          <p:cNvPr id="18" name="Straight Connector 17"/>
          <p:cNvCxnSpPr/>
          <p:nvPr userDrawn="1"/>
        </p:nvCxnSpPr>
        <p:spPr>
          <a:xfrm>
            <a:off x="4754878" y="1485376"/>
            <a:ext cx="39731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 Placeholder 9"/>
          <p:cNvSpPr>
            <a:spLocks noGrp="1"/>
          </p:cNvSpPr>
          <p:nvPr>
            <p:ph type="body" sz="quarter" idx="39"/>
          </p:nvPr>
        </p:nvSpPr>
        <p:spPr>
          <a:xfrm>
            <a:off x="4754880" y="1645164"/>
            <a:ext cx="3973196" cy="4688961"/>
          </a:xfrm>
          <a:prstGeom prst="rect">
            <a:avLst/>
          </a:prstGeom>
        </p:spPr>
        <p:txBody>
          <a:bodyPr lIns="0" tIns="0" rIns="0" bIns="0"/>
          <a:lstStyle>
            <a:lvl1pPr marL="173038" indent="-173038">
              <a:defRPr sz="1400"/>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1" name="Text Placeholder 9"/>
          <p:cNvSpPr>
            <a:spLocks noGrp="1"/>
          </p:cNvSpPr>
          <p:nvPr>
            <p:ph type="body" sz="quarter" idx="37" hasCustomPrompt="1"/>
          </p:nvPr>
        </p:nvSpPr>
        <p:spPr>
          <a:xfrm>
            <a:off x="415925" y="6446487"/>
            <a:ext cx="7539318" cy="386679"/>
          </a:xfrm>
          <a:prstGeom prst="rect">
            <a:avLst/>
          </a:prstGeom>
        </p:spPr>
        <p:txBody>
          <a:bodyPr lIns="0" tIns="0" rIns="0" bIns="0" anchor="b"/>
          <a:lstStyle>
            <a:lvl1pPr marL="0" indent="0">
              <a:buNone/>
              <a:defRPr sz="1000"/>
            </a:lvl1pPr>
          </a:lstStyle>
          <a:p>
            <a:r>
              <a:rPr lang="en-US" dirty="0" smtClean="0"/>
              <a:t>Click to edit Master footer. This space is reserved for footnotes and sources only, and cannot be expanded beyond its current size. Text should </a:t>
            </a:r>
            <a:br>
              <a:rPr lang="en-US" dirty="0" smtClean="0"/>
            </a:br>
            <a:r>
              <a:rPr lang="en-US" dirty="0" smtClean="0"/>
              <a:t>never cover the ‘Dalberg #’ in the bottom right., but the bottom line of text can extend under it if necessary.  SOURCE::</a:t>
            </a:r>
            <a:r>
              <a:rPr lang="en-US" dirty="0" err="1" smtClean="0"/>
              <a:t>xxxxxxxxxxxxxxxxxxxxxxxx</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Column Text + Headers">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0" y="0"/>
          <a:ext cx="144318" cy="140074"/>
        </p:xfrm>
        <a:graphic>
          <a:graphicData uri="http://schemas.openxmlformats.org/presentationml/2006/ole">
            <mc:AlternateContent xmlns:mc="http://schemas.openxmlformats.org/markup-compatibility/2006">
              <mc:Choice xmlns:v="urn:schemas-microsoft-com:vml" Requires="v">
                <p:oleObj spid="_x0000_s493328" name="think-cell Slide" r:id="rId4" imgW="360" imgH="360" progId="TCLayout.ActiveDocument.1">
                  <p:embed/>
                </p:oleObj>
              </mc:Choice>
              <mc:Fallback>
                <p:oleObj name="think-cell Slide" r:id="rId4" imgW="360" imgH="36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1"/>
          <p:cNvSpPr>
            <a:spLocks noGrp="1"/>
          </p:cNvSpPr>
          <p:nvPr>
            <p:ph type="title" hasCustomPrompt="1"/>
          </p:nvPr>
        </p:nvSpPr>
        <p:spPr>
          <a:xfrm>
            <a:off x="415637" y="134471"/>
            <a:ext cx="8312727"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16" name="Text Placeholder 14"/>
          <p:cNvSpPr>
            <a:spLocks noGrp="1"/>
          </p:cNvSpPr>
          <p:nvPr>
            <p:ph type="body" sz="quarter" idx="35"/>
          </p:nvPr>
        </p:nvSpPr>
        <p:spPr>
          <a:xfrm>
            <a:off x="415830" y="1008556"/>
            <a:ext cx="2580120" cy="496559"/>
          </a:xfrm>
          <a:prstGeom prst="rect">
            <a:avLst/>
          </a:prstGeom>
          <a:noFill/>
        </p:spPr>
        <p:txBody>
          <a:bodyPr lIns="0" tIns="0" rIns="0" bIns="0" anchor="b"/>
          <a:lstStyle>
            <a:lvl1pPr marL="0" indent="0" algn="ctr">
              <a:buNone/>
              <a:defRPr sz="1400" b="1" baseline="0">
                <a:solidFill>
                  <a:schemeClr val="tx1"/>
                </a:solidFill>
              </a:defRPr>
            </a:lvl1pPr>
          </a:lstStyle>
          <a:p>
            <a:pPr lvl="0"/>
            <a:r>
              <a:rPr lang="en-US" dirty="0" smtClean="0"/>
              <a:t>Click to edit </a:t>
            </a:r>
          </a:p>
          <a:p>
            <a:pPr lvl="0"/>
            <a:r>
              <a:rPr lang="en-US" dirty="0" smtClean="0"/>
              <a:t>Header text</a:t>
            </a:r>
          </a:p>
        </p:txBody>
      </p:sp>
      <p:sp>
        <p:nvSpPr>
          <p:cNvPr id="22" name="Text Placeholder 14"/>
          <p:cNvSpPr>
            <a:spLocks noGrp="1"/>
          </p:cNvSpPr>
          <p:nvPr>
            <p:ph type="body" sz="quarter" idx="36"/>
          </p:nvPr>
        </p:nvSpPr>
        <p:spPr>
          <a:xfrm>
            <a:off x="6135106" y="1009212"/>
            <a:ext cx="2593690" cy="496559"/>
          </a:xfrm>
          <a:prstGeom prst="rect">
            <a:avLst/>
          </a:prstGeom>
          <a:noFill/>
        </p:spPr>
        <p:txBody>
          <a:bodyPr lIns="0" tIns="0" rIns="0" bIns="0" anchor="b"/>
          <a:lstStyle>
            <a:lvl1pPr marL="0" indent="0" algn="ctr">
              <a:buNone/>
              <a:defRPr sz="1400" b="1">
                <a:solidFill>
                  <a:schemeClr val="tx1"/>
                </a:solidFill>
              </a:defRPr>
            </a:lvl1pPr>
          </a:lstStyle>
          <a:p>
            <a:pPr lvl="0"/>
            <a:r>
              <a:rPr lang="en-US" dirty="0" smtClean="0"/>
              <a:t>Click to edit </a:t>
            </a:r>
          </a:p>
          <a:p>
            <a:pPr lvl="0"/>
            <a:r>
              <a:rPr lang="en-US" dirty="0" smtClean="0"/>
              <a:t>Header text</a:t>
            </a:r>
          </a:p>
        </p:txBody>
      </p:sp>
      <p:cxnSp>
        <p:nvCxnSpPr>
          <p:cNvPr id="15" name="Straight Connector 14"/>
          <p:cNvCxnSpPr/>
          <p:nvPr userDrawn="1"/>
        </p:nvCxnSpPr>
        <p:spPr>
          <a:xfrm>
            <a:off x="415682" y="1549750"/>
            <a:ext cx="256397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6149958" y="1549750"/>
            <a:ext cx="256397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9"/>
          <p:cNvSpPr>
            <a:spLocks noGrp="1"/>
          </p:cNvSpPr>
          <p:nvPr>
            <p:ph type="body" sz="quarter" idx="10"/>
          </p:nvPr>
        </p:nvSpPr>
        <p:spPr>
          <a:xfrm>
            <a:off x="415682" y="1655690"/>
            <a:ext cx="2580120" cy="4666674"/>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5" name="Text Placeholder 9"/>
          <p:cNvSpPr>
            <a:spLocks noGrp="1"/>
          </p:cNvSpPr>
          <p:nvPr>
            <p:ph type="body" sz="quarter" idx="39"/>
          </p:nvPr>
        </p:nvSpPr>
        <p:spPr>
          <a:xfrm>
            <a:off x="6147955" y="1667451"/>
            <a:ext cx="2580120" cy="4666674"/>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7" name="Text Placeholder 14"/>
          <p:cNvSpPr>
            <a:spLocks noGrp="1"/>
          </p:cNvSpPr>
          <p:nvPr>
            <p:ph type="body" sz="quarter" idx="40"/>
          </p:nvPr>
        </p:nvSpPr>
        <p:spPr>
          <a:xfrm>
            <a:off x="3292002" y="1008063"/>
            <a:ext cx="2580120" cy="496559"/>
          </a:xfrm>
          <a:prstGeom prst="rect">
            <a:avLst/>
          </a:prstGeom>
          <a:noFill/>
        </p:spPr>
        <p:txBody>
          <a:bodyPr lIns="0" tIns="0" rIns="0" bIns="0" anchor="b"/>
          <a:lstStyle>
            <a:lvl1pPr marL="0" indent="0" algn="ctr">
              <a:buNone/>
              <a:defRPr sz="1400" b="1" baseline="0">
                <a:solidFill>
                  <a:schemeClr val="tx1"/>
                </a:solidFill>
              </a:defRPr>
            </a:lvl1pPr>
          </a:lstStyle>
          <a:p>
            <a:pPr lvl="0"/>
            <a:r>
              <a:rPr lang="en-US" dirty="0" smtClean="0"/>
              <a:t>Click to edit </a:t>
            </a:r>
          </a:p>
          <a:p>
            <a:pPr lvl="0"/>
            <a:r>
              <a:rPr lang="en-US" dirty="0" smtClean="0"/>
              <a:t>Header text</a:t>
            </a:r>
          </a:p>
        </p:txBody>
      </p:sp>
      <p:cxnSp>
        <p:nvCxnSpPr>
          <p:cNvPr id="28" name="Straight Connector 27"/>
          <p:cNvCxnSpPr/>
          <p:nvPr userDrawn="1"/>
        </p:nvCxnSpPr>
        <p:spPr>
          <a:xfrm>
            <a:off x="3291854" y="1549257"/>
            <a:ext cx="256397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Text Placeholder 9"/>
          <p:cNvSpPr>
            <a:spLocks noGrp="1"/>
          </p:cNvSpPr>
          <p:nvPr>
            <p:ph type="body" sz="quarter" idx="41"/>
          </p:nvPr>
        </p:nvSpPr>
        <p:spPr>
          <a:xfrm>
            <a:off x="3291854" y="1655197"/>
            <a:ext cx="2580120" cy="4666674"/>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8" name="Text Placeholder 9"/>
          <p:cNvSpPr>
            <a:spLocks noGrp="1"/>
          </p:cNvSpPr>
          <p:nvPr>
            <p:ph type="body" sz="quarter" idx="37" hasCustomPrompt="1"/>
          </p:nvPr>
        </p:nvSpPr>
        <p:spPr>
          <a:xfrm>
            <a:off x="415925" y="6446487"/>
            <a:ext cx="7539318" cy="386679"/>
          </a:xfrm>
          <a:prstGeom prst="rect">
            <a:avLst/>
          </a:prstGeom>
        </p:spPr>
        <p:txBody>
          <a:bodyPr lIns="0" tIns="0" rIns="0" bIns="0" anchor="b"/>
          <a:lstStyle>
            <a:lvl1pPr marL="0" indent="0">
              <a:buNone/>
              <a:defRPr sz="1000"/>
            </a:lvl1pPr>
          </a:lstStyle>
          <a:p>
            <a:r>
              <a:rPr lang="en-US" dirty="0" smtClean="0"/>
              <a:t>Click to edit Master footer. This space is reserved for footnotes and sources only, and cannot be expanded beyond its current size. Text should </a:t>
            </a:r>
            <a:br>
              <a:rPr lang="en-US" dirty="0" smtClean="0"/>
            </a:br>
            <a:r>
              <a:rPr lang="en-US" dirty="0" smtClean="0"/>
              <a:t>never cover the ‘Dalberg #’ in the bottom right., but the bottom line of text can extend under it if necessary.  SOURCE::</a:t>
            </a:r>
            <a:r>
              <a:rPr lang="en-US" dirty="0" err="1" smtClean="0"/>
              <a:t>xxxxxxxxxxxxxxxxxxxxxxxx</a:t>
            </a: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Column Chevrons">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0" y="0"/>
          <a:ext cx="144318" cy="140074"/>
        </p:xfrm>
        <a:graphic>
          <a:graphicData uri="http://schemas.openxmlformats.org/presentationml/2006/ole">
            <mc:AlternateContent xmlns:mc="http://schemas.openxmlformats.org/markup-compatibility/2006">
              <mc:Choice xmlns:v="urn:schemas-microsoft-com:vml" Requires="v">
                <p:oleObj spid="_x0000_s737041" name="think-cell Slide" r:id="rId4" imgW="360" imgH="360" progId="TCLayout.ActiveDocument.1">
                  <p:embed/>
                </p:oleObj>
              </mc:Choice>
              <mc:Fallback>
                <p:oleObj name="think-cell Slide" r:id="rId4" imgW="360" imgH="36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1"/>
          <p:cNvSpPr>
            <a:spLocks noGrp="1"/>
          </p:cNvSpPr>
          <p:nvPr>
            <p:ph type="title" hasCustomPrompt="1"/>
          </p:nvPr>
        </p:nvSpPr>
        <p:spPr>
          <a:xfrm>
            <a:off x="415637" y="134471"/>
            <a:ext cx="8312727"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18" name="Text Placeholder 17"/>
          <p:cNvSpPr>
            <a:spLocks noGrp="1"/>
          </p:cNvSpPr>
          <p:nvPr>
            <p:ph type="body" sz="quarter" idx="40" hasCustomPrompt="1"/>
          </p:nvPr>
        </p:nvSpPr>
        <p:spPr>
          <a:xfrm>
            <a:off x="415637" y="1008556"/>
            <a:ext cx="2244457" cy="702347"/>
          </a:xfrm>
          <a:prstGeom prst="homePlate">
            <a:avLst>
              <a:gd name="adj" fmla="val 24472"/>
            </a:avLst>
          </a:prstGeom>
          <a:solidFill>
            <a:schemeClr val="tx2"/>
          </a:solidFill>
        </p:spPr>
        <p:txBody>
          <a:bodyPr lIns="82058" tIns="41029" rIns="82058" bIns="41029" anchor="ctr"/>
          <a:lstStyle>
            <a:lvl1pPr marL="0" indent="0" algn="ctr">
              <a:buNone/>
              <a:defRPr b="1">
                <a:solidFill>
                  <a:schemeClr val="bg2"/>
                </a:solidFill>
              </a:defRPr>
            </a:lvl1pPr>
          </a:lstStyle>
          <a:p>
            <a:pPr lvl="0"/>
            <a:r>
              <a:rPr lang="en-US" dirty="0" smtClean="0"/>
              <a:t>Click to edit text</a:t>
            </a:r>
            <a:endParaRPr lang="en-US" dirty="0"/>
          </a:p>
        </p:txBody>
      </p:sp>
      <p:sp>
        <p:nvSpPr>
          <p:cNvPr id="20" name="Text Placeholder 17"/>
          <p:cNvSpPr>
            <a:spLocks noGrp="1"/>
          </p:cNvSpPr>
          <p:nvPr>
            <p:ph type="body" sz="quarter" idx="41" hasCustomPrompt="1"/>
          </p:nvPr>
        </p:nvSpPr>
        <p:spPr>
          <a:xfrm>
            <a:off x="2576921" y="1008556"/>
            <a:ext cx="2078205" cy="702347"/>
          </a:xfrm>
          <a:prstGeom prst="chevron">
            <a:avLst>
              <a:gd name="adj" fmla="val 24473"/>
            </a:avLst>
          </a:prstGeom>
          <a:solidFill>
            <a:schemeClr val="tx2"/>
          </a:solidFill>
        </p:spPr>
        <p:txBody>
          <a:bodyPr lIns="82058" tIns="41029" rIns="82058" bIns="41029" anchor="ctr"/>
          <a:lstStyle>
            <a:lvl1pPr marL="0" indent="0" algn="ctr">
              <a:buNone/>
              <a:defRPr b="1">
                <a:solidFill>
                  <a:schemeClr val="bg2"/>
                </a:solidFill>
              </a:defRPr>
            </a:lvl1pPr>
          </a:lstStyle>
          <a:p>
            <a:pPr lvl="0"/>
            <a:r>
              <a:rPr lang="en-US" dirty="0" smtClean="0"/>
              <a:t>Click to edit text</a:t>
            </a:r>
            <a:endParaRPr lang="en-US" dirty="0"/>
          </a:p>
        </p:txBody>
      </p:sp>
      <p:sp>
        <p:nvSpPr>
          <p:cNvPr id="32" name="Text Placeholder 17"/>
          <p:cNvSpPr>
            <a:spLocks noGrp="1"/>
          </p:cNvSpPr>
          <p:nvPr>
            <p:ph type="body" sz="quarter" idx="48" hasCustomPrompt="1"/>
          </p:nvPr>
        </p:nvSpPr>
        <p:spPr>
          <a:xfrm>
            <a:off x="4571954" y="1008556"/>
            <a:ext cx="2078205" cy="702347"/>
          </a:xfrm>
          <a:prstGeom prst="chevron">
            <a:avLst>
              <a:gd name="adj" fmla="val 24473"/>
            </a:avLst>
          </a:prstGeom>
          <a:solidFill>
            <a:schemeClr val="tx2"/>
          </a:solidFill>
        </p:spPr>
        <p:txBody>
          <a:bodyPr lIns="82058" tIns="41029" rIns="82058" bIns="41029" anchor="ctr"/>
          <a:lstStyle>
            <a:lvl1pPr marL="0" indent="0" algn="ctr">
              <a:buNone/>
              <a:defRPr b="1">
                <a:solidFill>
                  <a:schemeClr val="bg2"/>
                </a:solidFill>
              </a:defRPr>
            </a:lvl1pPr>
          </a:lstStyle>
          <a:p>
            <a:pPr lvl="0"/>
            <a:r>
              <a:rPr lang="en-US" dirty="0" smtClean="0"/>
              <a:t>Click to edit text</a:t>
            </a:r>
            <a:endParaRPr lang="en-US" dirty="0"/>
          </a:p>
        </p:txBody>
      </p:sp>
      <p:sp>
        <p:nvSpPr>
          <p:cNvPr id="33" name="Text Placeholder 17"/>
          <p:cNvSpPr>
            <a:spLocks noGrp="1"/>
          </p:cNvSpPr>
          <p:nvPr>
            <p:ph type="body" sz="quarter" idx="49" hasCustomPrompt="1"/>
          </p:nvPr>
        </p:nvSpPr>
        <p:spPr>
          <a:xfrm>
            <a:off x="6566987" y="1008556"/>
            <a:ext cx="2078205" cy="702347"/>
          </a:xfrm>
          <a:prstGeom prst="chevron">
            <a:avLst>
              <a:gd name="adj" fmla="val 24473"/>
            </a:avLst>
          </a:prstGeom>
          <a:solidFill>
            <a:schemeClr val="tx2"/>
          </a:solidFill>
        </p:spPr>
        <p:txBody>
          <a:bodyPr lIns="82058" tIns="41029" rIns="82058" bIns="41029" anchor="ctr"/>
          <a:lstStyle>
            <a:lvl1pPr marL="0" indent="0" algn="ctr">
              <a:buNone/>
              <a:defRPr b="1">
                <a:solidFill>
                  <a:schemeClr val="bg2"/>
                </a:solidFill>
              </a:defRPr>
            </a:lvl1pPr>
          </a:lstStyle>
          <a:p>
            <a:pPr lvl="0"/>
            <a:r>
              <a:rPr lang="en-US" dirty="0" smtClean="0"/>
              <a:t>Click to edit text</a:t>
            </a:r>
            <a:endParaRPr lang="en-US" dirty="0"/>
          </a:p>
        </p:txBody>
      </p:sp>
      <p:sp>
        <p:nvSpPr>
          <p:cNvPr id="13" name="Text Placeholder 9"/>
          <p:cNvSpPr>
            <a:spLocks noGrp="1"/>
          </p:cNvSpPr>
          <p:nvPr>
            <p:ph type="body" sz="quarter" idx="10"/>
          </p:nvPr>
        </p:nvSpPr>
        <p:spPr>
          <a:xfrm>
            <a:off x="553748" y="1815370"/>
            <a:ext cx="1915155" cy="4504719"/>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7" name="Text Placeholder 9"/>
          <p:cNvSpPr>
            <a:spLocks noGrp="1"/>
          </p:cNvSpPr>
          <p:nvPr>
            <p:ph type="body" sz="quarter" idx="50"/>
          </p:nvPr>
        </p:nvSpPr>
        <p:spPr>
          <a:xfrm>
            <a:off x="2565406" y="1829406"/>
            <a:ext cx="1915155" cy="4504719"/>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2" name="Text Placeholder 9"/>
          <p:cNvSpPr>
            <a:spLocks noGrp="1"/>
          </p:cNvSpPr>
          <p:nvPr>
            <p:ph type="body" sz="quarter" idx="51"/>
          </p:nvPr>
        </p:nvSpPr>
        <p:spPr>
          <a:xfrm>
            <a:off x="4572000" y="1829406"/>
            <a:ext cx="1915155" cy="4504719"/>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3" name="Text Placeholder 9"/>
          <p:cNvSpPr>
            <a:spLocks noGrp="1"/>
          </p:cNvSpPr>
          <p:nvPr>
            <p:ph type="body" sz="quarter" idx="52"/>
          </p:nvPr>
        </p:nvSpPr>
        <p:spPr>
          <a:xfrm>
            <a:off x="6588722" y="1829406"/>
            <a:ext cx="1915155" cy="4504719"/>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4" name="Text Placeholder 9"/>
          <p:cNvSpPr>
            <a:spLocks noGrp="1"/>
          </p:cNvSpPr>
          <p:nvPr>
            <p:ph type="body" sz="quarter" idx="37" hasCustomPrompt="1"/>
          </p:nvPr>
        </p:nvSpPr>
        <p:spPr>
          <a:xfrm>
            <a:off x="415925" y="6446487"/>
            <a:ext cx="7539318" cy="386679"/>
          </a:xfrm>
          <a:prstGeom prst="rect">
            <a:avLst/>
          </a:prstGeom>
        </p:spPr>
        <p:txBody>
          <a:bodyPr lIns="0" tIns="0" rIns="0" bIns="0" anchor="b"/>
          <a:lstStyle>
            <a:lvl1pPr marL="0" indent="0">
              <a:buNone/>
              <a:defRPr sz="1000"/>
            </a:lvl1pPr>
          </a:lstStyle>
          <a:p>
            <a:r>
              <a:rPr lang="en-US" dirty="0" smtClean="0"/>
              <a:t>Click to edit Master footer. This space is reserved for footnotes and sources only, and cannot be expanded beyond its current size. Text should </a:t>
            </a:r>
            <a:br>
              <a:rPr lang="en-US" dirty="0" smtClean="0"/>
            </a:br>
            <a:r>
              <a:rPr lang="en-US" dirty="0" smtClean="0"/>
              <a:t>never cover the ‘Dalberg #’ in the bottom right., but the bottom line of text can extend under it if necessary.  SOURCE::</a:t>
            </a:r>
            <a:r>
              <a:rPr lang="en-US" dirty="0" err="1" smtClean="0"/>
              <a:t>xxxxxxxxxxxxxxxxxxxxxxxx</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Column Chevrons">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0" y="0"/>
          <a:ext cx="144318" cy="140074"/>
        </p:xfrm>
        <a:graphic>
          <a:graphicData uri="http://schemas.openxmlformats.org/presentationml/2006/ole">
            <mc:AlternateContent xmlns:mc="http://schemas.openxmlformats.org/markup-compatibility/2006">
              <mc:Choice xmlns:v="urn:schemas-microsoft-com:vml" Requires="v">
                <p:oleObj spid="_x0000_s727824" name="think-cell Slide" r:id="rId4" imgW="360" imgH="360" progId="TCLayout.ActiveDocument.1">
                  <p:embed/>
                </p:oleObj>
              </mc:Choice>
              <mc:Fallback>
                <p:oleObj name="think-cell Slide" r:id="rId4" imgW="360" imgH="360" progId="TCLayout.ActiveDocument.1">
                  <p:embed/>
                  <p:pic>
                    <p:nvPicPr>
                      <p:cNvPr id="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1"/>
          <p:cNvSpPr>
            <a:spLocks noGrp="1"/>
          </p:cNvSpPr>
          <p:nvPr>
            <p:ph type="title" hasCustomPrompt="1"/>
          </p:nvPr>
        </p:nvSpPr>
        <p:spPr>
          <a:xfrm>
            <a:off x="415637" y="134471"/>
            <a:ext cx="8312727" cy="609600"/>
          </a:xfrm>
          <a:prstGeom prst="rect">
            <a:avLst/>
          </a:prstGeom>
        </p:spPr>
        <p:txBody>
          <a:bodyPr lIns="0" tIns="0" rIns="0" bIns="0" anchor="b"/>
          <a:lstStyle>
            <a:lvl1pPr algn="l">
              <a:defRPr sz="2200" b="1" cap="none" baseline="0"/>
            </a:lvl1pPr>
          </a:lstStyle>
          <a:p>
            <a:r>
              <a:rPr lang="en-US" dirty="0" smtClean="0"/>
              <a:t>Click to edit Master slide title</a:t>
            </a:r>
            <a:endParaRPr lang="en-US" dirty="0"/>
          </a:p>
        </p:txBody>
      </p:sp>
      <p:sp>
        <p:nvSpPr>
          <p:cNvPr id="18" name="Text Placeholder 17"/>
          <p:cNvSpPr>
            <a:spLocks noGrp="1"/>
          </p:cNvSpPr>
          <p:nvPr>
            <p:ph type="body" sz="quarter" idx="40" hasCustomPrompt="1"/>
          </p:nvPr>
        </p:nvSpPr>
        <p:spPr>
          <a:xfrm>
            <a:off x="581936" y="1008556"/>
            <a:ext cx="1662527" cy="699187"/>
          </a:xfrm>
          <a:prstGeom prst="homePlate">
            <a:avLst>
              <a:gd name="adj" fmla="val 17178"/>
            </a:avLst>
          </a:prstGeom>
          <a:solidFill>
            <a:schemeClr val="tx2"/>
          </a:solidFill>
        </p:spPr>
        <p:txBody>
          <a:bodyPr lIns="82058" tIns="41029" rIns="82058" bIns="41029" anchor="ctr"/>
          <a:lstStyle>
            <a:lvl1pPr marL="0" indent="0" algn="ctr">
              <a:buNone/>
              <a:defRPr b="1">
                <a:solidFill>
                  <a:schemeClr val="bg2"/>
                </a:solidFill>
              </a:defRPr>
            </a:lvl1pPr>
          </a:lstStyle>
          <a:p>
            <a:pPr lvl="0"/>
            <a:r>
              <a:rPr lang="en-US" dirty="0" smtClean="0"/>
              <a:t>Click to edit text</a:t>
            </a:r>
            <a:endParaRPr lang="en-US" dirty="0"/>
          </a:p>
        </p:txBody>
      </p:sp>
      <p:sp>
        <p:nvSpPr>
          <p:cNvPr id="20" name="Text Placeholder 17"/>
          <p:cNvSpPr>
            <a:spLocks noGrp="1"/>
          </p:cNvSpPr>
          <p:nvPr>
            <p:ph type="body" sz="quarter" idx="41" hasCustomPrompt="1"/>
          </p:nvPr>
        </p:nvSpPr>
        <p:spPr>
          <a:xfrm>
            <a:off x="2161290" y="1008556"/>
            <a:ext cx="1662573" cy="699187"/>
          </a:xfrm>
          <a:prstGeom prst="chevron">
            <a:avLst>
              <a:gd name="adj" fmla="val 19003"/>
            </a:avLst>
          </a:prstGeom>
          <a:solidFill>
            <a:schemeClr val="tx2"/>
          </a:solidFill>
        </p:spPr>
        <p:txBody>
          <a:bodyPr lIns="82058" tIns="41029" rIns="82058" bIns="41029" anchor="ctr"/>
          <a:lstStyle>
            <a:lvl1pPr marL="0" indent="0" algn="ctr">
              <a:buNone/>
              <a:defRPr b="1">
                <a:solidFill>
                  <a:schemeClr val="bg2"/>
                </a:solidFill>
              </a:defRPr>
            </a:lvl1pPr>
          </a:lstStyle>
          <a:p>
            <a:pPr lvl="0"/>
            <a:r>
              <a:rPr lang="en-US" dirty="0" smtClean="0"/>
              <a:t>Click to edit text</a:t>
            </a:r>
            <a:endParaRPr lang="en-US" dirty="0"/>
          </a:p>
        </p:txBody>
      </p:sp>
      <p:sp>
        <p:nvSpPr>
          <p:cNvPr id="38" name="Text Placeholder 17"/>
          <p:cNvSpPr>
            <a:spLocks noGrp="1"/>
          </p:cNvSpPr>
          <p:nvPr>
            <p:ph type="body" sz="quarter" idx="56" hasCustomPrompt="1"/>
          </p:nvPr>
        </p:nvSpPr>
        <p:spPr>
          <a:xfrm>
            <a:off x="3740691" y="1008556"/>
            <a:ext cx="1662573" cy="699187"/>
          </a:xfrm>
          <a:prstGeom prst="chevron">
            <a:avLst>
              <a:gd name="adj" fmla="val 19003"/>
            </a:avLst>
          </a:prstGeom>
          <a:solidFill>
            <a:schemeClr val="tx2"/>
          </a:solidFill>
        </p:spPr>
        <p:txBody>
          <a:bodyPr lIns="82058" tIns="41029" rIns="82058" bIns="41029" anchor="ctr"/>
          <a:lstStyle>
            <a:lvl1pPr marL="0" indent="0" algn="ctr">
              <a:buNone/>
              <a:defRPr b="1">
                <a:solidFill>
                  <a:schemeClr val="bg2"/>
                </a:solidFill>
              </a:defRPr>
            </a:lvl1pPr>
          </a:lstStyle>
          <a:p>
            <a:pPr lvl="0"/>
            <a:r>
              <a:rPr lang="en-US" dirty="0" smtClean="0"/>
              <a:t>Click to edit text</a:t>
            </a:r>
            <a:endParaRPr lang="en-US" dirty="0"/>
          </a:p>
        </p:txBody>
      </p:sp>
      <p:sp>
        <p:nvSpPr>
          <p:cNvPr id="15" name="Text Placeholder 9"/>
          <p:cNvSpPr>
            <a:spLocks noGrp="1"/>
          </p:cNvSpPr>
          <p:nvPr>
            <p:ph type="body" sz="quarter" idx="10"/>
          </p:nvPr>
        </p:nvSpPr>
        <p:spPr>
          <a:xfrm>
            <a:off x="581934" y="1815370"/>
            <a:ext cx="1496275" cy="4504719"/>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1" name="Text Placeholder 17"/>
          <p:cNvSpPr>
            <a:spLocks noGrp="1"/>
          </p:cNvSpPr>
          <p:nvPr>
            <p:ph type="body" sz="quarter" idx="63" hasCustomPrompt="1"/>
          </p:nvPr>
        </p:nvSpPr>
        <p:spPr>
          <a:xfrm>
            <a:off x="5320092" y="1008529"/>
            <a:ext cx="1662573" cy="699187"/>
          </a:xfrm>
          <a:prstGeom prst="chevron">
            <a:avLst>
              <a:gd name="adj" fmla="val 19003"/>
            </a:avLst>
          </a:prstGeom>
          <a:solidFill>
            <a:schemeClr val="tx2"/>
          </a:solidFill>
        </p:spPr>
        <p:txBody>
          <a:bodyPr lIns="82058" tIns="41029" rIns="82058" bIns="41029" anchor="ctr"/>
          <a:lstStyle>
            <a:lvl1pPr marL="0" indent="0" algn="ctr">
              <a:buNone/>
              <a:defRPr b="1">
                <a:solidFill>
                  <a:schemeClr val="bg2"/>
                </a:solidFill>
              </a:defRPr>
            </a:lvl1pPr>
          </a:lstStyle>
          <a:p>
            <a:pPr lvl="0"/>
            <a:r>
              <a:rPr lang="en-US" dirty="0" smtClean="0"/>
              <a:t>Click to edit text</a:t>
            </a:r>
            <a:endParaRPr lang="en-US" dirty="0"/>
          </a:p>
        </p:txBody>
      </p:sp>
      <p:sp>
        <p:nvSpPr>
          <p:cNvPr id="22" name="Text Placeholder 17"/>
          <p:cNvSpPr>
            <a:spLocks noGrp="1"/>
          </p:cNvSpPr>
          <p:nvPr>
            <p:ph type="body" sz="quarter" idx="64" hasCustomPrompt="1"/>
          </p:nvPr>
        </p:nvSpPr>
        <p:spPr>
          <a:xfrm>
            <a:off x="6899538" y="1008529"/>
            <a:ext cx="1662573" cy="699187"/>
          </a:xfrm>
          <a:prstGeom prst="chevron">
            <a:avLst>
              <a:gd name="adj" fmla="val 19003"/>
            </a:avLst>
          </a:prstGeom>
          <a:solidFill>
            <a:schemeClr val="tx2"/>
          </a:solidFill>
        </p:spPr>
        <p:txBody>
          <a:bodyPr lIns="82058" tIns="41029" rIns="82058" bIns="41029" anchor="ctr"/>
          <a:lstStyle>
            <a:lvl1pPr marL="0" indent="0" algn="ctr">
              <a:buNone/>
              <a:defRPr b="1">
                <a:solidFill>
                  <a:schemeClr val="bg2"/>
                </a:solidFill>
              </a:defRPr>
            </a:lvl1pPr>
          </a:lstStyle>
          <a:p>
            <a:pPr lvl="0"/>
            <a:r>
              <a:rPr lang="en-US" dirty="0" smtClean="0"/>
              <a:t>Click to edit text</a:t>
            </a:r>
            <a:endParaRPr lang="en-US" dirty="0"/>
          </a:p>
        </p:txBody>
      </p:sp>
      <p:sp>
        <p:nvSpPr>
          <p:cNvPr id="26" name="Text Placeholder 9"/>
          <p:cNvSpPr>
            <a:spLocks noGrp="1"/>
          </p:cNvSpPr>
          <p:nvPr>
            <p:ph type="body" sz="quarter" idx="65"/>
          </p:nvPr>
        </p:nvSpPr>
        <p:spPr>
          <a:xfrm>
            <a:off x="2161335" y="1829406"/>
            <a:ext cx="1496275" cy="4504719"/>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7" name="Text Placeholder 9"/>
          <p:cNvSpPr>
            <a:spLocks noGrp="1"/>
          </p:cNvSpPr>
          <p:nvPr>
            <p:ph type="body" sz="quarter" idx="66"/>
          </p:nvPr>
        </p:nvSpPr>
        <p:spPr>
          <a:xfrm>
            <a:off x="3749049" y="1829406"/>
            <a:ext cx="1496275" cy="4504719"/>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8" name="Text Placeholder 9"/>
          <p:cNvSpPr>
            <a:spLocks noGrp="1"/>
          </p:cNvSpPr>
          <p:nvPr>
            <p:ph type="body" sz="quarter" idx="67"/>
          </p:nvPr>
        </p:nvSpPr>
        <p:spPr>
          <a:xfrm>
            <a:off x="5361700" y="1829406"/>
            <a:ext cx="1496275" cy="4504719"/>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9" name="Text Placeholder 9"/>
          <p:cNvSpPr>
            <a:spLocks noGrp="1"/>
          </p:cNvSpPr>
          <p:nvPr>
            <p:ph type="body" sz="quarter" idx="68"/>
          </p:nvPr>
        </p:nvSpPr>
        <p:spPr>
          <a:xfrm>
            <a:off x="6949414" y="1829406"/>
            <a:ext cx="1496275" cy="4504719"/>
          </a:xfrm>
          <a:prstGeom prst="rect">
            <a:avLst/>
          </a:prstGeom>
        </p:spPr>
        <p:txBody>
          <a:bodyPr lIns="0" tIns="0" rIns="0" bIns="0"/>
          <a:lstStyle>
            <a:lvl1pPr marL="173038" indent="-173038">
              <a:defRPr/>
            </a:lvl1pPr>
            <a:lvl2pPr marL="347663" indent="-174625">
              <a:defRPr sz="1200"/>
            </a:lvl2pPr>
            <a:lvl3pPr marL="509588" indent="-161925">
              <a:defRPr sz="1200"/>
            </a:lvl3pPr>
            <a:lvl4pPr marL="682625" indent="-173038">
              <a:defRPr sz="1200"/>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6" name="Text Placeholder 9"/>
          <p:cNvSpPr>
            <a:spLocks noGrp="1"/>
          </p:cNvSpPr>
          <p:nvPr>
            <p:ph type="body" sz="quarter" idx="37" hasCustomPrompt="1"/>
          </p:nvPr>
        </p:nvSpPr>
        <p:spPr>
          <a:xfrm>
            <a:off x="415925" y="6446487"/>
            <a:ext cx="7539318" cy="386679"/>
          </a:xfrm>
          <a:prstGeom prst="rect">
            <a:avLst/>
          </a:prstGeom>
        </p:spPr>
        <p:txBody>
          <a:bodyPr lIns="0" tIns="0" rIns="0" bIns="0" anchor="b"/>
          <a:lstStyle>
            <a:lvl1pPr marL="0" indent="0">
              <a:buNone/>
              <a:defRPr sz="1000"/>
            </a:lvl1pPr>
          </a:lstStyle>
          <a:p>
            <a:r>
              <a:rPr lang="en-US" dirty="0" smtClean="0"/>
              <a:t>Click to edit Master footer. This space is reserved for footnotes and sources only, and cannot be expanded beyond its current size. Text should </a:t>
            </a:r>
            <a:br>
              <a:rPr lang="en-US" dirty="0" smtClean="0"/>
            </a:br>
            <a:r>
              <a:rPr lang="en-US" dirty="0" smtClean="0"/>
              <a:t>never cover the ‘Dalberg #’ in the bottom right., but the bottom line of text can extend under it if necessary.  SOURCE::</a:t>
            </a:r>
            <a:r>
              <a:rPr lang="en-US" dirty="0" err="1" smtClean="0"/>
              <a:t>xxxxxxxxxxxxxxxxxxxxxxxx</a:t>
            </a:r>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jpe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oleObject" Target="../embeddings/oleObject3.bin"/><Relationship Id="rId3" Type="http://schemas.openxmlformats.org/officeDocument/2006/relationships/slideLayout" Target="../slideLayouts/slideLayout4.xml"/><Relationship Id="rId21" Type="http://schemas.openxmlformats.org/officeDocument/2006/relationships/image" Target="../media/image5.jpeg"/><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tags" Target="../tags/tag8.xml"/><Relationship Id="rId2" Type="http://schemas.openxmlformats.org/officeDocument/2006/relationships/slideLayout" Target="../slideLayouts/slideLayout3.xml"/><Relationship Id="rId16" Type="http://schemas.openxmlformats.org/officeDocument/2006/relationships/vmlDrawing" Target="../drawings/vmlDrawing3.vml"/><Relationship Id="rId20"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5" Type="http://schemas.openxmlformats.org/officeDocument/2006/relationships/theme" Target="../theme/theme2.xml"/><Relationship Id="rId10" Type="http://schemas.openxmlformats.org/officeDocument/2006/relationships/slideLayout" Target="../slideLayouts/slideLayout11.xml"/><Relationship Id="rId19" Type="http://schemas.openxmlformats.org/officeDocument/2006/relationships/image" Target="../media/image1.emf"/><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18.vml"/><Relationship Id="rId7" Type="http://schemas.openxmlformats.org/officeDocument/2006/relationships/image" Target="../media/image6.jpeg"/><Relationship Id="rId2" Type="http://schemas.openxmlformats.org/officeDocument/2006/relationships/theme" Target="../theme/theme3.xml"/><Relationship Id="rId1" Type="http://schemas.openxmlformats.org/officeDocument/2006/relationships/slideLayout" Target="../slideLayouts/slideLayout16.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tags" Target="../tags/tag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38.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20.vml"/><Relationship Id="rId2" Type="http://schemas.openxmlformats.org/officeDocument/2006/relationships/slideLayout" Target="../slideLayouts/slideLayout18.xml"/><Relationship Id="rId16" Type="http://schemas.openxmlformats.org/officeDocument/2006/relationships/image" Target="../media/image4.png"/><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4.xml"/><Relationship Id="rId5" Type="http://schemas.openxmlformats.org/officeDocument/2006/relationships/slideLayout" Target="../slideLayouts/slideLayout21.xml"/><Relationship Id="rId15" Type="http://schemas.openxmlformats.org/officeDocument/2006/relationships/image" Target="../media/image1.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20.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4"/>
            </p:custDataLst>
          </p:nvPr>
        </p:nvGraphicFramePr>
        <p:xfrm>
          <a:off x="0" y="0"/>
          <a:ext cx="144318" cy="140074"/>
        </p:xfrm>
        <a:graphic>
          <a:graphicData uri="http://schemas.openxmlformats.org/presentationml/2006/ole">
            <mc:AlternateContent xmlns:mc="http://schemas.openxmlformats.org/markup-compatibility/2006">
              <mc:Choice xmlns:v="urn:schemas-microsoft-com:vml" Requires="v">
                <p:oleObj spid="_x0000_s461583" name="think-cell Slide" r:id="rId5" imgW="360" imgH="360" progId="TCLayout.ActiveDocument.1">
                  <p:embed/>
                </p:oleObj>
              </mc:Choice>
              <mc:Fallback>
                <p:oleObj name="think-cell Slide" r:id="rId5" imgW="360" imgH="360" progId="TCLayout.ActiveDocument.1">
                  <p:embed/>
                  <p:pic>
                    <p:nvPicPr>
                      <p:cNvPr id="0"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descr="PPT cover - Standard.jpg"/>
          <p:cNvPicPr>
            <a:picLocks noChangeAspect="1"/>
          </p:cNvPicPr>
          <p:nvPr/>
        </p:nvPicPr>
        <p:blipFill>
          <a:blip r:embed="rId7" cstate="print"/>
          <a:stretch>
            <a:fillRect/>
          </a:stretch>
        </p:blipFill>
        <p:spPr>
          <a:xfrm>
            <a:off x="36576" y="5074887"/>
            <a:ext cx="9070848" cy="1371600"/>
          </a:xfrm>
          <a:prstGeom prst="rect">
            <a:avLst/>
          </a:prstGeom>
        </p:spPr>
      </p:pic>
    </p:spTree>
  </p:cSld>
  <p:clrMap bg1="lt1" tx1="dk1" bg2="lt2" tx2="dk2" accent1="accent1" accent2="accent2" accent3="accent3" accent4="accent4" accent5="accent5" accent6="accent6" hlink="hlink" folHlink="folHlink"/>
  <p:sldLayoutIdLst>
    <p:sldLayoutId id="2147484246" r:id="rId1"/>
  </p:sldLayoutIdLst>
  <p:txStyles>
    <p:titleStyle>
      <a:lvl1pPr algn="ctr" defTabSz="820583" rtl="0" eaLnBrk="1" latinLnBrk="0" hangingPunct="1">
        <a:spcBef>
          <a:spcPct val="0"/>
        </a:spcBef>
        <a:buNone/>
        <a:defRPr sz="3900" kern="1200">
          <a:solidFill>
            <a:schemeClr val="tx1"/>
          </a:solidFill>
          <a:latin typeface="+mj-lt"/>
          <a:ea typeface="+mj-ea"/>
          <a:cs typeface="+mj-cs"/>
        </a:defRPr>
      </a:lvl1pPr>
    </p:titleStyle>
    <p:bodyStyle>
      <a:lvl1pPr marL="307718" indent="-307718" algn="l" defTabSz="820583"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66723" indent="-256432" algn="l" defTabSz="820583" rtl="0" eaLnBrk="1" latinLnBrk="0" hangingPunct="1">
        <a:spcBef>
          <a:spcPct val="20000"/>
        </a:spcBef>
        <a:buFont typeface="Arial" pitchFamily="34" charset="0"/>
        <a:buChar char="–"/>
        <a:defRPr sz="2500" kern="1200">
          <a:solidFill>
            <a:schemeClr val="tx1"/>
          </a:solidFill>
          <a:latin typeface="+mn-lt"/>
          <a:ea typeface="+mn-ea"/>
          <a:cs typeface="+mn-cs"/>
        </a:defRPr>
      </a:lvl2pPr>
      <a:lvl3pPr marL="1025728" indent="-205146" algn="l" defTabSz="820583"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36019" indent="-205146" algn="l" defTabSz="820583"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46311" indent="-205146" algn="l" defTabSz="820583"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256602" indent="-205146" algn="l" defTabSz="820583"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66893" indent="-205146" algn="l" defTabSz="820583"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77185" indent="-205146" algn="l" defTabSz="820583"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87476" indent="-205146" algn="l" defTabSz="820583"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en-US"/>
      </a:defPPr>
      <a:lvl1pPr marL="0" algn="l" defTabSz="820583" rtl="0" eaLnBrk="1" latinLnBrk="0" hangingPunct="1">
        <a:defRPr sz="1600" kern="1200">
          <a:solidFill>
            <a:schemeClr val="tx1"/>
          </a:solidFill>
          <a:latin typeface="+mn-lt"/>
          <a:ea typeface="+mn-ea"/>
          <a:cs typeface="+mn-cs"/>
        </a:defRPr>
      </a:lvl1pPr>
      <a:lvl2pPr marL="410291" algn="l" defTabSz="820583" rtl="0" eaLnBrk="1" latinLnBrk="0" hangingPunct="1">
        <a:defRPr sz="1600" kern="1200">
          <a:solidFill>
            <a:schemeClr val="tx1"/>
          </a:solidFill>
          <a:latin typeface="+mn-lt"/>
          <a:ea typeface="+mn-ea"/>
          <a:cs typeface="+mn-cs"/>
        </a:defRPr>
      </a:lvl2pPr>
      <a:lvl3pPr marL="820583" algn="l" defTabSz="820583" rtl="0" eaLnBrk="1" latinLnBrk="0" hangingPunct="1">
        <a:defRPr sz="1600" kern="1200">
          <a:solidFill>
            <a:schemeClr val="tx1"/>
          </a:solidFill>
          <a:latin typeface="+mn-lt"/>
          <a:ea typeface="+mn-ea"/>
          <a:cs typeface="+mn-cs"/>
        </a:defRPr>
      </a:lvl3pPr>
      <a:lvl4pPr marL="1230874" algn="l" defTabSz="820583" rtl="0" eaLnBrk="1" latinLnBrk="0" hangingPunct="1">
        <a:defRPr sz="1600" kern="1200">
          <a:solidFill>
            <a:schemeClr val="tx1"/>
          </a:solidFill>
          <a:latin typeface="+mn-lt"/>
          <a:ea typeface="+mn-ea"/>
          <a:cs typeface="+mn-cs"/>
        </a:defRPr>
      </a:lvl4pPr>
      <a:lvl5pPr marL="1641165" algn="l" defTabSz="820583" rtl="0" eaLnBrk="1" latinLnBrk="0" hangingPunct="1">
        <a:defRPr sz="1600" kern="1200">
          <a:solidFill>
            <a:schemeClr val="tx1"/>
          </a:solidFill>
          <a:latin typeface="+mn-lt"/>
          <a:ea typeface="+mn-ea"/>
          <a:cs typeface="+mn-cs"/>
        </a:defRPr>
      </a:lvl5pPr>
      <a:lvl6pPr marL="2051456" algn="l" defTabSz="820583" rtl="0" eaLnBrk="1" latinLnBrk="0" hangingPunct="1">
        <a:defRPr sz="1600" kern="1200">
          <a:solidFill>
            <a:schemeClr val="tx1"/>
          </a:solidFill>
          <a:latin typeface="+mn-lt"/>
          <a:ea typeface="+mn-ea"/>
          <a:cs typeface="+mn-cs"/>
        </a:defRPr>
      </a:lvl6pPr>
      <a:lvl7pPr marL="2461748" algn="l" defTabSz="820583" rtl="0" eaLnBrk="1" latinLnBrk="0" hangingPunct="1">
        <a:defRPr sz="1600" kern="1200">
          <a:solidFill>
            <a:schemeClr val="tx1"/>
          </a:solidFill>
          <a:latin typeface="+mn-lt"/>
          <a:ea typeface="+mn-ea"/>
          <a:cs typeface="+mn-cs"/>
        </a:defRPr>
      </a:lvl7pPr>
      <a:lvl8pPr marL="2872039" algn="l" defTabSz="820583" rtl="0" eaLnBrk="1" latinLnBrk="0" hangingPunct="1">
        <a:defRPr sz="1600" kern="1200">
          <a:solidFill>
            <a:schemeClr val="tx1"/>
          </a:solidFill>
          <a:latin typeface="+mn-lt"/>
          <a:ea typeface="+mn-ea"/>
          <a:cs typeface="+mn-cs"/>
        </a:defRPr>
      </a:lvl8pPr>
      <a:lvl9pPr marL="3282330" algn="l" defTabSz="820583" rtl="0" eaLnBrk="1" latinLnBrk="0" hangingPunct="1">
        <a:defRPr sz="1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7"/>
            </p:custDataLst>
            <p:extLst>
              <p:ext uri="{D42A27DB-BD31-4B8C-83A1-F6EECF244321}">
                <p14:modId xmlns:p14="http://schemas.microsoft.com/office/powerpoint/2010/main" val="3307069800"/>
              </p:ext>
            </p:extLst>
          </p:nvPr>
        </p:nvGraphicFramePr>
        <p:xfrm>
          <a:off x="0" y="0"/>
          <a:ext cx="144318" cy="140074"/>
        </p:xfrm>
        <a:graphic>
          <a:graphicData uri="http://schemas.openxmlformats.org/presentationml/2006/ole">
            <mc:AlternateContent xmlns:mc="http://schemas.openxmlformats.org/markup-compatibility/2006">
              <mc:Choice xmlns:v="urn:schemas-microsoft-com:vml" Requires="v">
                <p:oleObj spid="_x0000_s459598" name="think-cell Slide" r:id="rId18" imgW="360" imgH="360" progId="TCLayout.ActiveDocument.1">
                  <p:embed/>
                </p:oleObj>
              </mc:Choice>
              <mc:Fallback>
                <p:oleObj name="think-cell Slide" r:id="rId18" imgW="360" imgH="360" progId="TCLayout.ActiveDocument.1">
                  <p:embed/>
                  <p:pic>
                    <p:nvPicPr>
                      <p:cNvPr id="0" name="Picture 6"/>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0" y="0"/>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3" name="Picture 12" descr="Logo Color.png"/>
          <p:cNvPicPr/>
          <p:nvPr/>
        </p:nvPicPr>
        <p:blipFill>
          <a:blip r:embed="rId20" cstate="print"/>
          <a:stretch>
            <a:fillRect/>
          </a:stretch>
        </p:blipFill>
        <p:spPr>
          <a:xfrm>
            <a:off x="8063735" y="6537926"/>
            <a:ext cx="415205" cy="115226"/>
          </a:xfrm>
          <a:prstGeom prst="rect">
            <a:avLst/>
          </a:prstGeom>
        </p:spPr>
      </p:pic>
      <p:pic>
        <p:nvPicPr>
          <p:cNvPr id="18" name="Picture 17" descr="PPT strip 7.jpg"/>
          <p:cNvPicPr>
            <a:picLocks noChangeAspect="1"/>
          </p:cNvPicPr>
          <p:nvPr/>
        </p:nvPicPr>
        <p:blipFill>
          <a:blip r:embed="rId21" cstate="print"/>
          <a:stretch>
            <a:fillRect/>
          </a:stretch>
        </p:blipFill>
        <p:spPr>
          <a:xfrm>
            <a:off x="0" y="766511"/>
            <a:ext cx="9144000" cy="121024"/>
          </a:xfrm>
          <a:prstGeom prst="rect">
            <a:avLst/>
          </a:prstGeom>
        </p:spPr>
      </p:pic>
      <p:sp>
        <p:nvSpPr>
          <p:cNvPr id="6" name="TextBox 5"/>
          <p:cNvSpPr txBox="1"/>
          <p:nvPr/>
        </p:nvSpPr>
        <p:spPr>
          <a:xfrm>
            <a:off x="4322621" y="5042629"/>
            <a:ext cx="1828780" cy="322726"/>
          </a:xfrm>
          <a:prstGeom prst="rect">
            <a:avLst/>
          </a:prstGeom>
          <a:noFill/>
        </p:spPr>
        <p:txBody>
          <a:bodyPr wrap="square" lIns="0" tIns="0" rIns="0" bIns="0" rtlCol="0">
            <a:noAutofit/>
          </a:bodyPr>
          <a:lstStyle/>
          <a:p>
            <a:pPr marL="207995" indent="-207995"/>
            <a:endParaRPr lang="en-US" sz="1400" dirty="0" smtClean="0"/>
          </a:p>
        </p:txBody>
      </p:sp>
      <p:sp>
        <p:nvSpPr>
          <p:cNvPr id="9" name="Slide Number Placeholder 5"/>
          <p:cNvSpPr txBox="1">
            <a:spLocks/>
          </p:cNvSpPr>
          <p:nvPr/>
        </p:nvSpPr>
        <p:spPr>
          <a:xfrm>
            <a:off x="8046682" y="6425565"/>
            <a:ext cx="669999" cy="295239"/>
          </a:xfrm>
          <a:prstGeom prst="rect">
            <a:avLst/>
          </a:prstGeom>
        </p:spPr>
        <p:txBody>
          <a:bodyPr vert="horz" lIns="0" tIns="0" rIns="0" bIns="0" rtlCol="0" anchor="ctr"/>
          <a:lstStyle>
            <a:lvl1pPr algn="r">
              <a:defRPr sz="1200">
                <a:solidFill>
                  <a:schemeClr val="tx1">
                    <a:tint val="75000"/>
                  </a:schemeClr>
                </a:solidFill>
              </a:defRPr>
            </a:lvl1pPr>
          </a:lstStyle>
          <a:p>
            <a:pPr marL="0" marR="0" lvl="0" indent="0" algn="r" defTabSz="914293" rtl="0" eaLnBrk="1" fontAlgn="auto" latinLnBrk="0" hangingPunct="1">
              <a:lnSpc>
                <a:spcPct val="100000"/>
              </a:lnSpc>
              <a:spcBef>
                <a:spcPts val="0"/>
              </a:spcBef>
              <a:spcAft>
                <a:spcPts val="0"/>
              </a:spcAft>
              <a:buClrTx/>
              <a:buSzTx/>
              <a:buFontTx/>
              <a:buNone/>
              <a:tabLst/>
              <a:defRPr/>
            </a:pPr>
            <a:fld id="{FA26E27B-9644-4D47-9CB9-4DAD21E549BD}" type="slidenum">
              <a:rPr kumimoji="0" lang="en-US" sz="900" b="0" i="0" u="none" strike="noStrike" kern="1200" cap="none" spc="0" normalizeH="0" baseline="0" noProof="0" smtClean="0">
                <a:ln>
                  <a:noFill/>
                </a:ln>
                <a:solidFill>
                  <a:schemeClr val="tx2"/>
                </a:solidFill>
                <a:effectLst/>
                <a:uLnTx/>
                <a:uFillTx/>
                <a:latin typeface="+mn-lt"/>
                <a:ea typeface="+mn-ea"/>
                <a:cs typeface="+mn-cs"/>
              </a:rPr>
              <a:pPr marL="0" marR="0" lvl="0" indent="0" algn="r" defTabSz="91429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2"/>
              </a:solidFill>
              <a:effectLst/>
              <a:uLnTx/>
              <a:uFillTx/>
              <a:latin typeface="+mn-lt"/>
              <a:ea typeface="+mn-ea"/>
              <a:cs typeface="+mn-cs"/>
            </a:endParaRPr>
          </a:p>
        </p:txBody>
      </p:sp>
    </p:spTree>
  </p:cSld>
  <p:clrMap bg1="lt1" tx1="dk1" bg2="lt2" tx2="dk2" accent1="accent1" accent2="accent2" accent3="accent3" accent4="accent4" accent5="accent5" accent6="accent6" hlink="hlink" folHlink="folHlink"/>
  <p:sldLayoutIdLst>
    <p:sldLayoutId id="2147484250" r:id="rId1"/>
    <p:sldLayoutId id="2147484251" r:id="rId2"/>
    <p:sldLayoutId id="2147484038" r:id="rId3"/>
    <p:sldLayoutId id="2147484045" r:id="rId4"/>
    <p:sldLayoutId id="2147484077" r:id="rId5"/>
    <p:sldLayoutId id="2147484116" r:id="rId6"/>
    <p:sldLayoutId id="2147484258" r:id="rId7"/>
    <p:sldLayoutId id="2147484255" r:id="rId8"/>
    <p:sldLayoutId id="2147484259" r:id="rId9"/>
    <p:sldLayoutId id="2147484263" r:id="rId10"/>
    <p:sldLayoutId id="2147484205" r:id="rId11"/>
    <p:sldLayoutId id="2147484207" r:id="rId12"/>
    <p:sldLayoutId id="2147484211" r:id="rId13"/>
    <p:sldLayoutId id="2147484048" r:id="rId14"/>
  </p:sldLayoutIdLst>
  <p:hf hdr="0" ftr="0" dt="0"/>
  <p:txStyles>
    <p:titleStyle>
      <a:lvl1pPr algn="l" defTabSz="914293" rtl="0" eaLnBrk="1" latinLnBrk="0" hangingPunct="1">
        <a:spcBef>
          <a:spcPct val="0"/>
        </a:spcBef>
        <a:buNone/>
        <a:defRPr sz="2300" b="1" kern="1200">
          <a:solidFill>
            <a:schemeClr val="tx2"/>
          </a:solidFill>
          <a:latin typeface="+mj-lt"/>
          <a:ea typeface="+mj-ea"/>
          <a:cs typeface="+mj-cs"/>
        </a:defRPr>
      </a:lvl1pPr>
    </p:titleStyle>
    <p:body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93" rtl="0" eaLnBrk="1" latinLnBrk="0" hangingPunct="1">
        <a:defRPr sz="1800" kern="1200">
          <a:solidFill>
            <a:schemeClr val="tx1"/>
          </a:solidFill>
          <a:latin typeface="+mn-lt"/>
          <a:ea typeface="+mn-ea"/>
          <a:cs typeface="+mn-cs"/>
        </a:defRPr>
      </a:lvl1pPr>
      <a:lvl2pPr marL="457146" algn="l" defTabSz="914293" rtl="0" eaLnBrk="1" latinLnBrk="0" hangingPunct="1">
        <a:defRPr sz="1800" kern="1200">
          <a:solidFill>
            <a:schemeClr val="tx1"/>
          </a:solidFill>
          <a:latin typeface="+mn-lt"/>
          <a:ea typeface="+mn-ea"/>
          <a:cs typeface="+mn-cs"/>
        </a:defRPr>
      </a:lvl2pPr>
      <a:lvl3pPr marL="914293" algn="l" defTabSz="914293" rtl="0" eaLnBrk="1" latinLnBrk="0" hangingPunct="1">
        <a:defRPr sz="1800" kern="1200">
          <a:solidFill>
            <a:schemeClr val="tx1"/>
          </a:solidFill>
          <a:latin typeface="+mn-lt"/>
          <a:ea typeface="+mn-ea"/>
          <a:cs typeface="+mn-cs"/>
        </a:defRPr>
      </a:lvl3pPr>
      <a:lvl4pPr marL="1371440" algn="l" defTabSz="914293" rtl="0" eaLnBrk="1" latinLnBrk="0" hangingPunct="1">
        <a:defRPr sz="1800" kern="1200">
          <a:solidFill>
            <a:schemeClr val="tx1"/>
          </a:solidFill>
          <a:latin typeface="+mn-lt"/>
          <a:ea typeface="+mn-ea"/>
          <a:cs typeface="+mn-cs"/>
        </a:defRPr>
      </a:lvl4pPr>
      <a:lvl5pPr marL="1828586" algn="l" defTabSz="914293" rtl="0" eaLnBrk="1" latinLnBrk="0" hangingPunct="1">
        <a:defRPr sz="1800" kern="1200">
          <a:solidFill>
            <a:schemeClr val="tx1"/>
          </a:solidFill>
          <a:latin typeface="+mn-lt"/>
          <a:ea typeface="+mn-ea"/>
          <a:cs typeface="+mn-cs"/>
        </a:defRPr>
      </a:lvl5pPr>
      <a:lvl6pPr marL="2285733" algn="l" defTabSz="914293" rtl="0" eaLnBrk="1" latinLnBrk="0" hangingPunct="1">
        <a:defRPr sz="1800" kern="1200">
          <a:solidFill>
            <a:schemeClr val="tx1"/>
          </a:solidFill>
          <a:latin typeface="+mn-lt"/>
          <a:ea typeface="+mn-ea"/>
          <a:cs typeface="+mn-cs"/>
        </a:defRPr>
      </a:lvl6pPr>
      <a:lvl7pPr marL="2742879" algn="l" defTabSz="914293" rtl="0" eaLnBrk="1" latinLnBrk="0" hangingPunct="1">
        <a:defRPr sz="1800" kern="1200">
          <a:solidFill>
            <a:schemeClr val="tx1"/>
          </a:solidFill>
          <a:latin typeface="+mn-lt"/>
          <a:ea typeface="+mn-ea"/>
          <a:cs typeface="+mn-cs"/>
        </a:defRPr>
      </a:lvl7pPr>
      <a:lvl8pPr marL="3200026" algn="l" defTabSz="914293" rtl="0" eaLnBrk="1" latinLnBrk="0" hangingPunct="1">
        <a:defRPr sz="1800" kern="1200">
          <a:solidFill>
            <a:schemeClr val="tx1"/>
          </a:solidFill>
          <a:latin typeface="+mn-lt"/>
          <a:ea typeface="+mn-ea"/>
          <a:cs typeface="+mn-cs"/>
        </a:defRPr>
      </a:lvl8pPr>
      <a:lvl9pPr marL="3657172" algn="l" defTabSz="91429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4"/>
            </p:custDataLst>
          </p:nvPr>
        </p:nvGraphicFramePr>
        <p:xfrm>
          <a:off x="0" y="0"/>
          <a:ext cx="144318" cy="140074"/>
        </p:xfrm>
        <a:graphic>
          <a:graphicData uri="http://schemas.openxmlformats.org/presentationml/2006/ole">
            <mc:AlternateContent xmlns:mc="http://schemas.openxmlformats.org/markup-compatibility/2006">
              <mc:Choice xmlns:v="urn:schemas-microsoft-com:vml" Requires="v">
                <p:oleObj spid="_x0000_s652049" name="think-cell Slide" r:id="rId5" imgW="360" imgH="360" progId="TCLayout.ActiveDocument.1">
                  <p:embed/>
                </p:oleObj>
              </mc:Choice>
              <mc:Fallback>
                <p:oleObj name="think-cell Slide" r:id="rId5" imgW="360" imgH="360" progId="TCLayout.ActiveDocument.1">
                  <p:embed/>
                  <p:pic>
                    <p:nvPicPr>
                      <p:cNvPr id="0"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4" descr="PPT cover - Board.jpg"/>
          <p:cNvPicPr>
            <a:picLocks noChangeAspect="1"/>
          </p:cNvPicPr>
          <p:nvPr/>
        </p:nvPicPr>
        <p:blipFill>
          <a:blip r:embed="rId7" cstate="print"/>
          <a:stretch>
            <a:fillRect/>
          </a:stretch>
        </p:blipFill>
        <p:spPr>
          <a:xfrm>
            <a:off x="0" y="0"/>
            <a:ext cx="9144000" cy="1886712"/>
          </a:xfrm>
          <a:prstGeom prst="rect">
            <a:avLst/>
          </a:prstGeom>
        </p:spPr>
      </p:pic>
    </p:spTree>
  </p:cSld>
  <p:clrMap bg1="lt1" tx1="dk1" bg2="lt2" tx2="dk2" accent1="accent1" accent2="accent2" accent3="accent3" accent4="accent4" accent5="accent5" accent6="accent6" hlink="hlink" folHlink="folHlink"/>
  <p:sldLayoutIdLst>
    <p:sldLayoutId id="2147484223" r:id="rId1"/>
  </p:sldLayoutIdLst>
  <p:hf hdr="0" ftr="0" dt="0"/>
  <p:txStyles>
    <p:titleStyle>
      <a:lvl1pPr algn="ctr" defTabSz="914293" rtl="0" eaLnBrk="1" latinLnBrk="0" hangingPunct="1">
        <a:spcBef>
          <a:spcPct val="0"/>
        </a:spcBef>
        <a:buNone/>
        <a:defRPr sz="4400" kern="1200">
          <a:solidFill>
            <a:schemeClr val="tx1"/>
          </a:solidFill>
          <a:latin typeface="+mj-lt"/>
          <a:ea typeface="+mj-ea"/>
          <a:cs typeface="+mj-cs"/>
        </a:defRPr>
      </a:lvl1pPr>
    </p:titleStyle>
    <p:bodyStyle>
      <a:lvl1pPr marL="342860" indent="-342860" algn="l" defTabSz="914293"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863" indent="-285717" algn="l" defTabSz="914293"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867" indent="-228573" algn="l" defTabSz="914293"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01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93" rtl="0" eaLnBrk="1" latinLnBrk="0" hangingPunct="1">
        <a:defRPr sz="1800" kern="1200">
          <a:solidFill>
            <a:schemeClr val="tx1"/>
          </a:solidFill>
          <a:latin typeface="+mn-lt"/>
          <a:ea typeface="+mn-ea"/>
          <a:cs typeface="+mn-cs"/>
        </a:defRPr>
      </a:lvl1pPr>
      <a:lvl2pPr marL="457146" algn="l" defTabSz="914293" rtl="0" eaLnBrk="1" latinLnBrk="0" hangingPunct="1">
        <a:defRPr sz="1800" kern="1200">
          <a:solidFill>
            <a:schemeClr val="tx1"/>
          </a:solidFill>
          <a:latin typeface="+mn-lt"/>
          <a:ea typeface="+mn-ea"/>
          <a:cs typeface="+mn-cs"/>
        </a:defRPr>
      </a:lvl2pPr>
      <a:lvl3pPr marL="914293" algn="l" defTabSz="914293" rtl="0" eaLnBrk="1" latinLnBrk="0" hangingPunct="1">
        <a:defRPr sz="1800" kern="1200">
          <a:solidFill>
            <a:schemeClr val="tx1"/>
          </a:solidFill>
          <a:latin typeface="+mn-lt"/>
          <a:ea typeface="+mn-ea"/>
          <a:cs typeface="+mn-cs"/>
        </a:defRPr>
      </a:lvl3pPr>
      <a:lvl4pPr marL="1371440" algn="l" defTabSz="914293" rtl="0" eaLnBrk="1" latinLnBrk="0" hangingPunct="1">
        <a:defRPr sz="1800" kern="1200">
          <a:solidFill>
            <a:schemeClr val="tx1"/>
          </a:solidFill>
          <a:latin typeface="+mn-lt"/>
          <a:ea typeface="+mn-ea"/>
          <a:cs typeface="+mn-cs"/>
        </a:defRPr>
      </a:lvl4pPr>
      <a:lvl5pPr marL="1828586" algn="l" defTabSz="914293" rtl="0" eaLnBrk="1" latinLnBrk="0" hangingPunct="1">
        <a:defRPr sz="1800" kern="1200">
          <a:solidFill>
            <a:schemeClr val="tx1"/>
          </a:solidFill>
          <a:latin typeface="+mn-lt"/>
          <a:ea typeface="+mn-ea"/>
          <a:cs typeface="+mn-cs"/>
        </a:defRPr>
      </a:lvl5pPr>
      <a:lvl6pPr marL="2285733" algn="l" defTabSz="914293" rtl="0" eaLnBrk="1" latinLnBrk="0" hangingPunct="1">
        <a:defRPr sz="1800" kern="1200">
          <a:solidFill>
            <a:schemeClr val="tx1"/>
          </a:solidFill>
          <a:latin typeface="+mn-lt"/>
          <a:ea typeface="+mn-ea"/>
          <a:cs typeface="+mn-cs"/>
        </a:defRPr>
      </a:lvl6pPr>
      <a:lvl7pPr marL="2742879" algn="l" defTabSz="914293" rtl="0" eaLnBrk="1" latinLnBrk="0" hangingPunct="1">
        <a:defRPr sz="1800" kern="1200">
          <a:solidFill>
            <a:schemeClr val="tx1"/>
          </a:solidFill>
          <a:latin typeface="+mn-lt"/>
          <a:ea typeface="+mn-ea"/>
          <a:cs typeface="+mn-cs"/>
        </a:defRPr>
      </a:lvl7pPr>
      <a:lvl8pPr marL="3200026" algn="l" defTabSz="914293" rtl="0" eaLnBrk="1" latinLnBrk="0" hangingPunct="1">
        <a:defRPr sz="1800" kern="1200">
          <a:solidFill>
            <a:schemeClr val="tx1"/>
          </a:solidFill>
          <a:latin typeface="+mn-lt"/>
          <a:ea typeface="+mn-ea"/>
          <a:cs typeface="+mn-cs"/>
        </a:defRPr>
      </a:lvl8pPr>
      <a:lvl9pPr marL="3657172" algn="l" defTabSz="91429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3"/>
            </p:custDataLst>
          </p:nvPr>
        </p:nvGraphicFramePr>
        <p:xfrm>
          <a:off x="0" y="3"/>
          <a:ext cx="144318" cy="140074"/>
        </p:xfrm>
        <a:graphic>
          <a:graphicData uri="http://schemas.openxmlformats.org/presentationml/2006/ole">
            <mc:AlternateContent xmlns:mc="http://schemas.openxmlformats.org/markup-compatibility/2006">
              <mc:Choice xmlns:v="urn:schemas-microsoft-com:vml" Requires="v">
                <p:oleObj spid="_x0000_s289553" name="think-cell Slide" r:id="rId14" imgW="360" imgH="360" progId="TCLayout.ActiveDocument.1">
                  <p:embed/>
                </p:oleObj>
              </mc:Choice>
              <mc:Fallback>
                <p:oleObj name="think-cell Slide" r:id="rId14" imgW="360" imgH="360" progId="TCLayout.ActiveDocument.1">
                  <p:embed/>
                  <p:pic>
                    <p:nvPicPr>
                      <p:cNvPr id="0" name="Picture 6"/>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3"/>
                        <a:ext cx="144318"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2" name="Picture 11" descr="Logo Color.png"/>
          <p:cNvPicPr/>
          <p:nvPr/>
        </p:nvPicPr>
        <p:blipFill>
          <a:blip r:embed="rId16" cstate="print"/>
          <a:stretch>
            <a:fillRect/>
          </a:stretch>
        </p:blipFill>
        <p:spPr>
          <a:xfrm>
            <a:off x="7869837" y="6467778"/>
            <a:ext cx="609103" cy="169036"/>
          </a:xfrm>
          <a:prstGeom prst="rect">
            <a:avLst/>
          </a:prstGeom>
        </p:spPr>
      </p:pic>
      <p:sp>
        <p:nvSpPr>
          <p:cNvPr id="10" name="Rectangle 9"/>
          <p:cNvSpPr/>
          <p:nvPr/>
        </p:nvSpPr>
        <p:spPr>
          <a:xfrm>
            <a:off x="0" y="1"/>
            <a:ext cx="9144000" cy="949591"/>
          </a:xfrm>
          <a:prstGeom prst="rect">
            <a:avLst/>
          </a:prstGeom>
          <a:solidFill>
            <a:srgbClr val="67103F"/>
          </a:solidFill>
          <a:ln>
            <a:noFill/>
          </a:ln>
        </p:spPr>
        <p:style>
          <a:lnRef idx="2">
            <a:schemeClr val="accent1">
              <a:shade val="50000"/>
            </a:schemeClr>
          </a:lnRef>
          <a:fillRef idx="1">
            <a:schemeClr val="accent1"/>
          </a:fillRef>
          <a:effectRef idx="0">
            <a:schemeClr val="accent1"/>
          </a:effectRef>
          <a:fontRef idx="minor">
            <a:schemeClr val="lt1"/>
          </a:fontRef>
        </p:style>
        <p:txBody>
          <a:bodyPr lIns="91387" tIns="45693" rIns="91387" bIns="45693" rtlCol="0" anchor="ctr"/>
          <a:lstStyle/>
          <a:p>
            <a:pPr algn="ctr"/>
            <a:endParaRPr lang="en-US" dirty="0"/>
          </a:p>
        </p:txBody>
      </p:sp>
      <p:sp>
        <p:nvSpPr>
          <p:cNvPr id="18" name="Slide Number Placeholder 5"/>
          <p:cNvSpPr txBox="1">
            <a:spLocks/>
          </p:cNvSpPr>
          <p:nvPr/>
        </p:nvSpPr>
        <p:spPr>
          <a:xfrm>
            <a:off x="6678422" y="6355048"/>
            <a:ext cx="2133023" cy="365592"/>
          </a:xfrm>
          <a:prstGeom prst="rect">
            <a:avLst/>
          </a:prstGeom>
        </p:spPr>
        <p:txBody>
          <a:bodyPr vert="horz" lIns="82058" tIns="41029" rIns="82058" bIns="41029" rtlCol="0" anchor="ctr"/>
          <a:lstStyle>
            <a:lvl1pPr algn="r">
              <a:defRPr sz="1200">
                <a:solidFill>
                  <a:schemeClr val="tx1">
                    <a:tint val="75000"/>
                  </a:schemeClr>
                </a:solidFill>
              </a:defRPr>
            </a:lvl1pPr>
          </a:lstStyle>
          <a:p>
            <a:pPr marL="0" marR="0" lvl="0" indent="0" algn="r" defTabSz="914293" rtl="0" eaLnBrk="1" fontAlgn="auto" latinLnBrk="0" hangingPunct="1">
              <a:lnSpc>
                <a:spcPct val="100000"/>
              </a:lnSpc>
              <a:spcBef>
                <a:spcPts val="0"/>
              </a:spcBef>
              <a:spcAft>
                <a:spcPts val="0"/>
              </a:spcAft>
              <a:buClrTx/>
              <a:buSzTx/>
              <a:buFontTx/>
              <a:buNone/>
              <a:tabLst/>
              <a:defRPr/>
            </a:pPr>
            <a:fld id="{FA26E27B-9644-4D47-9CB9-4DAD21E549BD}" type="slidenum">
              <a:rPr kumimoji="0" lang="en-US" sz="1000" b="0" i="0" u="none" strike="noStrike" kern="1200" cap="none" spc="0" normalizeH="0" baseline="0" noProof="0" smtClean="0">
                <a:ln>
                  <a:noFill/>
                </a:ln>
                <a:solidFill>
                  <a:schemeClr val="tx2"/>
                </a:solidFill>
                <a:effectLst/>
                <a:uLnTx/>
                <a:uFillTx/>
                <a:latin typeface="+mn-lt"/>
                <a:ea typeface="+mn-ea"/>
                <a:cs typeface="+mn-cs"/>
              </a:rPr>
              <a:pPr marL="0" marR="0" lvl="0" indent="0" algn="r" defTabSz="914293"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chemeClr val="tx2"/>
              </a:solidFill>
              <a:effectLst/>
              <a:uLnTx/>
              <a:uFillTx/>
              <a:latin typeface="+mn-lt"/>
              <a:ea typeface="+mn-ea"/>
              <a:cs typeface="+mn-cs"/>
            </a:endParaRPr>
          </a:p>
        </p:txBody>
      </p:sp>
    </p:spTree>
  </p:cSld>
  <p:clrMap bg1="lt1" tx1="dk1" bg2="lt2" tx2="dk2" accent1="accent1" accent2="accent2" accent3="accent3" accent4="accent4" accent5="accent5" accent6="accent6" hlink="hlink" folHlink="folHlink"/>
  <p:sldLayoutIdLst>
    <p:sldLayoutId id="2147484252" r:id="rId1"/>
    <p:sldLayoutId id="2147484253" r:id="rId2"/>
    <p:sldLayoutId id="2147483949" r:id="rId3"/>
    <p:sldLayoutId id="2147484227" r:id="rId4"/>
    <p:sldLayoutId id="2147484257" r:id="rId5"/>
    <p:sldLayoutId id="2147484260" r:id="rId6"/>
    <p:sldLayoutId id="2147484262" r:id="rId7"/>
    <p:sldLayoutId id="2147484026" r:id="rId8"/>
    <p:sldLayoutId id="2147484027" r:id="rId9"/>
    <p:sldLayoutId id="2147484256" r:id="rId10"/>
  </p:sldLayoutIdLst>
  <p:txStyles>
    <p:titleStyle>
      <a:lvl1pPr algn="ctr" defTabSz="820199" rtl="0" eaLnBrk="1" latinLnBrk="0" hangingPunct="1">
        <a:spcBef>
          <a:spcPct val="0"/>
        </a:spcBef>
        <a:buNone/>
        <a:defRPr sz="3900" kern="1200">
          <a:solidFill>
            <a:schemeClr val="tx1"/>
          </a:solidFill>
          <a:latin typeface="+mj-lt"/>
          <a:ea typeface="+mj-ea"/>
          <a:cs typeface="+mj-cs"/>
        </a:defRPr>
      </a:lvl1pPr>
    </p:titleStyle>
    <p:bodyStyle>
      <a:lvl1pPr marL="307574" indent="-307574" algn="l" defTabSz="820199" rtl="0" eaLnBrk="1" latinLnBrk="0" hangingPunct="1">
        <a:spcBef>
          <a:spcPct val="20000"/>
        </a:spcBef>
        <a:buFont typeface="Arial" pitchFamily="34" charset="0"/>
        <a:buChar char="•"/>
        <a:defRPr sz="2900" kern="1200">
          <a:solidFill>
            <a:schemeClr val="tx1"/>
          </a:solidFill>
          <a:latin typeface="+mn-lt"/>
          <a:ea typeface="+mn-ea"/>
          <a:cs typeface="+mn-cs"/>
        </a:defRPr>
      </a:lvl1pPr>
      <a:lvl2pPr marL="666411" indent="-256312" algn="l" defTabSz="820199" rtl="0" eaLnBrk="1" latinLnBrk="0" hangingPunct="1">
        <a:spcBef>
          <a:spcPct val="20000"/>
        </a:spcBef>
        <a:buFont typeface="Arial" pitchFamily="34" charset="0"/>
        <a:buChar char="–"/>
        <a:defRPr sz="2500" kern="1200">
          <a:solidFill>
            <a:schemeClr val="tx1"/>
          </a:solidFill>
          <a:latin typeface="+mn-lt"/>
          <a:ea typeface="+mn-ea"/>
          <a:cs typeface="+mn-cs"/>
        </a:defRPr>
      </a:lvl2pPr>
      <a:lvl3pPr marL="1025248" indent="-205050" algn="l" defTabSz="820199" rtl="0" eaLnBrk="1" latinLnBrk="0" hangingPunct="1">
        <a:spcBef>
          <a:spcPct val="20000"/>
        </a:spcBef>
        <a:buFont typeface="Arial" pitchFamily="34" charset="0"/>
        <a:buChar char="•"/>
        <a:defRPr sz="2200" kern="1200">
          <a:solidFill>
            <a:schemeClr val="tx1"/>
          </a:solidFill>
          <a:latin typeface="+mn-lt"/>
          <a:ea typeface="+mn-ea"/>
          <a:cs typeface="+mn-cs"/>
        </a:defRPr>
      </a:lvl3pPr>
      <a:lvl4pPr marL="1435347" indent="-205050" algn="l" defTabSz="820199"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1845447" indent="-205050" algn="l" defTabSz="820199"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255548" indent="-205050" algn="l" defTabSz="820199"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665646" indent="-205050" algn="l" defTabSz="820199"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075749" indent="-205050" algn="l" defTabSz="820199"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485845" indent="-205050" algn="l" defTabSz="820199" rtl="0" eaLnBrk="1" latinLnBrk="0" hangingPunct="1">
        <a:spcBef>
          <a:spcPct val="20000"/>
        </a:spcBef>
        <a:buFont typeface="Arial" pitchFamily="34" charset="0"/>
        <a:buChar char="•"/>
        <a:defRPr sz="1800" kern="1200">
          <a:solidFill>
            <a:schemeClr val="tx1"/>
          </a:solidFill>
          <a:latin typeface="+mn-lt"/>
          <a:ea typeface="+mn-ea"/>
          <a:cs typeface="+mn-cs"/>
        </a:defRPr>
      </a:lvl9pPr>
    </p:bodyStyle>
    <p:otherStyle>
      <a:defPPr>
        <a:defRPr lang="en-US"/>
      </a:defPPr>
      <a:lvl1pPr marL="0" algn="l" defTabSz="820199" rtl="0" eaLnBrk="1" latinLnBrk="0" hangingPunct="1">
        <a:defRPr sz="1600" kern="1200">
          <a:solidFill>
            <a:schemeClr val="tx1"/>
          </a:solidFill>
          <a:latin typeface="+mn-lt"/>
          <a:ea typeface="+mn-ea"/>
          <a:cs typeface="+mn-cs"/>
        </a:defRPr>
      </a:lvl1pPr>
      <a:lvl2pPr marL="410099" algn="l" defTabSz="820199" rtl="0" eaLnBrk="1" latinLnBrk="0" hangingPunct="1">
        <a:defRPr sz="1600" kern="1200">
          <a:solidFill>
            <a:schemeClr val="tx1"/>
          </a:solidFill>
          <a:latin typeface="+mn-lt"/>
          <a:ea typeface="+mn-ea"/>
          <a:cs typeface="+mn-cs"/>
        </a:defRPr>
      </a:lvl2pPr>
      <a:lvl3pPr marL="820199" algn="l" defTabSz="820199" rtl="0" eaLnBrk="1" latinLnBrk="0" hangingPunct="1">
        <a:defRPr sz="1600" kern="1200">
          <a:solidFill>
            <a:schemeClr val="tx1"/>
          </a:solidFill>
          <a:latin typeface="+mn-lt"/>
          <a:ea typeface="+mn-ea"/>
          <a:cs typeface="+mn-cs"/>
        </a:defRPr>
      </a:lvl3pPr>
      <a:lvl4pPr marL="1230298" algn="l" defTabSz="820199" rtl="0" eaLnBrk="1" latinLnBrk="0" hangingPunct="1">
        <a:defRPr sz="1600" kern="1200">
          <a:solidFill>
            <a:schemeClr val="tx1"/>
          </a:solidFill>
          <a:latin typeface="+mn-lt"/>
          <a:ea typeface="+mn-ea"/>
          <a:cs typeface="+mn-cs"/>
        </a:defRPr>
      </a:lvl4pPr>
      <a:lvl5pPr marL="1640397" algn="l" defTabSz="820199" rtl="0" eaLnBrk="1" latinLnBrk="0" hangingPunct="1">
        <a:defRPr sz="1600" kern="1200">
          <a:solidFill>
            <a:schemeClr val="tx1"/>
          </a:solidFill>
          <a:latin typeface="+mn-lt"/>
          <a:ea typeface="+mn-ea"/>
          <a:cs typeface="+mn-cs"/>
        </a:defRPr>
      </a:lvl5pPr>
      <a:lvl6pPr marL="2050496" algn="l" defTabSz="820199" rtl="0" eaLnBrk="1" latinLnBrk="0" hangingPunct="1">
        <a:defRPr sz="1600" kern="1200">
          <a:solidFill>
            <a:schemeClr val="tx1"/>
          </a:solidFill>
          <a:latin typeface="+mn-lt"/>
          <a:ea typeface="+mn-ea"/>
          <a:cs typeface="+mn-cs"/>
        </a:defRPr>
      </a:lvl6pPr>
      <a:lvl7pPr marL="2460597" algn="l" defTabSz="820199" rtl="0" eaLnBrk="1" latinLnBrk="0" hangingPunct="1">
        <a:defRPr sz="1600" kern="1200">
          <a:solidFill>
            <a:schemeClr val="tx1"/>
          </a:solidFill>
          <a:latin typeface="+mn-lt"/>
          <a:ea typeface="+mn-ea"/>
          <a:cs typeface="+mn-cs"/>
        </a:defRPr>
      </a:lvl7pPr>
      <a:lvl8pPr marL="2870696" algn="l" defTabSz="820199" rtl="0" eaLnBrk="1" latinLnBrk="0" hangingPunct="1">
        <a:defRPr sz="1600" kern="1200">
          <a:solidFill>
            <a:schemeClr val="tx1"/>
          </a:solidFill>
          <a:latin typeface="+mn-lt"/>
          <a:ea typeface="+mn-ea"/>
          <a:cs typeface="+mn-cs"/>
        </a:defRPr>
      </a:lvl8pPr>
      <a:lvl9pPr marL="3280795" algn="l" defTabSz="820199"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178.xml"/><Relationship Id="rId13" Type="http://schemas.openxmlformats.org/officeDocument/2006/relationships/tags" Target="../tags/tag183.xml"/><Relationship Id="rId18" Type="http://schemas.openxmlformats.org/officeDocument/2006/relationships/image" Target="../media/image1.emf"/><Relationship Id="rId3" Type="http://schemas.openxmlformats.org/officeDocument/2006/relationships/tags" Target="../tags/tag173.xml"/><Relationship Id="rId7" Type="http://schemas.openxmlformats.org/officeDocument/2006/relationships/tags" Target="../tags/tag177.xml"/><Relationship Id="rId12" Type="http://schemas.openxmlformats.org/officeDocument/2006/relationships/tags" Target="../tags/tag182.xml"/><Relationship Id="rId17" Type="http://schemas.openxmlformats.org/officeDocument/2006/relationships/oleObject" Target="../embeddings/oleObject41.bin"/><Relationship Id="rId2" Type="http://schemas.openxmlformats.org/officeDocument/2006/relationships/tags" Target="../tags/tag172.xml"/><Relationship Id="rId16" Type="http://schemas.openxmlformats.org/officeDocument/2006/relationships/slideLayout" Target="../slideLayouts/slideLayout4.xml"/><Relationship Id="rId20" Type="http://schemas.openxmlformats.org/officeDocument/2006/relationships/image" Target="../media/image21.emf"/><Relationship Id="rId1" Type="http://schemas.openxmlformats.org/officeDocument/2006/relationships/vmlDrawing" Target="../drawings/vmlDrawing36.vml"/><Relationship Id="rId6" Type="http://schemas.openxmlformats.org/officeDocument/2006/relationships/tags" Target="../tags/tag176.xml"/><Relationship Id="rId11" Type="http://schemas.openxmlformats.org/officeDocument/2006/relationships/tags" Target="../tags/tag181.xml"/><Relationship Id="rId5" Type="http://schemas.openxmlformats.org/officeDocument/2006/relationships/tags" Target="../tags/tag175.xml"/><Relationship Id="rId15" Type="http://schemas.openxmlformats.org/officeDocument/2006/relationships/tags" Target="../tags/tag185.xml"/><Relationship Id="rId10" Type="http://schemas.openxmlformats.org/officeDocument/2006/relationships/tags" Target="../tags/tag180.xml"/><Relationship Id="rId19" Type="http://schemas.openxmlformats.org/officeDocument/2006/relationships/oleObject" Target="../embeddings/oleObject42.bin"/><Relationship Id="rId4" Type="http://schemas.openxmlformats.org/officeDocument/2006/relationships/tags" Target="../tags/tag174.xml"/><Relationship Id="rId9" Type="http://schemas.openxmlformats.org/officeDocument/2006/relationships/tags" Target="../tags/tag179.xml"/><Relationship Id="rId14" Type="http://schemas.openxmlformats.org/officeDocument/2006/relationships/tags" Target="../tags/tag184.xml"/></Relationships>
</file>

<file path=ppt/slides/_rels/slide11.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4.xml"/><Relationship Id="rId7" Type="http://schemas.openxmlformats.org/officeDocument/2006/relationships/image" Target="../media/image23.png"/><Relationship Id="rId2" Type="http://schemas.openxmlformats.org/officeDocument/2006/relationships/tags" Target="../tags/tag186.xml"/><Relationship Id="rId1" Type="http://schemas.openxmlformats.org/officeDocument/2006/relationships/vmlDrawing" Target="../drawings/vmlDrawing37.v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43.bin"/><Relationship Id="rId9" Type="http://schemas.openxmlformats.org/officeDocument/2006/relationships/image" Target="../media/image25.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87.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44.bin"/></Relationships>
</file>

<file path=ppt/slides/_rels/slide13.xml.rels><?xml version="1.0" encoding="UTF-8" standalone="yes"?>
<Relationships xmlns="http://schemas.openxmlformats.org/package/2006/relationships"><Relationship Id="rId8" Type="http://schemas.openxmlformats.org/officeDocument/2006/relationships/tags" Target="../tags/tag194.xml"/><Relationship Id="rId13" Type="http://schemas.openxmlformats.org/officeDocument/2006/relationships/tags" Target="../tags/tag199.xml"/><Relationship Id="rId18" Type="http://schemas.openxmlformats.org/officeDocument/2006/relationships/tags" Target="../tags/tag204.xml"/><Relationship Id="rId3" Type="http://schemas.openxmlformats.org/officeDocument/2006/relationships/tags" Target="../tags/tag189.xml"/><Relationship Id="rId21" Type="http://schemas.openxmlformats.org/officeDocument/2006/relationships/oleObject" Target="../embeddings/oleObject45.bin"/><Relationship Id="rId7" Type="http://schemas.openxmlformats.org/officeDocument/2006/relationships/tags" Target="../tags/tag193.xml"/><Relationship Id="rId12" Type="http://schemas.openxmlformats.org/officeDocument/2006/relationships/tags" Target="../tags/tag198.xml"/><Relationship Id="rId17" Type="http://schemas.openxmlformats.org/officeDocument/2006/relationships/tags" Target="../tags/tag203.xml"/><Relationship Id="rId2" Type="http://schemas.openxmlformats.org/officeDocument/2006/relationships/tags" Target="../tags/tag188.xml"/><Relationship Id="rId16" Type="http://schemas.openxmlformats.org/officeDocument/2006/relationships/tags" Target="../tags/tag202.xml"/><Relationship Id="rId20" Type="http://schemas.openxmlformats.org/officeDocument/2006/relationships/slideLayout" Target="../slideLayouts/slideLayout4.xml"/><Relationship Id="rId1" Type="http://schemas.openxmlformats.org/officeDocument/2006/relationships/vmlDrawing" Target="../drawings/vmlDrawing39.vml"/><Relationship Id="rId6" Type="http://schemas.openxmlformats.org/officeDocument/2006/relationships/tags" Target="../tags/tag192.xml"/><Relationship Id="rId11" Type="http://schemas.openxmlformats.org/officeDocument/2006/relationships/tags" Target="../tags/tag197.xml"/><Relationship Id="rId5" Type="http://schemas.openxmlformats.org/officeDocument/2006/relationships/tags" Target="../tags/tag191.xml"/><Relationship Id="rId15" Type="http://schemas.openxmlformats.org/officeDocument/2006/relationships/tags" Target="../tags/tag201.xml"/><Relationship Id="rId10" Type="http://schemas.openxmlformats.org/officeDocument/2006/relationships/tags" Target="../tags/tag196.xml"/><Relationship Id="rId19" Type="http://schemas.openxmlformats.org/officeDocument/2006/relationships/tags" Target="../tags/tag205.xml"/><Relationship Id="rId4" Type="http://schemas.openxmlformats.org/officeDocument/2006/relationships/tags" Target="../tags/tag190.xml"/><Relationship Id="rId9" Type="http://schemas.openxmlformats.org/officeDocument/2006/relationships/tags" Target="../tags/tag195.xml"/><Relationship Id="rId14" Type="http://schemas.openxmlformats.org/officeDocument/2006/relationships/tags" Target="../tags/tag200.xml"/><Relationship Id="rId22" Type="http://schemas.openxmlformats.org/officeDocument/2006/relationships/image" Target="../media/image1.emf"/></Relationships>
</file>

<file path=ppt/slides/_rels/slide14.xml.rels><?xml version="1.0" encoding="UTF-8" standalone="yes"?>
<Relationships xmlns="http://schemas.openxmlformats.org/package/2006/relationships"><Relationship Id="rId8" Type="http://schemas.openxmlformats.org/officeDocument/2006/relationships/tags" Target="../tags/tag212.xml"/><Relationship Id="rId13" Type="http://schemas.openxmlformats.org/officeDocument/2006/relationships/tags" Target="../tags/tag217.xml"/><Relationship Id="rId18" Type="http://schemas.openxmlformats.org/officeDocument/2006/relationships/tags" Target="../tags/tag222.xml"/><Relationship Id="rId26" Type="http://schemas.openxmlformats.org/officeDocument/2006/relationships/oleObject" Target="../embeddings/oleObject46.bin"/><Relationship Id="rId3" Type="http://schemas.openxmlformats.org/officeDocument/2006/relationships/tags" Target="../tags/tag207.xml"/><Relationship Id="rId21" Type="http://schemas.openxmlformats.org/officeDocument/2006/relationships/tags" Target="../tags/tag225.xml"/><Relationship Id="rId7" Type="http://schemas.openxmlformats.org/officeDocument/2006/relationships/tags" Target="../tags/tag211.xml"/><Relationship Id="rId12" Type="http://schemas.openxmlformats.org/officeDocument/2006/relationships/tags" Target="../tags/tag216.xml"/><Relationship Id="rId17" Type="http://schemas.openxmlformats.org/officeDocument/2006/relationships/tags" Target="../tags/tag221.xml"/><Relationship Id="rId25" Type="http://schemas.openxmlformats.org/officeDocument/2006/relationships/slideLayout" Target="../slideLayouts/slideLayout4.xml"/><Relationship Id="rId2" Type="http://schemas.openxmlformats.org/officeDocument/2006/relationships/tags" Target="../tags/tag206.xml"/><Relationship Id="rId16" Type="http://schemas.openxmlformats.org/officeDocument/2006/relationships/tags" Target="../tags/tag220.xml"/><Relationship Id="rId20" Type="http://schemas.openxmlformats.org/officeDocument/2006/relationships/tags" Target="../tags/tag224.xml"/><Relationship Id="rId29" Type="http://schemas.openxmlformats.org/officeDocument/2006/relationships/image" Target="../media/image26.emf"/><Relationship Id="rId1" Type="http://schemas.openxmlformats.org/officeDocument/2006/relationships/vmlDrawing" Target="../drawings/vmlDrawing40.vml"/><Relationship Id="rId6" Type="http://schemas.openxmlformats.org/officeDocument/2006/relationships/tags" Target="../tags/tag210.xml"/><Relationship Id="rId11" Type="http://schemas.openxmlformats.org/officeDocument/2006/relationships/tags" Target="../tags/tag215.xml"/><Relationship Id="rId24" Type="http://schemas.openxmlformats.org/officeDocument/2006/relationships/tags" Target="../tags/tag228.xml"/><Relationship Id="rId5" Type="http://schemas.openxmlformats.org/officeDocument/2006/relationships/tags" Target="../tags/tag209.xml"/><Relationship Id="rId15" Type="http://schemas.openxmlformats.org/officeDocument/2006/relationships/tags" Target="../tags/tag219.xml"/><Relationship Id="rId23" Type="http://schemas.openxmlformats.org/officeDocument/2006/relationships/tags" Target="../tags/tag227.xml"/><Relationship Id="rId28" Type="http://schemas.openxmlformats.org/officeDocument/2006/relationships/oleObject" Target="../embeddings/oleObject47.bin"/><Relationship Id="rId10" Type="http://schemas.openxmlformats.org/officeDocument/2006/relationships/tags" Target="../tags/tag214.xml"/><Relationship Id="rId19" Type="http://schemas.openxmlformats.org/officeDocument/2006/relationships/tags" Target="../tags/tag223.xml"/><Relationship Id="rId4" Type="http://schemas.openxmlformats.org/officeDocument/2006/relationships/tags" Target="../tags/tag208.xml"/><Relationship Id="rId9" Type="http://schemas.openxmlformats.org/officeDocument/2006/relationships/tags" Target="../tags/tag213.xml"/><Relationship Id="rId14" Type="http://schemas.openxmlformats.org/officeDocument/2006/relationships/tags" Target="../tags/tag218.xml"/><Relationship Id="rId22" Type="http://schemas.openxmlformats.org/officeDocument/2006/relationships/tags" Target="../tags/tag226.xml"/><Relationship Id="rId27" Type="http://schemas.openxmlformats.org/officeDocument/2006/relationships/image" Target="../media/image1.emf"/></Relationships>
</file>

<file path=ppt/slides/_rels/slide15.xml.rels><?xml version="1.0" encoding="UTF-8" standalone="yes"?>
<Relationships xmlns="http://schemas.openxmlformats.org/package/2006/relationships"><Relationship Id="rId8" Type="http://schemas.openxmlformats.org/officeDocument/2006/relationships/tags" Target="../tags/tag235.xml"/><Relationship Id="rId13" Type="http://schemas.openxmlformats.org/officeDocument/2006/relationships/tags" Target="../tags/tag240.xml"/><Relationship Id="rId18" Type="http://schemas.openxmlformats.org/officeDocument/2006/relationships/tags" Target="../tags/tag245.xml"/><Relationship Id="rId26" Type="http://schemas.openxmlformats.org/officeDocument/2006/relationships/tags" Target="../tags/tag253.xml"/><Relationship Id="rId3" Type="http://schemas.openxmlformats.org/officeDocument/2006/relationships/tags" Target="../tags/tag230.xml"/><Relationship Id="rId21" Type="http://schemas.openxmlformats.org/officeDocument/2006/relationships/tags" Target="../tags/tag248.xml"/><Relationship Id="rId34" Type="http://schemas.openxmlformats.org/officeDocument/2006/relationships/oleObject" Target="../embeddings/oleObject50.bin"/><Relationship Id="rId7" Type="http://schemas.openxmlformats.org/officeDocument/2006/relationships/tags" Target="../tags/tag234.xml"/><Relationship Id="rId12" Type="http://schemas.openxmlformats.org/officeDocument/2006/relationships/tags" Target="../tags/tag239.xml"/><Relationship Id="rId17" Type="http://schemas.openxmlformats.org/officeDocument/2006/relationships/tags" Target="../tags/tag244.xml"/><Relationship Id="rId25" Type="http://schemas.openxmlformats.org/officeDocument/2006/relationships/tags" Target="../tags/tag252.xml"/><Relationship Id="rId33" Type="http://schemas.openxmlformats.org/officeDocument/2006/relationships/image" Target="../media/image27.emf"/><Relationship Id="rId2" Type="http://schemas.openxmlformats.org/officeDocument/2006/relationships/tags" Target="../tags/tag229.xml"/><Relationship Id="rId16" Type="http://schemas.openxmlformats.org/officeDocument/2006/relationships/tags" Target="../tags/tag243.xml"/><Relationship Id="rId20" Type="http://schemas.openxmlformats.org/officeDocument/2006/relationships/tags" Target="../tags/tag247.xml"/><Relationship Id="rId29" Type="http://schemas.openxmlformats.org/officeDocument/2006/relationships/slideLayout" Target="../slideLayouts/slideLayout4.xml"/><Relationship Id="rId1" Type="http://schemas.openxmlformats.org/officeDocument/2006/relationships/vmlDrawing" Target="../drawings/vmlDrawing41.vml"/><Relationship Id="rId6" Type="http://schemas.openxmlformats.org/officeDocument/2006/relationships/tags" Target="../tags/tag233.xml"/><Relationship Id="rId11" Type="http://schemas.openxmlformats.org/officeDocument/2006/relationships/tags" Target="../tags/tag238.xml"/><Relationship Id="rId24" Type="http://schemas.openxmlformats.org/officeDocument/2006/relationships/tags" Target="../tags/tag251.xml"/><Relationship Id="rId32" Type="http://schemas.openxmlformats.org/officeDocument/2006/relationships/oleObject" Target="../embeddings/oleObject49.bin"/><Relationship Id="rId37" Type="http://schemas.openxmlformats.org/officeDocument/2006/relationships/image" Target="../media/image29.emf"/><Relationship Id="rId5" Type="http://schemas.openxmlformats.org/officeDocument/2006/relationships/tags" Target="../tags/tag232.xml"/><Relationship Id="rId15" Type="http://schemas.openxmlformats.org/officeDocument/2006/relationships/tags" Target="../tags/tag242.xml"/><Relationship Id="rId23" Type="http://schemas.openxmlformats.org/officeDocument/2006/relationships/tags" Target="../tags/tag250.xml"/><Relationship Id="rId28" Type="http://schemas.openxmlformats.org/officeDocument/2006/relationships/tags" Target="../tags/tag255.xml"/><Relationship Id="rId36" Type="http://schemas.openxmlformats.org/officeDocument/2006/relationships/oleObject" Target="../embeddings/oleObject51.bin"/><Relationship Id="rId10" Type="http://schemas.openxmlformats.org/officeDocument/2006/relationships/tags" Target="../tags/tag237.xml"/><Relationship Id="rId19" Type="http://schemas.openxmlformats.org/officeDocument/2006/relationships/tags" Target="../tags/tag246.xml"/><Relationship Id="rId31" Type="http://schemas.openxmlformats.org/officeDocument/2006/relationships/image" Target="../media/image17.emf"/><Relationship Id="rId4" Type="http://schemas.openxmlformats.org/officeDocument/2006/relationships/tags" Target="../tags/tag231.xml"/><Relationship Id="rId9" Type="http://schemas.openxmlformats.org/officeDocument/2006/relationships/tags" Target="../tags/tag236.xml"/><Relationship Id="rId14" Type="http://schemas.openxmlformats.org/officeDocument/2006/relationships/tags" Target="../tags/tag241.xml"/><Relationship Id="rId22" Type="http://schemas.openxmlformats.org/officeDocument/2006/relationships/tags" Target="../tags/tag249.xml"/><Relationship Id="rId27" Type="http://schemas.openxmlformats.org/officeDocument/2006/relationships/tags" Target="../tags/tag254.xml"/><Relationship Id="rId30" Type="http://schemas.openxmlformats.org/officeDocument/2006/relationships/oleObject" Target="../embeddings/oleObject48.bin"/><Relationship Id="rId35" Type="http://schemas.openxmlformats.org/officeDocument/2006/relationships/image" Target="../media/image28.emf"/></Relationships>
</file>

<file path=ppt/slides/_rels/slide16.xml.rels><?xml version="1.0" encoding="UTF-8" standalone="yes"?>
<Relationships xmlns="http://schemas.openxmlformats.org/package/2006/relationships"><Relationship Id="rId3" Type="http://schemas.openxmlformats.org/officeDocument/2006/relationships/tags" Target="../tags/tag258.xml"/><Relationship Id="rId2" Type="http://schemas.openxmlformats.org/officeDocument/2006/relationships/tags" Target="../tags/tag257.xml"/><Relationship Id="rId1" Type="http://schemas.openxmlformats.org/officeDocument/2006/relationships/tags" Target="../tags/tag256.xml"/><Relationship Id="rId5" Type="http://schemas.openxmlformats.org/officeDocument/2006/relationships/slideLayout" Target="../slideLayouts/slideLayout4.xml"/><Relationship Id="rId4" Type="http://schemas.openxmlformats.org/officeDocument/2006/relationships/tags" Target="../tags/tag259.xml"/></Relationships>
</file>

<file path=ppt/slides/_rels/slide1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tags" Target="../tags/tag112.xml"/><Relationship Id="rId2" Type="http://schemas.openxmlformats.org/officeDocument/2006/relationships/tags" Target="../tags/tag111.xml"/><Relationship Id="rId1" Type="http://schemas.openxmlformats.org/officeDocument/2006/relationships/tags" Target="../tags/tag110.xml"/><Relationship Id="rId5" Type="http://schemas.openxmlformats.org/officeDocument/2006/relationships/slideLayout" Target="../slideLayouts/slideLayout4.xml"/><Relationship Id="rId4" Type="http://schemas.openxmlformats.org/officeDocument/2006/relationships/tags" Target="../tags/tag113.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60.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52.bin"/></Relationships>
</file>

<file path=ppt/slides/_rels/slide21.xml.rels><?xml version="1.0" encoding="UTF-8" standalone="yes"?>
<Relationships xmlns="http://schemas.openxmlformats.org/package/2006/relationships"><Relationship Id="rId8" Type="http://schemas.openxmlformats.org/officeDocument/2006/relationships/tags" Target="../tags/tag267.xml"/><Relationship Id="rId13" Type="http://schemas.openxmlformats.org/officeDocument/2006/relationships/image" Target="../media/image1.emf"/><Relationship Id="rId3" Type="http://schemas.openxmlformats.org/officeDocument/2006/relationships/tags" Target="../tags/tag262.xml"/><Relationship Id="rId7" Type="http://schemas.openxmlformats.org/officeDocument/2006/relationships/tags" Target="../tags/tag266.xml"/><Relationship Id="rId12" Type="http://schemas.openxmlformats.org/officeDocument/2006/relationships/oleObject" Target="../embeddings/oleObject53.bin"/><Relationship Id="rId2" Type="http://schemas.openxmlformats.org/officeDocument/2006/relationships/tags" Target="../tags/tag261.xml"/><Relationship Id="rId1" Type="http://schemas.openxmlformats.org/officeDocument/2006/relationships/vmlDrawing" Target="../drawings/vmlDrawing43.vml"/><Relationship Id="rId6" Type="http://schemas.openxmlformats.org/officeDocument/2006/relationships/tags" Target="../tags/tag265.xml"/><Relationship Id="rId11" Type="http://schemas.openxmlformats.org/officeDocument/2006/relationships/slideLayout" Target="../slideLayouts/slideLayout4.xml"/><Relationship Id="rId5" Type="http://schemas.openxmlformats.org/officeDocument/2006/relationships/tags" Target="../tags/tag264.xml"/><Relationship Id="rId10" Type="http://schemas.openxmlformats.org/officeDocument/2006/relationships/tags" Target="../tags/tag269.xml"/><Relationship Id="rId4" Type="http://schemas.openxmlformats.org/officeDocument/2006/relationships/tags" Target="../tags/tag263.xml"/><Relationship Id="rId9" Type="http://schemas.openxmlformats.org/officeDocument/2006/relationships/tags" Target="../tags/tag268.xml"/></Relationships>
</file>

<file path=ppt/slides/_rels/slide22.xml.rels><?xml version="1.0" encoding="UTF-8" standalone="yes"?>
<Relationships xmlns="http://schemas.openxmlformats.org/package/2006/relationships"><Relationship Id="rId3" Type="http://schemas.openxmlformats.org/officeDocument/2006/relationships/tags" Target="../tags/tag272.xml"/><Relationship Id="rId2" Type="http://schemas.openxmlformats.org/officeDocument/2006/relationships/tags" Target="../tags/tag271.xml"/><Relationship Id="rId1" Type="http://schemas.openxmlformats.org/officeDocument/2006/relationships/tags" Target="../tags/tag270.xml"/><Relationship Id="rId5" Type="http://schemas.openxmlformats.org/officeDocument/2006/relationships/slideLayout" Target="../slideLayouts/slideLayout4.xml"/><Relationship Id="rId4" Type="http://schemas.openxmlformats.org/officeDocument/2006/relationships/tags" Target="../tags/tag27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4.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54.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5.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55.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77.xml"/><Relationship Id="rId1" Type="http://schemas.openxmlformats.org/officeDocument/2006/relationships/tags" Target="../tags/tag276.xml"/></Relationships>
</file>

<file path=ppt/slides/_rels/slide2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4.xml"/><Relationship Id="rId7" Type="http://schemas.openxmlformats.org/officeDocument/2006/relationships/image" Target="../media/image9.jpeg"/><Relationship Id="rId2" Type="http://schemas.openxmlformats.org/officeDocument/2006/relationships/tags" Target="../tags/tag278.xml"/><Relationship Id="rId1" Type="http://schemas.openxmlformats.org/officeDocument/2006/relationships/vmlDrawing" Target="../drawings/vmlDrawing46.vml"/><Relationship Id="rId6" Type="http://schemas.openxmlformats.org/officeDocument/2006/relationships/image" Target="../media/image8.emf"/><Relationship Id="rId5" Type="http://schemas.openxmlformats.org/officeDocument/2006/relationships/oleObject" Target="../embeddings/oleObject56.bin"/><Relationship Id="rId4" Type="http://schemas.openxmlformats.org/officeDocument/2006/relationships/notesSlide" Target="../notesSlides/notesSlide3.xml"/></Relationships>
</file>

<file path=ppt/slides/_rels/slide2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4.xml"/><Relationship Id="rId7" Type="http://schemas.openxmlformats.org/officeDocument/2006/relationships/image" Target="../media/image30.png"/><Relationship Id="rId2" Type="http://schemas.openxmlformats.org/officeDocument/2006/relationships/tags" Target="../tags/tag279.xml"/><Relationship Id="rId1" Type="http://schemas.openxmlformats.org/officeDocument/2006/relationships/vmlDrawing" Target="../drawings/vmlDrawing47.vml"/><Relationship Id="rId6" Type="http://schemas.openxmlformats.org/officeDocument/2006/relationships/image" Target="../media/image8.emf"/><Relationship Id="rId5" Type="http://schemas.openxmlformats.org/officeDocument/2006/relationships/oleObject" Target="../embeddings/oleObject57.bin"/><Relationship Id="rId4" Type="http://schemas.openxmlformats.org/officeDocument/2006/relationships/notesSlide" Target="../notesSlides/notesSlide4.xml"/></Relationships>
</file>

<file path=ppt/slides/_rels/slide2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png"/><Relationship Id="rId1" Type="http://schemas.openxmlformats.org/officeDocument/2006/relationships/slideLayout" Target="../slideLayouts/slideLayout4.xml"/><Relationship Id="rId5" Type="http://schemas.openxmlformats.org/officeDocument/2006/relationships/image" Target="../media/image34.jpeg"/><Relationship Id="rId4" Type="http://schemas.openxmlformats.org/officeDocument/2006/relationships/image" Target="../media/image33.jpeg"/></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4.xml"/><Relationship Id="rId7" Type="http://schemas.openxmlformats.org/officeDocument/2006/relationships/image" Target="../media/image9.jpeg"/><Relationship Id="rId2" Type="http://schemas.openxmlformats.org/officeDocument/2006/relationships/tags" Target="../tags/tag114.xml"/><Relationship Id="rId1" Type="http://schemas.openxmlformats.org/officeDocument/2006/relationships/vmlDrawing" Target="../drawings/vmlDrawing31.vml"/><Relationship Id="rId6" Type="http://schemas.openxmlformats.org/officeDocument/2006/relationships/image" Target="../media/image8.emf"/><Relationship Id="rId5" Type="http://schemas.openxmlformats.org/officeDocument/2006/relationships/oleObject" Target="../embeddings/oleObject31.bin"/><Relationship Id="rId4" Type="http://schemas.openxmlformats.org/officeDocument/2006/relationships/notesSlide" Target="../notesSlides/notesSlide1.xml"/></Relationships>
</file>

<file path=ppt/slides/_rels/slide30.xml.rels><?xml version="1.0" encoding="UTF-8" standalone="yes"?>
<Relationships xmlns="http://schemas.openxmlformats.org/package/2006/relationships"><Relationship Id="rId8" Type="http://schemas.openxmlformats.org/officeDocument/2006/relationships/image" Target="../media/image37.jpeg"/><Relationship Id="rId13" Type="http://schemas.openxmlformats.org/officeDocument/2006/relationships/image" Target="../media/image41.jpeg"/><Relationship Id="rId3" Type="http://schemas.openxmlformats.org/officeDocument/2006/relationships/slideLayout" Target="../slideLayouts/slideLayout4.xml"/><Relationship Id="rId7" Type="http://schemas.openxmlformats.org/officeDocument/2006/relationships/image" Target="../media/image36.jpeg"/><Relationship Id="rId12" Type="http://schemas.openxmlformats.org/officeDocument/2006/relationships/image" Target="../media/image40.jpeg"/><Relationship Id="rId2" Type="http://schemas.openxmlformats.org/officeDocument/2006/relationships/tags" Target="../tags/tag280.xml"/><Relationship Id="rId1" Type="http://schemas.openxmlformats.org/officeDocument/2006/relationships/vmlDrawing" Target="../drawings/vmlDrawing48.vml"/><Relationship Id="rId6" Type="http://schemas.openxmlformats.org/officeDocument/2006/relationships/image" Target="../media/image35.jpeg"/><Relationship Id="rId11" Type="http://schemas.openxmlformats.org/officeDocument/2006/relationships/image" Target="../media/image39.jpeg"/><Relationship Id="rId5" Type="http://schemas.openxmlformats.org/officeDocument/2006/relationships/image" Target="../media/image1.emf"/><Relationship Id="rId15" Type="http://schemas.openxmlformats.org/officeDocument/2006/relationships/image" Target="../media/image43.jpeg"/><Relationship Id="rId10" Type="http://schemas.openxmlformats.org/officeDocument/2006/relationships/image" Target="../media/image12.jpeg"/><Relationship Id="rId4" Type="http://schemas.openxmlformats.org/officeDocument/2006/relationships/oleObject" Target="../embeddings/oleObject58.bin"/><Relationship Id="rId9" Type="http://schemas.openxmlformats.org/officeDocument/2006/relationships/image" Target="../media/image38.jpeg"/><Relationship Id="rId14" Type="http://schemas.openxmlformats.org/officeDocument/2006/relationships/image" Target="../media/image42.jpeg"/></Relationships>
</file>

<file path=ppt/slides/_rels/slide31.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slideLayout" Target="../slideLayouts/slideLayout4.xml"/><Relationship Id="rId7" Type="http://schemas.openxmlformats.org/officeDocument/2006/relationships/image" Target="../media/image39.jpeg"/><Relationship Id="rId2" Type="http://schemas.openxmlformats.org/officeDocument/2006/relationships/tags" Target="../tags/tag281.xml"/><Relationship Id="rId1" Type="http://schemas.openxmlformats.org/officeDocument/2006/relationships/vmlDrawing" Target="../drawings/vmlDrawing49.vml"/><Relationship Id="rId6" Type="http://schemas.openxmlformats.org/officeDocument/2006/relationships/image" Target="../media/image38.jpeg"/><Relationship Id="rId5" Type="http://schemas.openxmlformats.org/officeDocument/2006/relationships/image" Target="../media/image1.emf"/><Relationship Id="rId4" Type="http://schemas.openxmlformats.org/officeDocument/2006/relationships/oleObject" Target="../embeddings/oleObject59.bin"/><Relationship Id="rId9" Type="http://schemas.openxmlformats.org/officeDocument/2006/relationships/image" Target="../media/image44.png"/></Relationships>
</file>

<file path=ppt/slides/_rels/slide32.xml.rels><?xml version="1.0" encoding="UTF-8" standalone="yes"?>
<Relationships xmlns="http://schemas.openxmlformats.org/package/2006/relationships"><Relationship Id="rId8" Type="http://schemas.openxmlformats.org/officeDocument/2006/relationships/tags" Target="../tags/tag288.xml"/><Relationship Id="rId13" Type="http://schemas.openxmlformats.org/officeDocument/2006/relationships/tags" Target="../tags/tag293.xml"/><Relationship Id="rId18" Type="http://schemas.openxmlformats.org/officeDocument/2006/relationships/slideLayout" Target="../slideLayouts/slideLayout4.xml"/><Relationship Id="rId3" Type="http://schemas.openxmlformats.org/officeDocument/2006/relationships/tags" Target="../tags/tag283.xml"/><Relationship Id="rId21" Type="http://schemas.openxmlformats.org/officeDocument/2006/relationships/oleObject" Target="../embeddings/oleObject61.bin"/><Relationship Id="rId7" Type="http://schemas.openxmlformats.org/officeDocument/2006/relationships/tags" Target="../tags/tag287.xml"/><Relationship Id="rId12" Type="http://schemas.openxmlformats.org/officeDocument/2006/relationships/tags" Target="../tags/tag292.xml"/><Relationship Id="rId17" Type="http://schemas.openxmlformats.org/officeDocument/2006/relationships/tags" Target="../tags/tag297.xml"/><Relationship Id="rId2" Type="http://schemas.openxmlformats.org/officeDocument/2006/relationships/tags" Target="../tags/tag282.xml"/><Relationship Id="rId16" Type="http://schemas.openxmlformats.org/officeDocument/2006/relationships/tags" Target="../tags/tag296.xml"/><Relationship Id="rId20" Type="http://schemas.openxmlformats.org/officeDocument/2006/relationships/image" Target="../media/image1.emf"/><Relationship Id="rId1" Type="http://schemas.openxmlformats.org/officeDocument/2006/relationships/vmlDrawing" Target="../drawings/vmlDrawing50.vml"/><Relationship Id="rId6" Type="http://schemas.openxmlformats.org/officeDocument/2006/relationships/tags" Target="../tags/tag286.xml"/><Relationship Id="rId11" Type="http://schemas.openxmlformats.org/officeDocument/2006/relationships/tags" Target="../tags/tag291.xml"/><Relationship Id="rId5" Type="http://schemas.openxmlformats.org/officeDocument/2006/relationships/tags" Target="../tags/tag285.xml"/><Relationship Id="rId15" Type="http://schemas.openxmlformats.org/officeDocument/2006/relationships/tags" Target="../tags/tag295.xml"/><Relationship Id="rId10" Type="http://schemas.openxmlformats.org/officeDocument/2006/relationships/tags" Target="../tags/tag290.xml"/><Relationship Id="rId19" Type="http://schemas.openxmlformats.org/officeDocument/2006/relationships/oleObject" Target="../embeddings/oleObject60.bin"/><Relationship Id="rId4" Type="http://schemas.openxmlformats.org/officeDocument/2006/relationships/tags" Target="../tags/tag284.xml"/><Relationship Id="rId9" Type="http://schemas.openxmlformats.org/officeDocument/2006/relationships/tags" Target="../tags/tag289.xml"/><Relationship Id="rId14" Type="http://schemas.openxmlformats.org/officeDocument/2006/relationships/tags" Target="../tags/tag294.xml"/><Relationship Id="rId22" Type="http://schemas.openxmlformats.org/officeDocument/2006/relationships/image" Target="../media/image45.emf"/></Relationships>
</file>

<file path=ppt/slides/_rels/slide33.xml.rels><?xml version="1.0" encoding="UTF-8" standalone="yes"?>
<Relationships xmlns="http://schemas.openxmlformats.org/package/2006/relationships"><Relationship Id="rId8" Type="http://schemas.openxmlformats.org/officeDocument/2006/relationships/tags" Target="../tags/tag304.xml"/><Relationship Id="rId13" Type="http://schemas.openxmlformats.org/officeDocument/2006/relationships/tags" Target="../tags/tag309.xml"/><Relationship Id="rId18" Type="http://schemas.openxmlformats.org/officeDocument/2006/relationships/oleObject" Target="../embeddings/oleObject63.bin"/><Relationship Id="rId3" Type="http://schemas.openxmlformats.org/officeDocument/2006/relationships/tags" Target="../tags/tag299.xml"/><Relationship Id="rId7" Type="http://schemas.openxmlformats.org/officeDocument/2006/relationships/tags" Target="../tags/tag303.xml"/><Relationship Id="rId12" Type="http://schemas.openxmlformats.org/officeDocument/2006/relationships/tags" Target="../tags/tag308.xml"/><Relationship Id="rId17" Type="http://schemas.openxmlformats.org/officeDocument/2006/relationships/image" Target="../media/image1.emf"/><Relationship Id="rId2" Type="http://schemas.openxmlformats.org/officeDocument/2006/relationships/tags" Target="../tags/tag298.xml"/><Relationship Id="rId16" Type="http://schemas.openxmlformats.org/officeDocument/2006/relationships/oleObject" Target="../embeddings/oleObject62.bin"/><Relationship Id="rId1" Type="http://schemas.openxmlformats.org/officeDocument/2006/relationships/vmlDrawing" Target="../drawings/vmlDrawing51.vml"/><Relationship Id="rId6" Type="http://schemas.openxmlformats.org/officeDocument/2006/relationships/tags" Target="../tags/tag302.xml"/><Relationship Id="rId11" Type="http://schemas.openxmlformats.org/officeDocument/2006/relationships/tags" Target="../tags/tag307.xml"/><Relationship Id="rId5" Type="http://schemas.openxmlformats.org/officeDocument/2006/relationships/tags" Target="../tags/tag301.xml"/><Relationship Id="rId15" Type="http://schemas.openxmlformats.org/officeDocument/2006/relationships/slideLayout" Target="../slideLayouts/slideLayout4.xml"/><Relationship Id="rId10" Type="http://schemas.openxmlformats.org/officeDocument/2006/relationships/tags" Target="../tags/tag306.xml"/><Relationship Id="rId19" Type="http://schemas.openxmlformats.org/officeDocument/2006/relationships/image" Target="../media/image46.emf"/><Relationship Id="rId4" Type="http://schemas.openxmlformats.org/officeDocument/2006/relationships/tags" Target="../tags/tag300.xml"/><Relationship Id="rId9" Type="http://schemas.openxmlformats.org/officeDocument/2006/relationships/tags" Target="../tags/tag305.xml"/><Relationship Id="rId14" Type="http://schemas.openxmlformats.org/officeDocument/2006/relationships/tags" Target="../tags/tag310.xml"/></Relationships>
</file>

<file path=ppt/slides/_rels/slide3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4.xml"/><Relationship Id="rId7" Type="http://schemas.openxmlformats.org/officeDocument/2006/relationships/image" Target="../media/image9.jpeg"/><Relationship Id="rId2" Type="http://schemas.openxmlformats.org/officeDocument/2006/relationships/tags" Target="../tags/tag311.xml"/><Relationship Id="rId1" Type="http://schemas.openxmlformats.org/officeDocument/2006/relationships/vmlDrawing" Target="../drawings/vmlDrawing52.vml"/><Relationship Id="rId6" Type="http://schemas.openxmlformats.org/officeDocument/2006/relationships/image" Target="../media/image8.emf"/><Relationship Id="rId5" Type="http://schemas.openxmlformats.org/officeDocument/2006/relationships/oleObject" Target="../embeddings/oleObject64.bin"/><Relationship Id="rId4" Type="http://schemas.openxmlformats.org/officeDocument/2006/relationships/notesSlide" Target="../notesSlides/notesSlide5.xml"/></Relationships>
</file>

<file path=ppt/slides/_rels/slide35.xml.rels><?xml version="1.0" encoding="UTF-8" standalone="yes"?>
<Relationships xmlns="http://schemas.openxmlformats.org/package/2006/relationships"><Relationship Id="rId8" Type="http://schemas.openxmlformats.org/officeDocument/2006/relationships/image" Target="../media/image47.wmf"/><Relationship Id="rId3" Type="http://schemas.openxmlformats.org/officeDocument/2006/relationships/slideLayout" Target="../slideLayouts/slideLayout4.xml"/><Relationship Id="rId7" Type="http://schemas.openxmlformats.org/officeDocument/2006/relationships/oleObject" Target="../embeddings/oleObject66.bin"/><Relationship Id="rId2" Type="http://schemas.openxmlformats.org/officeDocument/2006/relationships/tags" Target="../tags/tag312.xml"/><Relationship Id="rId1" Type="http://schemas.openxmlformats.org/officeDocument/2006/relationships/vmlDrawing" Target="../drawings/vmlDrawing53.vml"/><Relationship Id="rId6" Type="http://schemas.openxmlformats.org/officeDocument/2006/relationships/image" Target="../media/image8.emf"/><Relationship Id="rId5" Type="http://schemas.openxmlformats.org/officeDocument/2006/relationships/oleObject" Target="../embeddings/oleObject65.bin"/><Relationship Id="rId10" Type="http://schemas.microsoft.com/office/2007/relationships/hdphoto" Target="../media/hdphoto2.wdp"/><Relationship Id="rId4" Type="http://schemas.openxmlformats.org/officeDocument/2006/relationships/notesSlide" Target="../notesSlides/notesSlide6.xml"/><Relationship Id="rId9" Type="http://schemas.openxmlformats.org/officeDocument/2006/relationships/image" Target="../media/image48.png"/></Relationships>
</file>

<file path=ppt/slides/_rels/slide36.xml.rels><?xml version="1.0" encoding="UTF-8" standalone="yes"?>
<Relationships xmlns="http://schemas.openxmlformats.org/package/2006/relationships"><Relationship Id="rId8" Type="http://schemas.openxmlformats.org/officeDocument/2006/relationships/image" Target="../media/image50.wmf"/><Relationship Id="rId3" Type="http://schemas.openxmlformats.org/officeDocument/2006/relationships/slideLayout" Target="../slideLayouts/slideLayout4.xml"/><Relationship Id="rId7" Type="http://schemas.openxmlformats.org/officeDocument/2006/relationships/image" Target="../media/image49.wmf"/><Relationship Id="rId2" Type="http://schemas.openxmlformats.org/officeDocument/2006/relationships/tags" Target="../tags/tag313.xml"/><Relationship Id="rId1" Type="http://schemas.openxmlformats.org/officeDocument/2006/relationships/vmlDrawing" Target="../drawings/vmlDrawing54.vml"/><Relationship Id="rId6" Type="http://schemas.openxmlformats.org/officeDocument/2006/relationships/image" Target="../media/image8.emf"/><Relationship Id="rId5" Type="http://schemas.openxmlformats.org/officeDocument/2006/relationships/oleObject" Target="../embeddings/oleObject67.bin"/><Relationship Id="rId10" Type="http://schemas.openxmlformats.org/officeDocument/2006/relationships/image" Target="../media/image52.jpeg"/><Relationship Id="rId4" Type="http://schemas.openxmlformats.org/officeDocument/2006/relationships/notesSlide" Target="../notesSlides/notesSlide7.xml"/><Relationship Id="rId9" Type="http://schemas.openxmlformats.org/officeDocument/2006/relationships/image" Target="../media/image51.png"/></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53.jpeg"/><Relationship Id="rId2" Type="http://schemas.openxmlformats.org/officeDocument/2006/relationships/tags" Target="../tags/tag314.xml"/><Relationship Id="rId1" Type="http://schemas.openxmlformats.org/officeDocument/2006/relationships/vmlDrawing" Target="../drawings/vmlDrawing55.vml"/><Relationship Id="rId6" Type="http://schemas.openxmlformats.org/officeDocument/2006/relationships/image" Target="../media/image8.emf"/><Relationship Id="rId5" Type="http://schemas.openxmlformats.org/officeDocument/2006/relationships/oleObject" Target="../embeddings/oleObject68.bin"/><Relationship Id="rId4" Type="http://schemas.openxmlformats.org/officeDocument/2006/relationships/notesSlide" Target="../notesSlides/notesSlide8.xml"/></Relationships>
</file>

<file path=ppt/slides/_rels/slide38.xml.rels><?xml version="1.0" encoding="UTF-8" standalone="yes"?>
<Relationships xmlns="http://schemas.openxmlformats.org/package/2006/relationships"><Relationship Id="rId8" Type="http://schemas.openxmlformats.org/officeDocument/2006/relationships/image" Target="../media/image55.jpeg"/><Relationship Id="rId3" Type="http://schemas.openxmlformats.org/officeDocument/2006/relationships/slideLayout" Target="../slideLayouts/slideLayout4.xml"/><Relationship Id="rId7" Type="http://schemas.openxmlformats.org/officeDocument/2006/relationships/image" Target="../media/image54.jpeg"/><Relationship Id="rId2" Type="http://schemas.openxmlformats.org/officeDocument/2006/relationships/tags" Target="../tags/tag315.xml"/><Relationship Id="rId1" Type="http://schemas.openxmlformats.org/officeDocument/2006/relationships/vmlDrawing" Target="../drawings/vmlDrawing56.vml"/><Relationship Id="rId6" Type="http://schemas.openxmlformats.org/officeDocument/2006/relationships/image" Target="../media/image8.emf"/><Relationship Id="rId5" Type="http://schemas.openxmlformats.org/officeDocument/2006/relationships/oleObject" Target="../embeddings/oleObject69.bin"/><Relationship Id="rId10" Type="http://schemas.openxmlformats.org/officeDocument/2006/relationships/image" Target="../media/image57.jpeg"/><Relationship Id="rId4" Type="http://schemas.openxmlformats.org/officeDocument/2006/relationships/notesSlide" Target="../notesSlides/notesSlide9.xml"/><Relationship Id="rId9" Type="http://schemas.openxmlformats.org/officeDocument/2006/relationships/image" Target="../media/image56.jpeg"/></Relationships>
</file>

<file path=ppt/slides/_rels/slide39.xml.rels><?xml version="1.0" encoding="UTF-8" standalone="yes"?>
<Relationships xmlns="http://schemas.openxmlformats.org/package/2006/relationships"><Relationship Id="rId8" Type="http://schemas.openxmlformats.org/officeDocument/2006/relationships/tags" Target="../tags/tag322.xml"/><Relationship Id="rId13" Type="http://schemas.openxmlformats.org/officeDocument/2006/relationships/tags" Target="../tags/tag327.xml"/><Relationship Id="rId18" Type="http://schemas.openxmlformats.org/officeDocument/2006/relationships/tags" Target="../tags/tag332.xml"/><Relationship Id="rId26" Type="http://schemas.openxmlformats.org/officeDocument/2006/relationships/oleObject" Target="../embeddings/oleObject70.bin"/><Relationship Id="rId3" Type="http://schemas.openxmlformats.org/officeDocument/2006/relationships/tags" Target="../tags/tag317.xml"/><Relationship Id="rId21" Type="http://schemas.openxmlformats.org/officeDocument/2006/relationships/tags" Target="../tags/tag335.xml"/><Relationship Id="rId7" Type="http://schemas.openxmlformats.org/officeDocument/2006/relationships/tags" Target="../tags/tag321.xml"/><Relationship Id="rId12" Type="http://schemas.openxmlformats.org/officeDocument/2006/relationships/tags" Target="../tags/tag326.xml"/><Relationship Id="rId17" Type="http://schemas.openxmlformats.org/officeDocument/2006/relationships/tags" Target="../tags/tag331.xml"/><Relationship Id="rId25" Type="http://schemas.openxmlformats.org/officeDocument/2006/relationships/notesSlide" Target="../notesSlides/notesSlide10.xml"/><Relationship Id="rId2" Type="http://schemas.openxmlformats.org/officeDocument/2006/relationships/tags" Target="../tags/tag316.xml"/><Relationship Id="rId16" Type="http://schemas.openxmlformats.org/officeDocument/2006/relationships/tags" Target="../tags/tag330.xml"/><Relationship Id="rId20" Type="http://schemas.openxmlformats.org/officeDocument/2006/relationships/tags" Target="../tags/tag334.xml"/><Relationship Id="rId29" Type="http://schemas.openxmlformats.org/officeDocument/2006/relationships/image" Target="../media/image58.emf"/><Relationship Id="rId1" Type="http://schemas.openxmlformats.org/officeDocument/2006/relationships/vmlDrawing" Target="../drawings/vmlDrawing57.vml"/><Relationship Id="rId6" Type="http://schemas.openxmlformats.org/officeDocument/2006/relationships/tags" Target="../tags/tag320.xml"/><Relationship Id="rId11" Type="http://schemas.openxmlformats.org/officeDocument/2006/relationships/tags" Target="../tags/tag325.xml"/><Relationship Id="rId24" Type="http://schemas.openxmlformats.org/officeDocument/2006/relationships/slideLayout" Target="../slideLayouts/slideLayout4.xml"/><Relationship Id="rId5" Type="http://schemas.openxmlformats.org/officeDocument/2006/relationships/tags" Target="../tags/tag319.xml"/><Relationship Id="rId15" Type="http://schemas.openxmlformats.org/officeDocument/2006/relationships/tags" Target="../tags/tag329.xml"/><Relationship Id="rId23" Type="http://schemas.openxmlformats.org/officeDocument/2006/relationships/tags" Target="../tags/tag337.xml"/><Relationship Id="rId28" Type="http://schemas.openxmlformats.org/officeDocument/2006/relationships/oleObject" Target="../embeddings/oleObject71.bin"/><Relationship Id="rId10" Type="http://schemas.openxmlformats.org/officeDocument/2006/relationships/tags" Target="../tags/tag324.xml"/><Relationship Id="rId19" Type="http://schemas.openxmlformats.org/officeDocument/2006/relationships/tags" Target="../tags/tag333.xml"/><Relationship Id="rId4" Type="http://schemas.openxmlformats.org/officeDocument/2006/relationships/tags" Target="../tags/tag318.xml"/><Relationship Id="rId9" Type="http://schemas.openxmlformats.org/officeDocument/2006/relationships/tags" Target="../tags/tag323.xml"/><Relationship Id="rId14" Type="http://schemas.openxmlformats.org/officeDocument/2006/relationships/tags" Target="../tags/tag328.xml"/><Relationship Id="rId22" Type="http://schemas.openxmlformats.org/officeDocument/2006/relationships/tags" Target="../tags/tag336.xml"/><Relationship Id="rId27" Type="http://schemas.openxmlformats.org/officeDocument/2006/relationships/image" Target="../media/image8.emf"/></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2.jpeg"/><Relationship Id="rId2" Type="http://schemas.openxmlformats.org/officeDocument/2006/relationships/tags" Target="../tags/tag115.xml"/><Relationship Id="rId1" Type="http://schemas.openxmlformats.org/officeDocument/2006/relationships/vmlDrawing" Target="../drawings/vmlDrawing32.v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39.xml"/><Relationship Id="rId1" Type="http://schemas.openxmlformats.org/officeDocument/2006/relationships/tags" Target="../tags/tag33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41.xml"/><Relationship Id="rId1" Type="http://schemas.openxmlformats.org/officeDocument/2006/relationships/tags" Target="../tags/tag340.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42.xml"/><Relationship Id="rId1" Type="http://schemas.openxmlformats.org/officeDocument/2006/relationships/vmlDrawing" Target="../drawings/vmlDrawing58.vml"/><Relationship Id="rId5" Type="http://schemas.openxmlformats.org/officeDocument/2006/relationships/image" Target="../media/image1.emf"/><Relationship Id="rId4" Type="http://schemas.openxmlformats.org/officeDocument/2006/relationships/oleObject" Target="../embeddings/oleObject72.bin"/></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43.xml"/><Relationship Id="rId1" Type="http://schemas.openxmlformats.org/officeDocument/2006/relationships/vmlDrawing" Target="../drawings/vmlDrawing59.vml"/><Relationship Id="rId5" Type="http://schemas.openxmlformats.org/officeDocument/2006/relationships/image" Target="../media/image1.emf"/><Relationship Id="rId4" Type="http://schemas.openxmlformats.org/officeDocument/2006/relationships/oleObject" Target="../embeddings/oleObject73.bin"/></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44.xml"/><Relationship Id="rId1" Type="http://schemas.openxmlformats.org/officeDocument/2006/relationships/vmlDrawing" Target="../drawings/vmlDrawing60.vml"/><Relationship Id="rId5" Type="http://schemas.openxmlformats.org/officeDocument/2006/relationships/image" Target="../media/image1.emf"/><Relationship Id="rId4" Type="http://schemas.openxmlformats.org/officeDocument/2006/relationships/oleObject" Target="../embeddings/oleObject74.bin"/></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45.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75.bin"/></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46.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76.bin"/></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47.xml"/><Relationship Id="rId1" Type="http://schemas.openxmlformats.org/officeDocument/2006/relationships/vmlDrawing" Target="../drawings/vmlDrawing63.vml"/><Relationship Id="rId5" Type="http://schemas.openxmlformats.org/officeDocument/2006/relationships/image" Target="../media/image1.emf"/><Relationship Id="rId4" Type="http://schemas.openxmlformats.org/officeDocument/2006/relationships/oleObject" Target="../embeddings/oleObject77.bin"/></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48.xml"/><Relationship Id="rId1" Type="http://schemas.openxmlformats.org/officeDocument/2006/relationships/vmlDrawing" Target="../drawings/vmlDrawing64.vml"/><Relationship Id="rId5" Type="http://schemas.openxmlformats.org/officeDocument/2006/relationships/image" Target="../media/image1.emf"/><Relationship Id="rId4" Type="http://schemas.openxmlformats.org/officeDocument/2006/relationships/oleObject" Target="../embeddings/oleObject78.bin"/></Relationships>
</file>

<file path=ppt/slides/_rels/slide5.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slideLayout" Target="../slideLayouts/slideLayout4.xml"/><Relationship Id="rId7" Type="http://schemas.openxmlformats.org/officeDocument/2006/relationships/image" Target="../media/image13.png"/><Relationship Id="rId2" Type="http://schemas.openxmlformats.org/officeDocument/2006/relationships/tags" Target="../tags/tag116.xml"/><Relationship Id="rId1" Type="http://schemas.openxmlformats.org/officeDocument/2006/relationships/vmlDrawing" Target="../drawings/vmlDrawing33.vml"/><Relationship Id="rId6" Type="http://schemas.openxmlformats.org/officeDocument/2006/relationships/image" Target="../media/image8.emf"/><Relationship Id="rId5" Type="http://schemas.openxmlformats.org/officeDocument/2006/relationships/oleObject" Target="../embeddings/oleObject33.bin"/><Relationship Id="rId4"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slideLayout" Target="../slideLayouts/slideLayout4.xml"/><Relationship Id="rId4" Type="http://schemas.openxmlformats.org/officeDocument/2006/relationships/tags" Target="../tags/tag120.xml"/></Relationships>
</file>

<file path=ppt/slides/_rels/slide7.xml.rels><?xml version="1.0" encoding="UTF-8" standalone="yes"?>
<Relationships xmlns="http://schemas.openxmlformats.org/package/2006/relationships"><Relationship Id="rId8" Type="http://schemas.openxmlformats.org/officeDocument/2006/relationships/tags" Target="../tags/tag127.xml"/><Relationship Id="rId13" Type="http://schemas.openxmlformats.org/officeDocument/2006/relationships/tags" Target="../tags/tag132.xml"/><Relationship Id="rId18" Type="http://schemas.openxmlformats.org/officeDocument/2006/relationships/tags" Target="../tags/tag137.xml"/><Relationship Id="rId26" Type="http://schemas.openxmlformats.org/officeDocument/2006/relationships/image" Target="../media/image15.emf"/><Relationship Id="rId3" Type="http://schemas.openxmlformats.org/officeDocument/2006/relationships/tags" Target="../tags/tag122.xml"/><Relationship Id="rId21" Type="http://schemas.openxmlformats.org/officeDocument/2006/relationships/tags" Target="../tags/tag140.xml"/><Relationship Id="rId7" Type="http://schemas.openxmlformats.org/officeDocument/2006/relationships/tags" Target="../tags/tag126.xml"/><Relationship Id="rId12" Type="http://schemas.openxmlformats.org/officeDocument/2006/relationships/tags" Target="../tags/tag131.xml"/><Relationship Id="rId17" Type="http://schemas.openxmlformats.org/officeDocument/2006/relationships/tags" Target="../tags/tag136.xml"/><Relationship Id="rId25" Type="http://schemas.openxmlformats.org/officeDocument/2006/relationships/oleObject" Target="../embeddings/oleObject35.bin"/><Relationship Id="rId2" Type="http://schemas.openxmlformats.org/officeDocument/2006/relationships/tags" Target="../tags/tag121.xml"/><Relationship Id="rId16" Type="http://schemas.openxmlformats.org/officeDocument/2006/relationships/tags" Target="../tags/tag135.xml"/><Relationship Id="rId20" Type="http://schemas.openxmlformats.org/officeDocument/2006/relationships/tags" Target="../tags/tag139.xml"/><Relationship Id="rId1" Type="http://schemas.openxmlformats.org/officeDocument/2006/relationships/vmlDrawing" Target="../drawings/vmlDrawing34.vml"/><Relationship Id="rId6" Type="http://schemas.openxmlformats.org/officeDocument/2006/relationships/tags" Target="../tags/tag125.xml"/><Relationship Id="rId11" Type="http://schemas.openxmlformats.org/officeDocument/2006/relationships/tags" Target="../tags/tag130.xml"/><Relationship Id="rId24" Type="http://schemas.openxmlformats.org/officeDocument/2006/relationships/image" Target="../media/image1.emf"/><Relationship Id="rId5" Type="http://schemas.openxmlformats.org/officeDocument/2006/relationships/tags" Target="../tags/tag124.xml"/><Relationship Id="rId15" Type="http://schemas.openxmlformats.org/officeDocument/2006/relationships/tags" Target="../tags/tag134.xml"/><Relationship Id="rId23" Type="http://schemas.openxmlformats.org/officeDocument/2006/relationships/oleObject" Target="../embeddings/oleObject34.bin"/><Relationship Id="rId28" Type="http://schemas.openxmlformats.org/officeDocument/2006/relationships/image" Target="../media/image16.emf"/><Relationship Id="rId10" Type="http://schemas.openxmlformats.org/officeDocument/2006/relationships/tags" Target="../tags/tag129.xml"/><Relationship Id="rId19" Type="http://schemas.openxmlformats.org/officeDocument/2006/relationships/tags" Target="../tags/tag138.xml"/><Relationship Id="rId4" Type="http://schemas.openxmlformats.org/officeDocument/2006/relationships/tags" Target="../tags/tag123.xml"/><Relationship Id="rId9" Type="http://schemas.openxmlformats.org/officeDocument/2006/relationships/tags" Target="../tags/tag128.xml"/><Relationship Id="rId14" Type="http://schemas.openxmlformats.org/officeDocument/2006/relationships/tags" Target="../tags/tag133.xml"/><Relationship Id="rId22" Type="http://schemas.openxmlformats.org/officeDocument/2006/relationships/slideLayout" Target="../slideLayouts/slideLayout4.xml"/><Relationship Id="rId27" Type="http://schemas.openxmlformats.org/officeDocument/2006/relationships/oleObject" Target="../embeddings/oleObject36.bin"/></Relationships>
</file>

<file path=ppt/slides/_rels/slide8.xml.rels><?xml version="1.0" encoding="UTF-8" standalone="yes"?>
<Relationships xmlns="http://schemas.openxmlformats.org/package/2006/relationships"><Relationship Id="rId8" Type="http://schemas.openxmlformats.org/officeDocument/2006/relationships/tags" Target="../tags/tag147.xml"/><Relationship Id="rId13" Type="http://schemas.openxmlformats.org/officeDocument/2006/relationships/tags" Target="../tags/tag152.xml"/><Relationship Id="rId18" Type="http://schemas.openxmlformats.org/officeDocument/2006/relationships/tags" Target="../tags/tag157.xml"/><Relationship Id="rId26" Type="http://schemas.openxmlformats.org/officeDocument/2006/relationships/tags" Target="../tags/tag165.xml"/><Relationship Id="rId39" Type="http://schemas.openxmlformats.org/officeDocument/2006/relationships/image" Target="../media/image20.emf"/><Relationship Id="rId3" Type="http://schemas.openxmlformats.org/officeDocument/2006/relationships/tags" Target="../tags/tag142.xml"/><Relationship Id="rId21" Type="http://schemas.openxmlformats.org/officeDocument/2006/relationships/tags" Target="../tags/tag160.xml"/><Relationship Id="rId34" Type="http://schemas.openxmlformats.org/officeDocument/2006/relationships/oleObject" Target="../embeddings/oleObject38.bin"/><Relationship Id="rId7" Type="http://schemas.openxmlformats.org/officeDocument/2006/relationships/tags" Target="../tags/tag146.xml"/><Relationship Id="rId12" Type="http://schemas.openxmlformats.org/officeDocument/2006/relationships/tags" Target="../tags/tag151.xml"/><Relationship Id="rId17" Type="http://schemas.openxmlformats.org/officeDocument/2006/relationships/tags" Target="../tags/tag156.xml"/><Relationship Id="rId25" Type="http://schemas.openxmlformats.org/officeDocument/2006/relationships/tags" Target="../tags/tag164.xml"/><Relationship Id="rId33" Type="http://schemas.openxmlformats.org/officeDocument/2006/relationships/image" Target="../media/image17.emf"/><Relationship Id="rId38" Type="http://schemas.openxmlformats.org/officeDocument/2006/relationships/oleObject" Target="../embeddings/oleObject40.bin"/><Relationship Id="rId2" Type="http://schemas.openxmlformats.org/officeDocument/2006/relationships/tags" Target="../tags/tag141.xml"/><Relationship Id="rId16" Type="http://schemas.openxmlformats.org/officeDocument/2006/relationships/tags" Target="../tags/tag155.xml"/><Relationship Id="rId20" Type="http://schemas.openxmlformats.org/officeDocument/2006/relationships/tags" Target="../tags/tag159.xml"/><Relationship Id="rId29" Type="http://schemas.openxmlformats.org/officeDocument/2006/relationships/tags" Target="../tags/tag168.xml"/><Relationship Id="rId1" Type="http://schemas.openxmlformats.org/officeDocument/2006/relationships/vmlDrawing" Target="../drawings/vmlDrawing35.vml"/><Relationship Id="rId6" Type="http://schemas.openxmlformats.org/officeDocument/2006/relationships/tags" Target="../tags/tag145.xml"/><Relationship Id="rId11" Type="http://schemas.openxmlformats.org/officeDocument/2006/relationships/tags" Target="../tags/tag150.xml"/><Relationship Id="rId24" Type="http://schemas.openxmlformats.org/officeDocument/2006/relationships/tags" Target="../tags/tag163.xml"/><Relationship Id="rId32" Type="http://schemas.openxmlformats.org/officeDocument/2006/relationships/oleObject" Target="../embeddings/oleObject37.bin"/><Relationship Id="rId37" Type="http://schemas.openxmlformats.org/officeDocument/2006/relationships/image" Target="../media/image19.emf"/><Relationship Id="rId5" Type="http://schemas.openxmlformats.org/officeDocument/2006/relationships/tags" Target="../tags/tag144.xml"/><Relationship Id="rId15" Type="http://schemas.openxmlformats.org/officeDocument/2006/relationships/tags" Target="../tags/tag154.xml"/><Relationship Id="rId23" Type="http://schemas.openxmlformats.org/officeDocument/2006/relationships/tags" Target="../tags/tag162.xml"/><Relationship Id="rId28" Type="http://schemas.openxmlformats.org/officeDocument/2006/relationships/tags" Target="../tags/tag167.xml"/><Relationship Id="rId36" Type="http://schemas.openxmlformats.org/officeDocument/2006/relationships/oleObject" Target="../embeddings/oleObject39.bin"/><Relationship Id="rId10" Type="http://schemas.openxmlformats.org/officeDocument/2006/relationships/tags" Target="../tags/tag149.xml"/><Relationship Id="rId19" Type="http://schemas.openxmlformats.org/officeDocument/2006/relationships/tags" Target="../tags/tag158.xml"/><Relationship Id="rId31" Type="http://schemas.openxmlformats.org/officeDocument/2006/relationships/slideLayout" Target="../slideLayouts/slideLayout4.xml"/><Relationship Id="rId4" Type="http://schemas.openxmlformats.org/officeDocument/2006/relationships/tags" Target="../tags/tag143.xml"/><Relationship Id="rId9" Type="http://schemas.openxmlformats.org/officeDocument/2006/relationships/tags" Target="../tags/tag148.xml"/><Relationship Id="rId14" Type="http://schemas.openxmlformats.org/officeDocument/2006/relationships/tags" Target="../tags/tag153.xml"/><Relationship Id="rId22" Type="http://schemas.openxmlformats.org/officeDocument/2006/relationships/tags" Target="../tags/tag161.xml"/><Relationship Id="rId27" Type="http://schemas.openxmlformats.org/officeDocument/2006/relationships/tags" Target="../tags/tag166.xml"/><Relationship Id="rId30" Type="http://schemas.openxmlformats.org/officeDocument/2006/relationships/tags" Target="../tags/tag169.xml"/><Relationship Id="rId35" Type="http://schemas.openxmlformats.org/officeDocument/2006/relationships/image" Target="../media/image18.emf"/></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71.xml"/><Relationship Id="rId1" Type="http://schemas.openxmlformats.org/officeDocument/2006/relationships/tags" Target="../tags/tag17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ja-JP" altLang="en-US" dirty="0" smtClean="0"/>
              <a:t>毛管浄化（</a:t>
            </a:r>
            <a:r>
              <a:rPr lang="en-US" altLang="ja-JP" dirty="0" smtClean="0"/>
              <a:t>MJ</a:t>
            </a:r>
            <a:r>
              <a:rPr lang="ja-JP" altLang="en-US" dirty="0" smtClean="0"/>
              <a:t>）衛生システムのインドへの導入</a:t>
            </a:r>
            <a:endParaRPr lang="en-US" dirty="0"/>
          </a:p>
        </p:txBody>
      </p:sp>
      <p:sp>
        <p:nvSpPr>
          <p:cNvPr id="3" name="Subtitle 2"/>
          <p:cNvSpPr>
            <a:spLocks noGrp="1"/>
          </p:cNvSpPr>
          <p:nvPr>
            <p:ph type="subTitle" idx="1"/>
          </p:nvPr>
        </p:nvSpPr>
        <p:spPr/>
        <p:txBody>
          <a:bodyPr/>
          <a:lstStyle/>
          <a:p>
            <a:r>
              <a:rPr lang="en-US" dirty="0" smtClean="0"/>
              <a:t>BOP</a:t>
            </a:r>
            <a:r>
              <a:rPr lang="ja-JP" altLang="en-US" smtClean="0"/>
              <a:t>ビジネスの</a:t>
            </a:r>
            <a:r>
              <a:rPr lang="en-US" smtClean="0"/>
              <a:t> </a:t>
            </a:r>
            <a:r>
              <a:rPr lang="ja-JP" altLang="en-US" dirty="0" smtClean="0"/>
              <a:t>実現可能性調査</a:t>
            </a:r>
            <a:endParaRPr lang="en-US" dirty="0"/>
          </a:p>
        </p:txBody>
      </p:sp>
      <p:sp>
        <p:nvSpPr>
          <p:cNvPr id="4" name="Text Placeholder 3"/>
          <p:cNvSpPr>
            <a:spLocks noGrp="1"/>
          </p:cNvSpPr>
          <p:nvPr>
            <p:ph type="body" sz="quarter" idx="10"/>
          </p:nvPr>
        </p:nvSpPr>
        <p:spPr/>
        <p:txBody>
          <a:bodyPr/>
          <a:lstStyle/>
          <a:p>
            <a:r>
              <a:rPr lang="en-US" dirty="0" smtClean="0"/>
              <a:t>2014</a:t>
            </a:r>
            <a:r>
              <a:rPr lang="ja-JP" altLang="en-US" dirty="0" smtClean="0"/>
              <a:t>年</a:t>
            </a:r>
            <a:r>
              <a:rPr lang="en-US" altLang="ja-JP" dirty="0" smtClean="0"/>
              <a:t>9</a:t>
            </a:r>
            <a:r>
              <a:rPr lang="ja-JP" altLang="en-US" dirty="0" smtClean="0"/>
              <a:t>月</a:t>
            </a:r>
            <a:endParaRPr lang="en-US" dirty="0"/>
          </a:p>
        </p:txBody>
      </p:sp>
      <p:pic>
        <p:nvPicPr>
          <p:cNvPr id="5" name="Picture 5" descr="sasakawa logo.bmp"/>
          <p:cNvPicPr/>
          <p:nvPr/>
        </p:nvPicPr>
        <p:blipFill>
          <a:blip r:embed="rId2" cstate="print"/>
          <a:stretch>
            <a:fillRect/>
          </a:stretch>
        </p:blipFill>
        <p:spPr>
          <a:xfrm>
            <a:off x="516568" y="5800394"/>
            <a:ext cx="4268374" cy="412515"/>
          </a:xfrm>
          <a:prstGeom prst="rect">
            <a:avLst/>
          </a:prstGeom>
        </p:spPr>
      </p:pic>
    </p:spTree>
    <p:extLst>
      <p:ext uri="{BB962C8B-B14F-4D97-AF65-F5344CB8AC3E}">
        <p14:creationId xmlns:p14="http://schemas.microsoft.com/office/powerpoint/2010/main" val="16588770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p:cNvGraphicFramePr>
            <a:graphicFrameLocks noChangeAspect="1"/>
          </p:cNvGraphicFramePr>
          <p:nvPr>
            <p:custDataLst>
              <p:tags r:id="rId2"/>
            </p:custDataLst>
            <p:extLst>
              <p:ext uri="{D42A27DB-BD31-4B8C-83A1-F6EECF244321}">
                <p14:modId xmlns:p14="http://schemas.microsoft.com/office/powerpoint/2010/main" val="9600495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9754"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41" name="Rectangle 40" hidden="1"/>
          <p:cNvSpPr/>
          <p:nvPr>
            <p:custDataLst>
              <p:tags r:id="rId3"/>
            </p:custDataLst>
          </p:nvPr>
        </p:nvSpPr>
        <p:spPr bwMode="auto">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200" b="1">
              <a:latin typeface="Calibri" panose="020F0502020204030204" pitchFamily="34" charset="0"/>
              <a:sym typeface="Calibri" panose="020F0502020204030204" pitchFamily="34" charset="0"/>
            </a:endParaRPr>
          </a:p>
        </p:txBody>
      </p:sp>
      <p:sp>
        <p:nvSpPr>
          <p:cNvPr id="2" name="Title 1"/>
          <p:cNvSpPr>
            <a:spLocks noGrp="1"/>
          </p:cNvSpPr>
          <p:nvPr>
            <p:ph type="title"/>
          </p:nvPr>
        </p:nvSpPr>
        <p:spPr/>
        <p:txBody>
          <a:bodyPr/>
          <a:lstStyle/>
          <a:p>
            <a:r>
              <a:rPr lang="ja-JP" altLang="en-US" dirty="0" smtClean="0"/>
              <a:t>しかし期日までに支出されたのは配分された最大</a:t>
            </a:r>
            <a:r>
              <a:rPr lang="en-US" dirty="0" smtClean="0"/>
              <a:t>8</a:t>
            </a:r>
            <a:r>
              <a:rPr lang="en-US" altLang="ja-JP" dirty="0" smtClean="0"/>
              <a:t>0</a:t>
            </a:r>
            <a:r>
              <a:rPr lang="ja-JP" altLang="en-US" dirty="0" smtClean="0"/>
              <a:t>億</a:t>
            </a:r>
            <a:r>
              <a:rPr lang="ja-JP" altLang="en-US" dirty="0"/>
              <a:t>米</a:t>
            </a:r>
            <a:r>
              <a:rPr lang="ja-JP" altLang="en-US" dirty="0" smtClean="0"/>
              <a:t>ドルの</a:t>
            </a:r>
            <a:r>
              <a:rPr lang="en-US" altLang="ja-JP" dirty="0" smtClean="0"/>
              <a:t>40</a:t>
            </a:r>
            <a:r>
              <a:rPr lang="ja-JP" altLang="en-US" dirty="0" smtClean="0"/>
              <a:t>％のみ</a:t>
            </a:r>
            <a:endParaRPr lang="en-US" dirty="0"/>
          </a:p>
        </p:txBody>
      </p:sp>
      <p:sp>
        <p:nvSpPr>
          <p:cNvPr id="3" name="Text Placeholder 2"/>
          <p:cNvSpPr>
            <a:spLocks noGrp="1"/>
          </p:cNvSpPr>
          <p:nvPr>
            <p:ph type="body" sz="quarter" idx="37"/>
          </p:nvPr>
        </p:nvSpPr>
        <p:spPr/>
        <p:txBody>
          <a:bodyPr/>
          <a:lstStyle/>
          <a:p>
            <a:r>
              <a:rPr lang="en-US" baseline="30000" dirty="0" smtClean="0"/>
              <a:t>1</a:t>
            </a:r>
            <a:r>
              <a:rPr lang="ja-JP" altLang="en-US" dirty="0" smtClean="0"/>
              <a:t>飲料水や衛生との関連が高い</a:t>
            </a:r>
            <a:r>
              <a:rPr lang="en-US" dirty="0" smtClean="0"/>
              <a:t>BSUP</a:t>
            </a:r>
            <a:r>
              <a:rPr lang="ja-JP" altLang="en-US" dirty="0" err="1" smtClean="0"/>
              <a:t>、</a:t>
            </a:r>
            <a:r>
              <a:rPr lang="en-US" dirty="0" smtClean="0"/>
              <a:t>UIDSSMT</a:t>
            </a:r>
            <a:r>
              <a:rPr lang="ja-JP" altLang="en-US" dirty="0" err="1" smtClean="0"/>
              <a:t>、</a:t>
            </a:r>
            <a:r>
              <a:rPr lang="en-US" dirty="0" smtClean="0"/>
              <a:t>IHSDP</a:t>
            </a:r>
            <a:r>
              <a:rPr lang="ja-JP" altLang="en-US" dirty="0" smtClean="0"/>
              <a:t>などの下位プログラムの資金を含む</a:t>
            </a:r>
            <a:endParaRPr lang="en-US" dirty="0" smtClean="0"/>
          </a:p>
          <a:p>
            <a:r>
              <a:rPr lang="ja-JP" altLang="en-US" dirty="0"/>
              <a:t>出典：飲料水衛生省－年次報告書</a:t>
            </a:r>
            <a:r>
              <a:rPr lang="en-US" altLang="ja-JP" dirty="0"/>
              <a:t>2012</a:t>
            </a:r>
            <a:r>
              <a:rPr lang="ja-JP" altLang="en-US" dirty="0"/>
              <a:t>－</a:t>
            </a:r>
            <a:r>
              <a:rPr lang="en-US" altLang="ja-JP" dirty="0"/>
              <a:t>2013</a:t>
            </a:r>
            <a:r>
              <a:rPr lang="ja-JP" altLang="en-US" dirty="0"/>
              <a:t>年；</a:t>
            </a:r>
            <a:r>
              <a:rPr lang="en-US" altLang="ja-JP" dirty="0"/>
              <a:t> JNNURM</a:t>
            </a:r>
            <a:r>
              <a:rPr lang="ja-JP" altLang="en-US" dirty="0" smtClean="0"/>
              <a:t>ウェブサイト（</a:t>
            </a:r>
            <a:r>
              <a:rPr lang="en-US" altLang="ja-JP" dirty="0"/>
              <a:t> www.jnnurm.nic.in </a:t>
            </a:r>
            <a:r>
              <a:rPr lang="ja-JP" altLang="en-US" dirty="0" smtClean="0"/>
              <a:t>）；</a:t>
            </a:r>
            <a:r>
              <a:rPr lang="en-US" altLang="ja-JP" dirty="0" err="1" smtClean="0"/>
              <a:t>Dalberg</a:t>
            </a:r>
            <a:r>
              <a:rPr lang="en-US" altLang="ja-JP" dirty="0" smtClean="0"/>
              <a:t> </a:t>
            </a:r>
            <a:r>
              <a:rPr lang="ja-JP" altLang="en-US" dirty="0" smtClean="0"/>
              <a:t> </a:t>
            </a:r>
            <a:r>
              <a:rPr lang="en-US" altLang="ja-JP" dirty="0" smtClean="0"/>
              <a:t>analysis</a:t>
            </a:r>
            <a:r>
              <a:rPr lang="en-US" dirty="0" smtClean="0"/>
              <a:t>  </a:t>
            </a:r>
            <a:endParaRPr lang="en-US" dirty="0"/>
          </a:p>
        </p:txBody>
      </p:sp>
      <p:graphicFrame>
        <p:nvGraphicFramePr>
          <p:cNvPr id="5" name="Object 4"/>
          <p:cNvGraphicFramePr>
            <a:graphicFrameLocks/>
          </p:cNvGraphicFramePr>
          <p:nvPr>
            <p:custDataLst>
              <p:tags r:id="rId4"/>
            </p:custDataLst>
            <p:extLst>
              <p:ext uri="{D42A27DB-BD31-4B8C-83A1-F6EECF244321}">
                <p14:modId xmlns:p14="http://schemas.microsoft.com/office/powerpoint/2010/main" val="1633721477"/>
              </p:ext>
            </p:extLst>
          </p:nvPr>
        </p:nvGraphicFramePr>
        <p:xfrm>
          <a:off x="1447800" y="1943100"/>
          <a:ext cx="5467382" cy="3267006"/>
        </p:xfrm>
        <a:graphic>
          <a:graphicData uri="http://schemas.openxmlformats.org/presentationml/2006/ole">
            <mc:AlternateContent xmlns:mc="http://schemas.openxmlformats.org/markup-compatibility/2006">
              <mc:Choice xmlns:v="urn:schemas-microsoft-com:vml" Requires="v">
                <p:oleObj spid="_x0000_s909755" name="Chart" r:id="rId19" imgW="5467382" imgH="3267006" progId="MSGraph.Chart.8">
                  <p:embed followColorScheme="full"/>
                </p:oleObj>
              </mc:Choice>
              <mc:Fallback>
                <p:oleObj name="Chart" r:id="rId19" imgW="5467382" imgH="3267006" progId="MSGraph.Chart.8">
                  <p:embed followColorScheme="full"/>
                  <p:pic>
                    <p:nvPicPr>
                      <p:cNvPr id="0" name=""/>
                      <p:cNvPicPr>
                        <a:picLocks noChangeArrowheads="1"/>
                      </p:cNvPicPr>
                      <p:nvPr/>
                    </p:nvPicPr>
                    <p:blipFill>
                      <a:blip r:embed="rId20"/>
                      <a:srcRect/>
                      <a:stretch>
                        <a:fillRect/>
                      </a:stretch>
                    </p:blipFill>
                    <p:spPr bwMode="auto">
                      <a:xfrm>
                        <a:off x="1447800" y="1943100"/>
                        <a:ext cx="5467382" cy="32670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44" name="Straight Connector 43"/>
          <p:cNvCxnSpPr/>
          <p:nvPr>
            <p:custDataLst>
              <p:tags r:id="rId5"/>
            </p:custDataLst>
          </p:nvPr>
        </p:nvCxnSpPr>
        <p:spPr bwMode="auto">
          <a:xfrm flipV="1">
            <a:off x="2133600" y="1893888"/>
            <a:ext cx="0" cy="15557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custDataLst>
              <p:tags r:id="rId6"/>
            </p:custDataLst>
          </p:nvPr>
        </p:nvCxnSpPr>
        <p:spPr bwMode="auto">
          <a:xfrm>
            <a:off x="2133600" y="1893888"/>
            <a:ext cx="623888"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custDataLst>
              <p:tags r:id="rId7"/>
            </p:custDataLst>
          </p:nvPr>
        </p:nvCxnSpPr>
        <p:spPr bwMode="auto">
          <a:xfrm>
            <a:off x="2757488" y="1893888"/>
            <a:ext cx="0" cy="1774825"/>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8" name="Rectangle 27"/>
          <p:cNvSpPr/>
          <p:nvPr>
            <p:custDataLst>
              <p:tags r:id="rId8"/>
            </p:custDataLst>
          </p:nvPr>
        </p:nvSpPr>
        <p:spPr bwMode="auto">
          <a:xfrm>
            <a:off x="3876675" y="5245100"/>
            <a:ext cx="620713" cy="182563"/>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fld id="{12554D67-D370-4FBE-AB1C-A3C6AE8BD8A1}" type="datetime'''J''''N''''''''N''''''''''U''''''R''''''M'">
              <a:rPr lang="en-US" sz="1200" smtClean="0">
                <a:solidFill>
                  <a:srgbClr val="000000"/>
                </a:solidFill>
              </a:rPr>
              <a:pPr/>
              <a:t>JNNURM</a:t>
            </a:fld>
            <a:r>
              <a:rPr lang="en-US" sz="1200" baseline="30000" dirty="0" smtClean="0">
                <a:solidFill>
                  <a:srgbClr val="000000"/>
                </a:solidFill>
              </a:rPr>
              <a:t>1</a:t>
            </a:r>
            <a:endParaRPr lang="en-GB" sz="1200" baseline="30000" dirty="0">
              <a:solidFill>
                <a:srgbClr val="000000"/>
              </a:solidFill>
              <a:sym typeface="+mn-lt"/>
            </a:endParaRPr>
          </a:p>
        </p:txBody>
      </p:sp>
      <p:sp>
        <p:nvSpPr>
          <p:cNvPr id="29" name="Rectangle 28"/>
          <p:cNvSpPr/>
          <p:nvPr>
            <p:custDataLst>
              <p:tags r:id="rId9"/>
            </p:custDataLst>
          </p:nvPr>
        </p:nvSpPr>
        <p:spPr bwMode="auto">
          <a:xfrm>
            <a:off x="2287588" y="5245100"/>
            <a:ext cx="311150" cy="182563"/>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pPr algn="ctr">
              <a:spcBef>
                <a:spcPct val="0"/>
              </a:spcBef>
              <a:spcAft>
                <a:spcPct val="0"/>
              </a:spcAft>
            </a:pPr>
            <a:r>
              <a:rPr lang="ja-JP" altLang="en-US" sz="1200" dirty="0" smtClean="0">
                <a:solidFill>
                  <a:srgbClr val="000000"/>
                </a:solidFill>
                <a:sym typeface="+mn-lt"/>
              </a:rPr>
              <a:t>全体</a:t>
            </a:r>
            <a:endParaRPr lang="en-GB" sz="1200" dirty="0">
              <a:solidFill>
                <a:srgbClr val="000000"/>
              </a:solidFill>
              <a:sym typeface="+mn-lt"/>
            </a:endParaRPr>
          </a:p>
        </p:txBody>
      </p:sp>
      <p:sp>
        <p:nvSpPr>
          <p:cNvPr id="43" name="Text Placeholder 2"/>
          <p:cNvSpPr>
            <a:spLocks noGrp="1"/>
          </p:cNvSpPr>
          <p:nvPr>
            <p:custDataLst>
              <p:tags r:id="rId10"/>
            </p:custDataLst>
          </p:nvPr>
        </p:nvSpPr>
        <p:spPr bwMode="auto">
          <a:xfrm>
            <a:off x="2224088" y="1776413"/>
            <a:ext cx="442913" cy="234950"/>
          </a:xfrm>
          <a:prstGeom prst="ellipse">
            <a:avLst/>
          </a:prstGeom>
          <a:solidFill>
            <a:srgbClr val="FFFFFF"/>
          </a:solidFill>
          <a:ln w="9525">
            <a:solidFill>
              <a:schemeClr val="tx1"/>
            </a:solidFill>
          </a:ln>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90000"/>
              </a:lnSpc>
              <a:spcBef>
                <a:spcPct val="0"/>
              </a:spcBef>
              <a:spcAft>
                <a:spcPct val="0"/>
              </a:spcAft>
              <a:buNone/>
            </a:pPr>
            <a:fld id="{6672FDBD-F236-4B6D-BDF9-76BE34209F0C}" type="datetime'''''''-''''''''''''''''''''5''''''8%'''''''''''">
              <a:rPr lang="en-US" sz="1200" b="1" smtClean="0"/>
              <a:pPr/>
              <a:t>-58%</a:t>
            </a:fld>
            <a:endParaRPr lang="en-US" sz="1200" b="1" dirty="0">
              <a:sym typeface="+mn-lt"/>
            </a:endParaRPr>
          </a:p>
        </p:txBody>
      </p:sp>
      <p:sp>
        <p:nvSpPr>
          <p:cNvPr id="22" name="Text Placeholder 2"/>
          <p:cNvSpPr>
            <a:spLocks noGrp="1"/>
          </p:cNvSpPr>
          <p:nvPr>
            <p:custDataLst>
              <p:tags r:id="rId11"/>
            </p:custDataLst>
          </p:nvPr>
        </p:nvSpPr>
        <p:spPr bwMode="auto">
          <a:xfrm>
            <a:off x="5789613" y="5245100"/>
            <a:ext cx="280988"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35E1DC8-E677-42EB-A8C5-CD513C9A693E}" type="datetime'''''''''''''''''''N''''''''''''''''''''B''''''''''''''''''''A'">
              <a:rPr lang="en-US" sz="1200">
                <a:latin typeface="Calibri" panose="020F0502020204030204" pitchFamily="34" charset="0"/>
                <a:sym typeface="Calibri" panose="020F0502020204030204" pitchFamily="34" charset="0"/>
              </a:rPr>
              <a:pPr marL="0" indent="0" algn="ctr">
                <a:spcBef>
                  <a:spcPct val="0"/>
                </a:spcBef>
                <a:spcAft>
                  <a:spcPct val="0"/>
                </a:spcAft>
                <a:buNone/>
              </a:pPr>
              <a:t>NBA</a:t>
            </a:fld>
            <a:endParaRPr lang="en-US" sz="1200" dirty="0">
              <a:latin typeface="Calibri" panose="020F0502020204030204" pitchFamily="34" charset="0"/>
              <a:sym typeface="Calibri" panose="020F0502020204030204" pitchFamily="34" charset="0"/>
            </a:endParaRPr>
          </a:p>
        </p:txBody>
      </p:sp>
      <p:sp>
        <p:nvSpPr>
          <p:cNvPr id="36" name="TextBox 35"/>
          <p:cNvSpPr txBox="1"/>
          <p:nvPr/>
        </p:nvSpPr>
        <p:spPr>
          <a:xfrm>
            <a:off x="415637" y="1202088"/>
            <a:ext cx="5481248" cy="457200"/>
          </a:xfrm>
          <a:prstGeom prst="rect">
            <a:avLst/>
          </a:prstGeom>
          <a:noFill/>
        </p:spPr>
        <p:txBody>
          <a:bodyPr wrap="none" lIns="0" tIns="0" rIns="0" bIns="0" rtlCol="0">
            <a:noAutofit/>
          </a:bodyPr>
          <a:lstStyle/>
          <a:p>
            <a:pPr marL="231775" indent="-231775"/>
            <a:r>
              <a:rPr lang="ja-JP" altLang="en-US" sz="1400" b="1" dirty="0" smtClean="0">
                <a:solidFill>
                  <a:srgbClr val="000000"/>
                </a:solidFill>
              </a:rPr>
              <a:t>中央政府衛生スキームの累積予算</a:t>
            </a:r>
            <a:endParaRPr lang="en-GB" sz="1400" b="1" dirty="0" smtClean="0">
              <a:solidFill>
                <a:srgbClr val="000000"/>
              </a:solidFill>
            </a:endParaRPr>
          </a:p>
          <a:p>
            <a:pPr marL="231775" indent="-231775"/>
            <a:r>
              <a:rPr lang="ja-JP" altLang="en-US" sz="1400" i="1" dirty="0" smtClean="0">
                <a:solidFill>
                  <a:srgbClr val="000000"/>
                </a:solidFill>
              </a:rPr>
              <a:t>配分</a:t>
            </a:r>
            <a:r>
              <a:rPr lang="en-US" altLang="ja-JP" sz="1400" i="1" dirty="0" smtClean="0">
                <a:solidFill>
                  <a:srgbClr val="000000"/>
                </a:solidFill>
              </a:rPr>
              <a:t>vs</a:t>
            </a:r>
            <a:r>
              <a:rPr lang="ja-JP" altLang="en-US" sz="1400" i="1" dirty="0" smtClean="0">
                <a:solidFill>
                  <a:srgbClr val="000000"/>
                </a:solidFill>
              </a:rPr>
              <a:t>支出（単位　</a:t>
            </a:r>
            <a:r>
              <a:rPr lang="en-US" altLang="ja-JP" sz="1400" i="1" dirty="0" smtClean="0">
                <a:solidFill>
                  <a:srgbClr val="000000"/>
                </a:solidFill>
              </a:rPr>
              <a:t>10</a:t>
            </a:r>
            <a:r>
              <a:rPr lang="ja-JP" altLang="en-US" sz="1400" i="1" dirty="0" smtClean="0">
                <a:solidFill>
                  <a:srgbClr val="000000"/>
                </a:solidFill>
              </a:rPr>
              <a:t>億米ドル）</a:t>
            </a:r>
            <a:endParaRPr lang="en-GB" sz="1400" i="1" dirty="0" smtClean="0">
              <a:solidFill>
                <a:srgbClr val="000000"/>
              </a:solidFill>
            </a:endParaRPr>
          </a:p>
        </p:txBody>
      </p:sp>
      <p:sp>
        <p:nvSpPr>
          <p:cNvPr id="38" name="Rectangle 37"/>
          <p:cNvSpPr/>
          <p:nvPr>
            <p:custDataLst>
              <p:tags r:id="rId12"/>
            </p:custDataLst>
          </p:nvPr>
        </p:nvSpPr>
        <p:spPr bwMode="auto">
          <a:xfrm>
            <a:off x="7008813" y="2667000"/>
            <a:ext cx="214313" cy="1603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37" name="Rectangle 36"/>
          <p:cNvSpPr/>
          <p:nvPr>
            <p:custDataLst>
              <p:tags r:id="rId13"/>
            </p:custDataLst>
          </p:nvPr>
        </p:nvSpPr>
        <p:spPr bwMode="auto">
          <a:xfrm>
            <a:off x="7008813" y="2433638"/>
            <a:ext cx="214313" cy="1603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39" name="Rectangle 38"/>
          <p:cNvSpPr/>
          <p:nvPr>
            <p:custDataLst>
              <p:tags r:id="rId14"/>
            </p:custDataLst>
          </p:nvPr>
        </p:nvSpPr>
        <p:spPr bwMode="auto">
          <a:xfrm>
            <a:off x="7273925" y="2662238"/>
            <a:ext cx="1085850" cy="182563"/>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r>
              <a:rPr lang="ja-JP" altLang="en-US" sz="1200" dirty="0" smtClean="0">
                <a:solidFill>
                  <a:srgbClr val="000000"/>
                </a:solidFill>
                <a:sym typeface="+mn-lt"/>
              </a:rPr>
              <a:t>実際の支出額</a:t>
            </a:r>
            <a:endParaRPr lang="en-GB" sz="1200" dirty="0">
              <a:solidFill>
                <a:srgbClr val="000000"/>
              </a:solidFill>
              <a:sym typeface="+mn-lt"/>
            </a:endParaRPr>
          </a:p>
        </p:txBody>
      </p:sp>
      <p:sp>
        <p:nvSpPr>
          <p:cNvPr id="40" name="Rectangle 39"/>
          <p:cNvSpPr/>
          <p:nvPr>
            <p:custDataLst>
              <p:tags r:id="rId15"/>
            </p:custDataLst>
          </p:nvPr>
        </p:nvSpPr>
        <p:spPr bwMode="auto">
          <a:xfrm>
            <a:off x="7273925" y="2428875"/>
            <a:ext cx="1049338" cy="182563"/>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r>
              <a:rPr lang="ja-JP" altLang="en-US" sz="1200" dirty="0" smtClean="0">
                <a:solidFill>
                  <a:srgbClr val="000000"/>
                </a:solidFill>
                <a:sym typeface="+mn-lt"/>
              </a:rPr>
              <a:t>配分予算</a:t>
            </a:r>
            <a:endParaRPr lang="en-GB" sz="1200" dirty="0">
              <a:solidFill>
                <a:srgbClr val="000000"/>
              </a:solidFill>
              <a:sym typeface="+mn-lt"/>
            </a:endParaRPr>
          </a:p>
        </p:txBody>
      </p:sp>
      <p:sp>
        <p:nvSpPr>
          <p:cNvPr id="24" name="Text Placeholder 2"/>
          <p:cNvSpPr>
            <a:spLocks noGrp="1"/>
          </p:cNvSpPr>
          <p:nvPr>
            <p:ph type="body" sz="quarter" idx="4294967295"/>
          </p:nvPr>
        </p:nvSpPr>
        <p:spPr>
          <a:xfrm>
            <a:off x="1613555" y="5547588"/>
            <a:ext cx="5916891" cy="708772"/>
          </a:xfrm>
          <a:prstGeom prst="roundRect">
            <a:avLst/>
          </a:prstGeom>
          <a:noFill/>
          <a:ln>
            <a:solidFill>
              <a:srgbClr val="6710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ja-JP" altLang="en-US" dirty="0" smtClean="0">
                <a:solidFill>
                  <a:schemeClr val="tx1"/>
                </a:solidFill>
              </a:rPr>
              <a:t>発表された支出額は配分額よりかなり少ないが、認可を受けたプロジェクト費用の総額は</a:t>
            </a:r>
            <a:r>
              <a:rPr lang="en-GB" dirty="0" smtClean="0">
                <a:solidFill>
                  <a:schemeClr val="tx1"/>
                </a:solidFill>
              </a:rPr>
              <a:t> </a:t>
            </a:r>
            <a:r>
              <a:rPr lang="ja-JP" altLang="en-US" b="1" dirty="0" smtClean="0">
                <a:solidFill>
                  <a:schemeClr val="tx1"/>
                </a:solidFill>
              </a:rPr>
              <a:t>認可プロジェクトのタイムラグと資金調達ギャップが大きいために</a:t>
            </a:r>
            <a:r>
              <a:rPr lang="ja-JP" altLang="en-US" dirty="0" smtClean="0">
                <a:solidFill>
                  <a:schemeClr val="tx1"/>
                </a:solidFill>
              </a:rPr>
              <a:t>配分額より大きくなっている</a:t>
            </a:r>
            <a:r>
              <a:rPr lang="en-GB" dirty="0" smtClean="0">
                <a:solidFill>
                  <a:schemeClr val="tx1"/>
                </a:solidFill>
              </a:rPr>
              <a:t> </a:t>
            </a:r>
            <a:endParaRPr lang="en-GB" dirty="0">
              <a:solidFill>
                <a:schemeClr val="tx1"/>
              </a:solidFill>
            </a:endParaRPr>
          </a:p>
        </p:txBody>
      </p:sp>
    </p:spTree>
    <p:extLst>
      <p:ext uri="{BB962C8B-B14F-4D97-AF65-F5344CB8AC3E}">
        <p14:creationId xmlns:p14="http://schemas.microsoft.com/office/powerpoint/2010/main" val="127339576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33570149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733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ja-JP" altLang="en-US" dirty="0" smtClean="0"/>
              <a:t>衛生分野には営利企業も非営利企業も参入し、そのほとんどがエンドエンドの衛生サービスを提供している</a:t>
            </a:r>
            <a:endParaRPr lang="en-US" dirty="0"/>
          </a:p>
        </p:txBody>
      </p:sp>
      <p:sp>
        <p:nvSpPr>
          <p:cNvPr id="3" name="Text Placeholder 2"/>
          <p:cNvSpPr>
            <a:spLocks noGrp="1"/>
          </p:cNvSpPr>
          <p:nvPr>
            <p:ph type="body" sz="quarter" idx="37"/>
          </p:nvPr>
        </p:nvSpPr>
        <p:spPr/>
        <p:txBody>
          <a:bodyPr/>
          <a:lstStyle/>
          <a:p>
            <a:r>
              <a:rPr lang="en-US" baseline="30000" dirty="0" smtClean="0"/>
              <a:t>1</a:t>
            </a:r>
            <a:r>
              <a:rPr lang="ja-JP" altLang="en-US" dirty="0" smtClean="0"/>
              <a:t>分散型排水処理システム；</a:t>
            </a:r>
            <a:r>
              <a:rPr lang="en-US" dirty="0" smtClean="0"/>
              <a:t> </a:t>
            </a:r>
          </a:p>
          <a:p>
            <a:r>
              <a:rPr lang="ja-JP" altLang="en-US" dirty="0" smtClean="0"/>
              <a:t>出典：</a:t>
            </a:r>
            <a:r>
              <a:rPr lang="en-US" dirty="0" smtClean="0"/>
              <a:t>CDD Society</a:t>
            </a:r>
            <a:r>
              <a:rPr lang="ja-JP" altLang="en-US" dirty="0" smtClean="0"/>
              <a:t>ウェブサイト（</a:t>
            </a:r>
            <a:r>
              <a:rPr lang="en-US" dirty="0" smtClean="0"/>
              <a:t>www.cddindia.org</a:t>
            </a:r>
            <a:r>
              <a:rPr lang="ja-JP" altLang="en-US" dirty="0" smtClean="0"/>
              <a:t>）；</a:t>
            </a:r>
            <a:r>
              <a:rPr lang="en-US" dirty="0" smtClean="0"/>
              <a:t>REEL</a:t>
            </a:r>
            <a:r>
              <a:rPr lang="ja-JP" altLang="en-US" dirty="0" smtClean="0"/>
              <a:t>ウェブサイト（</a:t>
            </a:r>
            <a:r>
              <a:rPr lang="en-US" altLang="ja-JP" dirty="0" smtClean="0"/>
              <a:t>www.ramkyenviroengineers.com</a:t>
            </a:r>
            <a:r>
              <a:rPr lang="ja-JP" altLang="en-US" dirty="0" smtClean="0"/>
              <a:t>）</a:t>
            </a:r>
            <a:r>
              <a:rPr lang="en-US" dirty="0" smtClean="0"/>
              <a:t>; </a:t>
            </a:r>
            <a:r>
              <a:rPr lang="en-US" dirty="0" err="1"/>
              <a:t>Sulabh</a:t>
            </a:r>
            <a:r>
              <a:rPr lang="en-US" dirty="0"/>
              <a:t> </a:t>
            </a:r>
            <a:r>
              <a:rPr lang="en-US" dirty="0" smtClean="0"/>
              <a:t>International</a:t>
            </a:r>
            <a:r>
              <a:rPr lang="ja-JP" altLang="en-US" dirty="0" smtClean="0"/>
              <a:t>ウェブサイト（</a:t>
            </a:r>
            <a:r>
              <a:rPr lang="en-US" altLang="ja-JP" dirty="0" smtClean="0"/>
              <a:t>www.sulabhinternational.org</a:t>
            </a:r>
            <a:r>
              <a:rPr lang="ja-JP" altLang="en-US" dirty="0" smtClean="0"/>
              <a:t>）</a:t>
            </a:r>
            <a:r>
              <a:rPr lang="ja-JP" altLang="en-US" dirty="0"/>
              <a:t>；</a:t>
            </a:r>
            <a:r>
              <a:rPr lang="en-US" dirty="0" smtClean="0"/>
              <a:t>Feedback Infra</a:t>
            </a:r>
            <a:r>
              <a:rPr lang="ja-JP" altLang="en-US" dirty="0" smtClean="0"/>
              <a:t>ウェブサイト（</a:t>
            </a:r>
            <a:r>
              <a:rPr lang="en-US" altLang="ja-JP" dirty="0" smtClean="0"/>
              <a:t>www.feedbackinfra.com </a:t>
            </a:r>
            <a:r>
              <a:rPr lang="ja-JP" altLang="en-US" dirty="0" smtClean="0"/>
              <a:t>）</a:t>
            </a:r>
            <a:r>
              <a:rPr lang="en-US" dirty="0" smtClean="0"/>
              <a:t>   </a:t>
            </a:r>
            <a:endParaRPr lang="en-US" dirty="0"/>
          </a:p>
        </p:txBody>
      </p:sp>
      <p:sp>
        <p:nvSpPr>
          <p:cNvPr id="16" name="TextBox 15"/>
          <p:cNvSpPr txBox="1"/>
          <p:nvPr/>
        </p:nvSpPr>
        <p:spPr>
          <a:xfrm>
            <a:off x="7524292" y="977902"/>
            <a:ext cx="1238708" cy="439804"/>
          </a:xfrm>
          <a:prstGeom prst="rect">
            <a:avLst/>
          </a:prstGeom>
          <a:noFill/>
        </p:spPr>
        <p:txBody>
          <a:bodyPr wrap="square" lIns="0" tIns="0" rIns="0" bIns="0" rtlCol="0" anchor="b">
            <a:noAutofit/>
          </a:bodyPr>
          <a:lstStyle/>
          <a:p>
            <a:pPr algn="ctr"/>
            <a:r>
              <a:rPr lang="ja-JP" altLang="en-US" sz="1200" b="1" dirty="0" smtClean="0"/>
              <a:t>インドにおける事業規模</a:t>
            </a:r>
            <a:endParaRPr lang="en-US" sz="1200" b="1" dirty="0" smtClean="0"/>
          </a:p>
          <a:p>
            <a:pPr algn="ctr"/>
            <a:r>
              <a:rPr lang="ja-JP" altLang="en-US" sz="1200" i="1" dirty="0" smtClean="0"/>
              <a:t>設置数／利用者数</a:t>
            </a:r>
            <a:endParaRPr lang="en-US" sz="1200" i="1" dirty="0" smtClean="0"/>
          </a:p>
        </p:txBody>
      </p:sp>
      <p:cxnSp>
        <p:nvCxnSpPr>
          <p:cNvPr id="17" name="Straight Connector 16"/>
          <p:cNvCxnSpPr/>
          <p:nvPr/>
        </p:nvCxnSpPr>
        <p:spPr>
          <a:xfrm>
            <a:off x="7524293" y="1441795"/>
            <a:ext cx="1238708"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6530150" y="762831"/>
            <a:ext cx="731520" cy="654875"/>
          </a:xfrm>
          <a:prstGeom prst="rect">
            <a:avLst/>
          </a:prstGeom>
          <a:noFill/>
        </p:spPr>
        <p:txBody>
          <a:bodyPr wrap="square" lIns="0" tIns="0" rIns="0" bIns="0" rtlCol="0" anchor="b">
            <a:noAutofit/>
          </a:bodyPr>
          <a:lstStyle/>
          <a:p>
            <a:pPr algn="ctr"/>
            <a:r>
              <a:rPr lang="ja-JP" altLang="en-US" sz="1200" b="1" dirty="0" smtClean="0"/>
              <a:t>種別</a:t>
            </a:r>
            <a:endParaRPr lang="en-US" sz="1200" b="1" dirty="0" smtClean="0"/>
          </a:p>
          <a:p>
            <a:pPr algn="ctr"/>
            <a:r>
              <a:rPr lang="ja-JP" altLang="en-US" sz="1200" i="1" dirty="0" smtClean="0"/>
              <a:t>営利／</a:t>
            </a:r>
            <a:r>
              <a:rPr lang="en-US" sz="1200" i="1" dirty="0" smtClean="0"/>
              <a:t> </a:t>
            </a:r>
            <a:endParaRPr lang="ja-JP" altLang="en-US" sz="1200" i="1" dirty="0" smtClean="0"/>
          </a:p>
          <a:p>
            <a:pPr algn="ctr"/>
            <a:r>
              <a:rPr lang="ja-JP" altLang="en-US" sz="1200" i="1" dirty="0" smtClean="0"/>
              <a:t>非営利</a:t>
            </a:r>
            <a:endParaRPr lang="en-US" sz="1200" i="1" dirty="0" smtClean="0"/>
          </a:p>
        </p:txBody>
      </p:sp>
      <p:cxnSp>
        <p:nvCxnSpPr>
          <p:cNvPr id="21" name="Straight Connector 20"/>
          <p:cNvCxnSpPr/>
          <p:nvPr/>
        </p:nvCxnSpPr>
        <p:spPr>
          <a:xfrm>
            <a:off x="6530150" y="1441795"/>
            <a:ext cx="73152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2304644" y="1219200"/>
            <a:ext cx="4017072" cy="198505"/>
          </a:xfrm>
          <a:prstGeom prst="rect">
            <a:avLst/>
          </a:prstGeom>
          <a:noFill/>
        </p:spPr>
        <p:txBody>
          <a:bodyPr wrap="square" lIns="0" tIns="0" rIns="0" bIns="0" rtlCol="0" anchor="b">
            <a:noAutofit/>
          </a:bodyPr>
          <a:lstStyle/>
          <a:p>
            <a:pPr algn="ctr"/>
            <a:r>
              <a:rPr lang="ja-JP" altLang="en-US" sz="1200" b="1" dirty="0" smtClean="0"/>
              <a:t>特徴</a:t>
            </a:r>
            <a:endParaRPr lang="en-US" sz="1200" i="1" dirty="0" smtClean="0"/>
          </a:p>
        </p:txBody>
      </p:sp>
      <p:cxnSp>
        <p:nvCxnSpPr>
          <p:cNvPr id="23" name="Straight Connector 22"/>
          <p:cNvCxnSpPr/>
          <p:nvPr/>
        </p:nvCxnSpPr>
        <p:spPr>
          <a:xfrm>
            <a:off x="2304645" y="1441795"/>
            <a:ext cx="4017072"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415637" y="1219200"/>
            <a:ext cx="1645920" cy="198505"/>
          </a:xfrm>
          <a:prstGeom prst="rect">
            <a:avLst/>
          </a:prstGeom>
          <a:noFill/>
        </p:spPr>
        <p:txBody>
          <a:bodyPr wrap="square" lIns="0" tIns="0" rIns="0" bIns="0" rtlCol="0" anchor="b">
            <a:noAutofit/>
          </a:bodyPr>
          <a:lstStyle/>
          <a:p>
            <a:pPr algn="ctr"/>
            <a:r>
              <a:rPr lang="ja-JP" altLang="en-US" sz="1200" b="1" dirty="0" smtClean="0"/>
              <a:t>名称</a:t>
            </a:r>
            <a:endParaRPr lang="en-US" sz="1200" i="1" dirty="0" smtClean="0"/>
          </a:p>
        </p:txBody>
      </p:sp>
      <p:cxnSp>
        <p:nvCxnSpPr>
          <p:cNvPr id="26" name="Straight Connector 25"/>
          <p:cNvCxnSpPr/>
          <p:nvPr/>
        </p:nvCxnSpPr>
        <p:spPr>
          <a:xfrm>
            <a:off x="415638" y="1441795"/>
            <a:ext cx="164592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415637" y="2176684"/>
            <a:ext cx="1645920" cy="198505"/>
          </a:xfrm>
          <a:prstGeom prst="rect">
            <a:avLst/>
          </a:prstGeom>
          <a:noFill/>
        </p:spPr>
        <p:txBody>
          <a:bodyPr wrap="square" lIns="0" tIns="0" rIns="0" bIns="0" rtlCol="0" anchor="t">
            <a:noAutofit/>
          </a:bodyPr>
          <a:lstStyle/>
          <a:p>
            <a:r>
              <a:rPr lang="en-US" sz="1200" dirty="0" err="1" smtClean="0"/>
              <a:t>CDD</a:t>
            </a:r>
            <a:r>
              <a:rPr lang="en-US" sz="1200" dirty="0" smtClean="0"/>
              <a:t> Society (</a:t>
            </a:r>
            <a:r>
              <a:rPr lang="en-US" sz="1200" dirty="0" err="1" smtClean="0"/>
              <a:t>BORDA</a:t>
            </a:r>
            <a:r>
              <a:rPr lang="en-US" sz="1200" dirty="0" smtClean="0"/>
              <a:t>)</a:t>
            </a:r>
            <a:endParaRPr lang="en-US" sz="1200" i="1" dirty="0" smtClean="0"/>
          </a:p>
        </p:txBody>
      </p:sp>
      <p:sp>
        <p:nvSpPr>
          <p:cNvPr id="47" name="TextBox 46"/>
          <p:cNvSpPr txBox="1"/>
          <p:nvPr/>
        </p:nvSpPr>
        <p:spPr>
          <a:xfrm>
            <a:off x="2304644" y="1594288"/>
            <a:ext cx="4017072" cy="1174723"/>
          </a:xfrm>
          <a:prstGeom prst="rect">
            <a:avLst/>
          </a:prstGeom>
          <a:noFill/>
        </p:spPr>
        <p:txBody>
          <a:bodyPr wrap="square" lIns="0" tIns="0" rIns="0" bIns="0" rtlCol="0" anchor="t">
            <a:noAutofit/>
          </a:bodyPr>
          <a:lstStyle/>
          <a:p>
            <a:pPr marL="171450" indent="-171450">
              <a:buFont typeface="Arial" panose="020B0604020202020204" pitchFamily="34" charset="0"/>
              <a:buChar char="•"/>
            </a:pPr>
            <a:r>
              <a:rPr lang="ja-JP" altLang="en-US" sz="1200" dirty="0" smtClean="0"/>
              <a:t>インドで家庭排出物や産業排出物を処理する</a:t>
            </a:r>
            <a:r>
              <a:rPr lang="en-US" sz="1200" dirty="0" smtClean="0"/>
              <a:t>DEWATS</a:t>
            </a:r>
            <a:r>
              <a:rPr lang="en-US" sz="1200" baseline="30000" dirty="0" smtClean="0"/>
              <a:t>1</a:t>
            </a:r>
            <a:r>
              <a:rPr lang="en-US" sz="1200" dirty="0" smtClean="0"/>
              <a:t> </a:t>
            </a:r>
            <a:r>
              <a:rPr lang="ja-JP" altLang="en-US" sz="1200" dirty="0" err="1" smtClean="0"/>
              <a:t>を普</a:t>
            </a:r>
            <a:r>
              <a:rPr lang="ja-JP" altLang="en-US" sz="1200" dirty="0" smtClean="0"/>
              <a:t>及させている。</a:t>
            </a:r>
            <a:r>
              <a:rPr lang="en-US" sz="1200" dirty="0" smtClean="0"/>
              <a:t>BORDA</a:t>
            </a:r>
            <a:r>
              <a:rPr lang="ja-JP" altLang="en-US" sz="1200" dirty="0" smtClean="0"/>
              <a:t>ネットワーク傘下</a:t>
            </a:r>
            <a:endParaRPr lang="en-US" sz="1200" dirty="0" smtClean="0"/>
          </a:p>
          <a:p>
            <a:pPr marL="171450" indent="-171450">
              <a:buFont typeface="Arial" panose="020B0604020202020204" pitchFamily="34" charset="0"/>
              <a:buChar char="•"/>
            </a:pPr>
            <a:r>
              <a:rPr lang="en-US" sz="1200" dirty="0" smtClean="0"/>
              <a:t>DEWATS</a:t>
            </a:r>
            <a:r>
              <a:rPr lang="ja-JP" altLang="en-US" sz="1200" dirty="0" err="1" smtClean="0"/>
              <a:t>には</a:t>
            </a:r>
            <a:r>
              <a:rPr lang="en-US" altLang="ja-JP" sz="1200" dirty="0" smtClean="0"/>
              <a:t>3</a:t>
            </a:r>
            <a:r>
              <a:rPr lang="ja-JP" altLang="en-US" sz="1200" dirty="0" smtClean="0"/>
              <a:t>段階のプロセス（沈殿、嫌気性処理、好気性処理）があり、ニイミシステムとよく似ている</a:t>
            </a:r>
            <a:endParaRPr lang="en-US" sz="1200" dirty="0" smtClean="0"/>
          </a:p>
          <a:p>
            <a:pPr marL="171450" indent="-171450">
              <a:buFont typeface="Arial" panose="020B0604020202020204" pitchFamily="34" charset="0"/>
              <a:buChar char="•"/>
            </a:pPr>
            <a:r>
              <a:rPr lang="ja-JP" altLang="en-US" sz="1200" dirty="0" smtClean="0"/>
              <a:t>コスト、排出基準、容量などのおもな性能基準はオンライン上で公表されている</a:t>
            </a:r>
            <a:endParaRPr lang="en-US" sz="1200" dirty="0"/>
          </a:p>
          <a:p>
            <a:pPr marL="171450" indent="-171450">
              <a:buFont typeface="Arial" panose="020B0604020202020204" pitchFamily="34" charset="0"/>
              <a:buChar char="•"/>
            </a:pPr>
            <a:endParaRPr lang="en-US" sz="1200" dirty="0" smtClean="0"/>
          </a:p>
        </p:txBody>
      </p:sp>
      <p:sp>
        <p:nvSpPr>
          <p:cNvPr id="48" name="TextBox 47"/>
          <p:cNvSpPr txBox="1"/>
          <p:nvPr/>
        </p:nvSpPr>
        <p:spPr>
          <a:xfrm>
            <a:off x="6530150" y="1594288"/>
            <a:ext cx="731520" cy="198505"/>
          </a:xfrm>
          <a:prstGeom prst="rect">
            <a:avLst/>
          </a:prstGeom>
          <a:noFill/>
        </p:spPr>
        <p:txBody>
          <a:bodyPr wrap="square" lIns="0" tIns="0" rIns="0" bIns="0" rtlCol="0" anchor="t">
            <a:noAutofit/>
          </a:bodyPr>
          <a:lstStyle/>
          <a:p>
            <a:pPr algn="ctr"/>
            <a:r>
              <a:rPr lang="ja-JP" altLang="en-US" sz="1200" dirty="0" smtClean="0"/>
              <a:t>非営利</a:t>
            </a:r>
            <a:endParaRPr lang="en-US" sz="1200" i="1" dirty="0" smtClean="0"/>
          </a:p>
        </p:txBody>
      </p:sp>
      <p:sp>
        <p:nvSpPr>
          <p:cNvPr id="49" name="TextBox 48"/>
          <p:cNvSpPr txBox="1"/>
          <p:nvPr/>
        </p:nvSpPr>
        <p:spPr>
          <a:xfrm>
            <a:off x="7535990" y="1594288"/>
            <a:ext cx="1126098" cy="563146"/>
          </a:xfrm>
          <a:prstGeom prst="rect">
            <a:avLst/>
          </a:prstGeom>
          <a:noFill/>
        </p:spPr>
        <p:txBody>
          <a:bodyPr wrap="square" lIns="0" tIns="0" rIns="0" bIns="0" rtlCol="0" anchor="t">
            <a:noAutofit/>
          </a:bodyPr>
          <a:lstStyle/>
          <a:p>
            <a:r>
              <a:rPr lang="ja-JP" altLang="en-US" sz="1200" dirty="0" smtClean="0"/>
              <a:t>プロジェクト数</a:t>
            </a:r>
            <a:r>
              <a:rPr lang="en-US" sz="1200" dirty="0" smtClean="0"/>
              <a:t>350</a:t>
            </a:r>
            <a:r>
              <a:rPr lang="ja-JP" altLang="en-US" sz="1200" dirty="0" err="1" smtClean="0"/>
              <a:t>、</a:t>
            </a:r>
            <a:r>
              <a:rPr lang="ja-JP" altLang="en-US" sz="1200" dirty="0" smtClean="0"/>
              <a:t>受益者</a:t>
            </a:r>
            <a:r>
              <a:rPr lang="en-US" sz="1200" dirty="0" smtClean="0"/>
              <a:t>80,000</a:t>
            </a:r>
            <a:r>
              <a:rPr lang="ja-JP" altLang="en-US" sz="1200" dirty="0" smtClean="0"/>
              <a:t>人</a:t>
            </a:r>
            <a:endParaRPr lang="en-US" sz="1200" i="1" dirty="0" smtClean="0"/>
          </a:p>
        </p:txBody>
      </p:sp>
      <p:cxnSp>
        <p:nvCxnSpPr>
          <p:cNvPr id="54" name="Straight Connector 53"/>
          <p:cNvCxnSpPr/>
          <p:nvPr/>
        </p:nvCxnSpPr>
        <p:spPr>
          <a:xfrm>
            <a:off x="395288" y="2795702"/>
            <a:ext cx="8333076"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pic>
        <p:nvPicPr>
          <p:cNvPr id="5" name="Picture 4"/>
          <p:cNvPicPr>
            <a:picLocks noChangeAspect="1"/>
          </p:cNvPicPr>
          <p:nvPr/>
        </p:nvPicPr>
        <p:blipFill rotWithShape="1">
          <a:blip r:embed="rId6"/>
          <a:srcRect l="23313" t="12247" r="59782" b="79476"/>
          <a:stretch/>
        </p:blipFill>
        <p:spPr>
          <a:xfrm>
            <a:off x="395288" y="1594288"/>
            <a:ext cx="1666269" cy="458692"/>
          </a:xfrm>
          <a:prstGeom prst="rect">
            <a:avLst/>
          </a:prstGeom>
        </p:spPr>
      </p:pic>
      <p:sp>
        <p:nvSpPr>
          <p:cNvPr id="50" name="TextBox 49"/>
          <p:cNvSpPr txBox="1"/>
          <p:nvPr/>
        </p:nvSpPr>
        <p:spPr>
          <a:xfrm>
            <a:off x="450290" y="3479808"/>
            <a:ext cx="1645920" cy="389561"/>
          </a:xfrm>
          <a:prstGeom prst="rect">
            <a:avLst/>
          </a:prstGeom>
          <a:noFill/>
        </p:spPr>
        <p:txBody>
          <a:bodyPr wrap="square" lIns="0" tIns="0" rIns="0" bIns="0" rtlCol="0" anchor="t">
            <a:noAutofit/>
          </a:bodyPr>
          <a:lstStyle/>
          <a:p>
            <a:r>
              <a:rPr lang="en-US" sz="1200" dirty="0" err="1" smtClean="0"/>
              <a:t>RAMKY</a:t>
            </a:r>
            <a:r>
              <a:rPr lang="en-US" sz="1200" dirty="0" smtClean="0"/>
              <a:t> </a:t>
            </a:r>
            <a:r>
              <a:rPr lang="en-US" sz="1200" dirty="0" err="1" smtClean="0"/>
              <a:t>Enviro</a:t>
            </a:r>
            <a:r>
              <a:rPr lang="en-US" sz="1200" dirty="0" smtClean="0"/>
              <a:t> Engineers Ltd. (REEL)</a:t>
            </a:r>
            <a:endParaRPr lang="en-US" sz="1200" i="1" dirty="0" smtClean="0"/>
          </a:p>
        </p:txBody>
      </p:sp>
      <p:sp>
        <p:nvSpPr>
          <p:cNvPr id="51" name="TextBox 50"/>
          <p:cNvSpPr txBox="1"/>
          <p:nvPr/>
        </p:nvSpPr>
        <p:spPr>
          <a:xfrm>
            <a:off x="2304644" y="2892715"/>
            <a:ext cx="4017072" cy="781874"/>
          </a:xfrm>
          <a:prstGeom prst="rect">
            <a:avLst/>
          </a:prstGeom>
          <a:noFill/>
        </p:spPr>
        <p:txBody>
          <a:bodyPr wrap="square" lIns="0" tIns="0" rIns="0" bIns="0" rtlCol="0" anchor="t">
            <a:noAutofit/>
          </a:bodyPr>
          <a:lstStyle/>
          <a:p>
            <a:pPr marL="171450" indent="-171450">
              <a:buFont typeface="Arial" panose="020B0604020202020204" pitchFamily="34" charset="0"/>
              <a:buChar char="•"/>
            </a:pPr>
            <a:r>
              <a:rPr lang="en-US" altLang="ja-JP" sz="1200" dirty="0" smtClean="0"/>
              <a:t>15</a:t>
            </a:r>
            <a:r>
              <a:rPr lang="ja-JP" altLang="en-US" sz="1200" dirty="0" smtClean="0"/>
              <a:t>億</a:t>
            </a:r>
            <a:r>
              <a:rPr lang="ja-JP" altLang="en-US" sz="1200" dirty="0"/>
              <a:t>米</a:t>
            </a:r>
            <a:r>
              <a:rPr lang="ja-JP" altLang="en-US" sz="1200" dirty="0" smtClean="0"/>
              <a:t>ドルグループの</a:t>
            </a:r>
            <a:r>
              <a:rPr lang="en-US" altLang="ja-JP" sz="1200" dirty="0" err="1" smtClean="0"/>
              <a:t>Ramky</a:t>
            </a:r>
            <a:r>
              <a:rPr lang="ja-JP" altLang="en-US" sz="1200" dirty="0" smtClean="0"/>
              <a:t>は民間排出物、産業排出物、有害排出物の処理を行う</a:t>
            </a:r>
            <a:endParaRPr lang="en-US" sz="1200" dirty="0" smtClean="0"/>
          </a:p>
          <a:p>
            <a:pPr marL="171450" indent="-171450">
              <a:buFont typeface="Arial" panose="020B0604020202020204" pitchFamily="34" charset="0"/>
              <a:buChar char="•"/>
            </a:pPr>
            <a:r>
              <a:rPr lang="ja-JP" altLang="en-US" sz="1200" dirty="0" smtClean="0"/>
              <a:t>固形及び液体の排出物についてエンドエンドのソリューションを幅広く提供している</a:t>
            </a:r>
            <a:endParaRPr lang="en-US" sz="1200" dirty="0" smtClean="0"/>
          </a:p>
          <a:p>
            <a:pPr marL="171450" indent="-171450">
              <a:buFont typeface="Arial" panose="020B0604020202020204" pitchFamily="34" charset="0"/>
              <a:buChar char="•"/>
            </a:pPr>
            <a:r>
              <a:rPr lang="ja-JP" altLang="en-US" sz="1200" dirty="0" smtClean="0"/>
              <a:t>従来型の大規模処理施設を用いる</a:t>
            </a:r>
            <a:endParaRPr lang="en-US" sz="1200" dirty="0" smtClean="0"/>
          </a:p>
        </p:txBody>
      </p:sp>
      <p:sp>
        <p:nvSpPr>
          <p:cNvPr id="52" name="TextBox 51"/>
          <p:cNvSpPr txBox="1"/>
          <p:nvPr/>
        </p:nvSpPr>
        <p:spPr>
          <a:xfrm>
            <a:off x="6530150" y="2892715"/>
            <a:ext cx="731520" cy="198505"/>
          </a:xfrm>
          <a:prstGeom prst="rect">
            <a:avLst/>
          </a:prstGeom>
          <a:noFill/>
        </p:spPr>
        <p:txBody>
          <a:bodyPr wrap="square" lIns="0" tIns="0" rIns="0" bIns="0" rtlCol="0" anchor="t">
            <a:noAutofit/>
          </a:bodyPr>
          <a:lstStyle/>
          <a:p>
            <a:pPr algn="ctr"/>
            <a:r>
              <a:rPr lang="ja-JP" altLang="en-US" sz="1200" dirty="0" smtClean="0"/>
              <a:t>営利</a:t>
            </a:r>
            <a:endParaRPr lang="en-US" sz="1200" i="1" dirty="0" smtClean="0"/>
          </a:p>
        </p:txBody>
      </p:sp>
      <p:sp>
        <p:nvSpPr>
          <p:cNvPr id="53" name="TextBox 52"/>
          <p:cNvSpPr txBox="1"/>
          <p:nvPr/>
        </p:nvSpPr>
        <p:spPr>
          <a:xfrm>
            <a:off x="7535990" y="2892715"/>
            <a:ext cx="1126098" cy="563146"/>
          </a:xfrm>
          <a:prstGeom prst="rect">
            <a:avLst/>
          </a:prstGeom>
          <a:noFill/>
        </p:spPr>
        <p:txBody>
          <a:bodyPr wrap="square" lIns="0" tIns="0" rIns="0" bIns="0" rtlCol="0" anchor="t">
            <a:noAutofit/>
          </a:bodyPr>
          <a:lstStyle/>
          <a:p>
            <a:r>
              <a:rPr lang="en-US" altLang="ja-JP" sz="1200" dirty="0" smtClean="0"/>
              <a:t>40</a:t>
            </a:r>
            <a:r>
              <a:rPr lang="ja-JP" altLang="en-US" sz="1200" dirty="0" smtClean="0"/>
              <a:t>市／町で排出物処理</a:t>
            </a:r>
            <a:endParaRPr lang="en-US" sz="1200" i="1" dirty="0" smtClean="0"/>
          </a:p>
        </p:txBody>
      </p:sp>
      <p:pic>
        <p:nvPicPr>
          <p:cNvPr id="6" name="Picture 5"/>
          <p:cNvPicPr>
            <a:picLocks noChangeAspect="1"/>
          </p:cNvPicPr>
          <p:nvPr/>
        </p:nvPicPr>
        <p:blipFill rotWithShape="1">
          <a:blip r:embed="rId7"/>
          <a:srcRect l="13911" t="11096" r="78966" b="76922"/>
          <a:stretch/>
        </p:blipFill>
        <p:spPr>
          <a:xfrm>
            <a:off x="415637" y="2913310"/>
            <a:ext cx="557739" cy="527489"/>
          </a:xfrm>
          <a:prstGeom prst="rect">
            <a:avLst/>
          </a:prstGeom>
        </p:spPr>
      </p:pic>
      <p:cxnSp>
        <p:nvCxnSpPr>
          <p:cNvPr id="59" name="Straight Connector 58"/>
          <p:cNvCxnSpPr/>
          <p:nvPr/>
        </p:nvCxnSpPr>
        <p:spPr>
          <a:xfrm>
            <a:off x="395288" y="3881961"/>
            <a:ext cx="8333076"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60" name="TextBox 59"/>
          <p:cNvSpPr txBox="1"/>
          <p:nvPr/>
        </p:nvSpPr>
        <p:spPr>
          <a:xfrm>
            <a:off x="450290" y="4588608"/>
            <a:ext cx="1645920" cy="194781"/>
          </a:xfrm>
          <a:prstGeom prst="rect">
            <a:avLst/>
          </a:prstGeom>
          <a:noFill/>
        </p:spPr>
        <p:txBody>
          <a:bodyPr wrap="square" lIns="0" tIns="0" rIns="0" bIns="0" rtlCol="0" anchor="t">
            <a:noAutofit/>
          </a:bodyPr>
          <a:lstStyle/>
          <a:p>
            <a:r>
              <a:rPr lang="en-US" sz="1200" dirty="0" err="1" smtClean="0"/>
              <a:t>Sulabh</a:t>
            </a:r>
            <a:r>
              <a:rPr lang="en-US" sz="1200" dirty="0" smtClean="0"/>
              <a:t> International</a:t>
            </a:r>
            <a:endParaRPr lang="en-US" sz="1200" i="1" dirty="0" smtClean="0"/>
          </a:p>
        </p:txBody>
      </p:sp>
      <p:sp>
        <p:nvSpPr>
          <p:cNvPr id="61" name="TextBox 60"/>
          <p:cNvSpPr txBox="1"/>
          <p:nvPr/>
        </p:nvSpPr>
        <p:spPr>
          <a:xfrm>
            <a:off x="2304644" y="3978973"/>
            <a:ext cx="4017072" cy="945553"/>
          </a:xfrm>
          <a:prstGeom prst="rect">
            <a:avLst/>
          </a:prstGeom>
          <a:noFill/>
        </p:spPr>
        <p:txBody>
          <a:bodyPr wrap="square" lIns="0" tIns="0" rIns="0" bIns="0" rtlCol="0" anchor="t">
            <a:noAutofit/>
          </a:bodyPr>
          <a:lstStyle/>
          <a:p>
            <a:pPr marL="171450" indent="-171450">
              <a:buFont typeface="Arial" panose="020B0604020202020204" pitchFamily="34" charset="0"/>
              <a:buChar char="•"/>
            </a:pPr>
            <a:r>
              <a:rPr lang="ja-JP" altLang="en-US" sz="1200" dirty="0" smtClean="0">
                <a:solidFill>
                  <a:srgbClr val="000000"/>
                </a:solidFill>
              </a:rPr>
              <a:t>非営利の社会ボランティア組織で、家庭／コミュニティ用に低コストの水洗コンポストトイレを設置</a:t>
            </a:r>
            <a:endParaRPr lang="en-US" sz="1200" dirty="0" smtClean="0">
              <a:solidFill>
                <a:srgbClr val="000000"/>
              </a:solidFill>
            </a:endParaRPr>
          </a:p>
          <a:p>
            <a:pPr marL="171450" indent="-171450">
              <a:buFont typeface="Arial" panose="020B0604020202020204" pitchFamily="34" charset="0"/>
              <a:buChar char="•"/>
            </a:pPr>
            <a:r>
              <a:rPr lang="ja-JP" altLang="en-US" sz="1200" dirty="0" smtClean="0"/>
              <a:t>人の排泄物をバイオガスに転換する、費用効果が高く環境に優しい技術を開発した</a:t>
            </a:r>
            <a:endParaRPr lang="en-US" sz="1200" dirty="0" smtClean="0"/>
          </a:p>
        </p:txBody>
      </p:sp>
      <p:sp>
        <p:nvSpPr>
          <p:cNvPr id="62" name="TextBox 61"/>
          <p:cNvSpPr txBox="1"/>
          <p:nvPr/>
        </p:nvSpPr>
        <p:spPr>
          <a:xfrm>
            <a:off x="6530150" y="3978974"/>
            <a:ext cx="731520" cy="198505"/>
          </a:xfrm>
          <a:prstGeom prst="rect">
            <a:avLst/>
          </a:prstGeom>
          <a:noFill/>
        </p:spPr>
        <p:txBody>
          <a:bodyPr wrap="square" lIns="0" tIns="0" rIns="0" bIns="0" rtlCol="0" anchor="t">
            <a:noAutofit/>
          </a:bodyPr>
          <a:lstStyle/>
          <a:p>
            <a:pPr algn="ctr"/>
            <a:r>
              <a:rPr lang="ja-JP" altLang="en-US" sz="1200" dirty="0" smtClean="0"/>
              <a:t>非営利</a:t>
            </a:r>
            <a:endParaRPr lang="en-US" sz="1200" i="1" dirty="0" smtClean="0"/>
          </a:p>
        </p:txBody>
      </p:sp>
      <p:sp>
        <p:nvSpPr>
          <p:cNvPr id="68" name="TextBox 67"/>
          <p:cNvSpPr txBox="1"/>
          <p:nvPr/>
        </p:nvSpPr>
        <p:spPr>
          <a:xfrm>
            <a:off x="7535990" y="3978974"/>
            <a:ext cx="1126098" cy="563146"/>
          </a:xfrm>
          <a:prstGeom prst="rect">
            <a:avLst/>
          </a:prstGeom>
          <a:noFill/>
        </p:spPr>
        <p:txBody>
          <a:bodyPr wrap="square" lIns="0" tIns="0" rIns="0" bIns="0" rtlCol="0" anchor="t">
            <a:noAutofit/>
          </a:bodyPr>
          <a:lstStyle/>
          <a:p>
            <a:r>
              <a:rPr lang="en-US" altLang="ja-JP" sz="1200" dirty="0" smtClean="0"/>
              <a:t>150</a:t>
            </a:r>
            <a:r>
              <a:rPr lang="ja-JP" altLang="en-US" sz="1200" dirty="0" smtClean="0"/>
              <a:t>万世帯、公衆トイレ</a:t>
            </a:r>
            <a:r>
              <a:rPr lang="en-US" sz="1200" dirty="0" smtClean="0"/>
              <a:t> 8000</a:t>
            </a:r>
            <a:r>
              <a:rPr lang="ja-JP" altLang="en-US" sz="1200" dirty="0" smtClean="0"/>
              <a:t>；</a:t>
            </a:r>
            <a:r>
              <a:rPr lang="en-US" altLang="ja-JP" sz="1200" dirty="0" smtClean="0"/>
              <a:t>1</a:t>
            </a:r>
            <a:r>
              <a:rPr lang="ja-JP" altLang="en-US" sz="1200" dirty="0" smtClean="0"/>
              <a:t>日の利用者</a:t>
            </a:r>
            <a:r>
              <a:rPr lang="en-US" altLang="ja-JP" sz="1200" dirty="0" smtClean="0"/>
              <a:t>1500</a:t>
            </a:r>
            <a:r>
              <a:rPr lang="ja-JP" altLang="en-US" sz="1200" dirty="0" smtClean="0"/>
              <a:t>万人</a:t>
            </a:r>
            <a:endParaRPr lang="en-US" sz="1200" i="1" dirty="0" smtClean="0"/>
          </a:p>
        </p:txBody>
      </p:sp>
      <p:cxnSp>
        <p:nvCxnSpPr>
          <p:cNvPr id="70" name="Straight Connector 69"/>
          <p:cNvCxnSpPr/>
          <p:nvPr/>
        </p:nvCxnSpPr>
        <p:spPr>
          <a:xfrm>
            <a:off x="395288" y="4924527"/>
            <a:ext cx="8333076" cy="0"/>
          </a:xfrm>
          <a:prstGeom prst="line">
            <a:avLst/>
          </a:prstGeom>
          <a:ln w="317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450290" y="5472232"/>
            <a:ext cx="1645920" cy="194781"/>
          </a:xfrm>
          <a:prstGeom prst="rect">
            <a:avLst/>
          </a:prstGeom>
          <a:noFill/>
        </p:spPr>
        <p:txBody>
          <a:bodyPr wrap="square" lIns="0" tIns="0" rIns="0" bIns="0" rtlCol="0" anchor="t">
            <a:noAutofit/>
          </a:bodyPr>
          <a:lstStyle/>
          <a:p>
            <a:r>
              <a:rPr lang="en-US" sz="1200" dirty="0" smtClean="0"/>
              <a:t>Feedback Infra</a:t>
            </a:r>
            <a:endParaRPr lang="en-US" sz="1200" i="1" dirty="0" smtClean="0"/>
          </a:p>
        </p:txBody>
      </p:sp>
      <p:sp>
        <p:nvSpPr>
          <p:cNvPr id="77" name="TextBox 76"/>
          <p:cNvSpPr txBox="1"/>
          <p:nvPr/>
        </p:nvSpPr>
        <p:spPr>
          <a:xfrm>
            <a:off x="2304644" y="5021540"/>
            <a:ext cx="4017072" cy="781874"/>
          </a:xfrm>
          <a:prstGeom prst="rect">
            <a:avLst/>
          </a:prstGeom>
          <a:noFill/>
        </p:spPr>
        <p:txBody>
          <a:bodyPr wrap="square" lIns="0" tIns="0" rIns="0" bIns="0" rtlCol="0" anchor="t">
            <a:noAutofit/>
          </a:bodyPr>
          <a:lstStyle/>
          <a:p>
            <a:pPr marL="171450" indent="-171450">
              <a:buFont typeface="Arial" panose="020B0604020202020204" pitchFamily="34" charset="0"/>
              <a:buChar char="•"/>
            </a:pPr>
            <a:r>
              <a:rPr lang="ja-JP" altLang="en-US" sz="1200" dirty="0" smtClean="0"/>
              <a:t>農村地域において従来型のトイレでトイレへのアクセスを提供するインフラサービス</a:t>
            </a:r>
            <a:endParaRPr lang="en-US" sz="1200" dirty="0" smtClean="0"/>
          </a:p>
          <a:p>
            <a:pPr marL="171450" indent="-171450">
              <a:buFont typeface="Arial" panose="020B0604020202020204" pitchFamily="34" charset="0"/>
              <a:buChar char="•"/>
            </a:pPr>
            <a:r>
              <a:rPr lang="ja-JP" altLang="en-US" sz="1200" dirty="0" smtClean="0"/>
              <a:t>公衆衛生総合キャンペーンに基づき中央政府・州政府と連携</a:t>
            </a:r>
            <a:endParaRPr lang="en-US" sz="1200" dirty="0"/>
          </a:p>
          <a:p>
            <a:pPr marL="171450" indent="-171450">
              <a:buFont typeface="Arial" panose="020B0604020202020204" pitchFamily="34" charset="0"/>
              <a:buChar char="•"/>
            </a:pPr>
            <a:r>
              <a:rPr lang="ja-JP" altLang="en-US" sz="1200" dirty="0" smtClean="0"/>
              <a:t>世界銀行、オーストラリアエイド（</a:t>
            </a:r>
            <a:r>
              <a:rPr lang="en-US" altLang="ja-JP" sz="1200" dirty="0" err="1" smtClean="0"/>
              <a:t>AusAID</a:t>
            </a:r>
            <a:r>
              <a:rPr lang="ja-JP" altLang="en-US" sz="1200" dirty="0" smtClean="0"/>
              <a:t>）、ユニセフなどの開発組織の支援も受けている</a:t>
            </a:r>
            <a:endParaRPr lang="en-US" sz="1200" dirty="0" smtClean="0"/>
          </a:p>
        </p:txBody>
      </p:sp>
      <p:sp>
        <p:nvSpPr>
          <p:cNvPr id="78" name="TextBox 77"/>
          <p:cNvSpPr txBox="1"/>
          <p:nvPr/>
        </p:nvSpPr>
        <p:spPr>
          <a:xfrm>
            <a:off x="6530150" y="5021540"/>
            <a:ext cx="731520" cy="198505"/>
          </a:xfrm>
          <a:prstGeom prst="rect">
            <a:avLst/>
          </a:prstGeom>
          <a:noFill/>
        </p:spPr>
        <p:txBody>
          <a:bodyPr wrap="square" lIns="0" tIns="0" rIns="0" bIns="0" rtlCol="0" anchor="t">
            <a:noAutofit/>
          </a:bodyPr>
          <a:lstStyle/>
          <a:p>
            <a:pPr algn="ctr"/>
            <a:r>
              <a:rPr lang="ja-JP" altLang="en-US" sz="1200" dirty="0" smtClean="0"/>
              <a:t>営利</a:t>
            </a:r>
            <a:endParaRPr lang="en-US" sz="1200" i="1" dirty="0" smtClean="0"/>
          </a:p>
        </p:txBody>
      </p:sp>
      <p:sp>
        <p:nvSpPr>
          <p:cNvPr id="79" name="TextBox 78"/>
          <p:cNvSpPr txBox="1"/>
          <p:nvPr/>
        </p:nvSpPr>
        <p:spPr>
          <a:xfrm>
            <a:off x="7535990" y="5021540"/>
            <a:ext cx="1126098" cy="563146"/>
          </a:xfrm>
          <a:prstGeom prst="rect">
            <a:avLst/>
          </a:prstGeom>
          <a:noFill/>
        </p:spPr>
        <p:txBody>
          <a:bodyPr wrap="square" lIns="0" tIns="0" rIns="0" bIns="0" rtlCol="0" anchor="t">
            <a:noAutofit/>
          </a:bodyPr>
          <a:lstStyle/>
          <a:p>
            <a:r>
              <a:rPr lang="ja-JP" altLang="en-US" sz="1200" dirty="0" smtClean="0"/>
              <a:t>プロジェクト数</a:t>
            </a:r>
            <a:r>
              <a:rPr lang="en-US" sz="1200" dirty="0" smtClean="0"/>
              <a:t>4</a:t>
            </a:r>
            <a:endParaRPr lang="en-US" sz="1200" i="1" dirty="0" smtClean="0"/>
          </a:p>
        </p:txBody>
      </p:sp>
      <p:pic>
        <p:nvPicPr>
          <p:cNvPr id="80" name="Picture 79"/>
          <p:cNvPicPr>
            <a:picLocks noChangeAspect="1"/>
          </p:cNvPicPr>
          <p:nvPr/>
        </p:nvPicPr>
        <p:blipFill rotWithShape="1">
          <a:blip r:embed="rId8"/>
          <a:srcRect l="900" t="11064" r="80770" b="81672"/>
          <a:stretch/>
        </p:blipFill>
        <p:spPr>
          <a:xfrm>
            <a:off x="415638" y="5057095"/>
            <a:ext cx="1645920" cy="366707"/>
          </a:xfrm>
          <a:prstGeom prst="rect">
            <a:avLst/>
          </a:prstGeom>
        </p:spPr>
      </p:pic>
      <p:pic>
        <p:nvPicPr>
          <p:cNvPr id="82"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56386" y="3945640"/>
            <a:ext cx="371517" cy="6230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4753007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2942745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834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ja-JP" altLang="en-US" dirty="0" smtClean="0"/>
              <a:t>検討対象企業はインド全体で事業展開しているが、北東部の州での活動はかなり限定的である</a:t>
            </a:r>
            <a:endParaRPr lang="en-US" dirty="0"/>
          </a:p>
        </p:txBody>
      </p:sp>
      <p:sp>
        <p:nvSpPr>
          <p:cNvPr id="3" name="Text Placeholder 2"/>
          <p:cNvSpPr>
            <a:spLocks noGrp="1"/>
          </p:cNvSpPr>
          <p:nvPr>
            <p:ph type="body" sz="quarter" idx="37"/>
          </p:nvPr>
        </p:nvSpPr>
        <p:spPr/>
        <p:txBody>
          <a:bodyPr/>
          <a:lstStyle/>
          <a:p>
            <a:r>
              <a:rPr lang="en-US" baseline="30000" dirty="0" smtClean="0"/>
              <a:t>1</a:t>
            </a:r>
            <a:r>
              <a:rPr lang="ja-JP" altLang="en-US" dirty="0" smtClean="0"/>
              <a:t>この地図は特定の州内の活動を示しているにすぎず、プロジェクトや設置場所の数を示すものではない；</a:t>
            </a:r>
            <a:r>
              <a:rPr lang="en-US" dirty="0" smtClean="0"/>
              <a:t> </a:t>
            </a:r>
            <a:r>
              <a:rPr lang="en-US" baseline="30000" dirty="0" smtClean="0"/>
              <a:t>2</a:t>
            </a:r>
            <a:r>
              <a:rPr lang="ja-JP" altLang="en-US" dirty="0" smtClean="0"/>
              <a:t>地方自治体の排出物処理場のみを示している（ニイミ技術との関連が高いため）；</a:t>
            </a:r>
            <a:r>
              <a:rPr lang="en-US" dirty="0" smtClean="0"/>
              <a:t> </a:t>
            </a:r>
            <a:r>
              <a:rPr lang="en-US" baseline="30000" dirty="0" smtClean="0"/>
              <a:t>3</a:t>
            </a:r>
            <a:r>
              <a:rPr lang="en-US" dirty="0" smtClean="0"/>
              <a:t>Sulabh International</a:t>
            </a:r>
            <a:r>
              <a:rPr lang="ja-JP" altLang="en-US" dirty="0" smtClean="0"/>
              <a:t>はインド全体で活動している</a:t>
            </a:r>
            <a:r>
              <a:rPr lang="en-US" dirty="0" smtClean="0"/>
              <a:t>  </a:t>
            </a:r>
          </a:p>
          <a:p>
            <a:r>
              <a:rPr lang="ja-JP" altLang="en-US" dirty="0"/>
              <a:t>出典：</a:t>
            </a:r>
            <a:r>
              <a:rPr lang="en-US" altLang="ja-JP" dirty="0"/>
              <a:t>CDD Society</a:t>
            </a:r>
            <a:r>
              <a:rPr lang="ja-JP" altLang="en-US" dirty="0"/>
              <a:t>ウェブサイト（</a:t>
            </a:r>
            <a:r>
              <a:rPr lang="en-US" altLang="ja-JP" dirty="0"/>
              <a:t>www.cddindia.org</a:t>
            </a:r>
            <a:r>
              <a:rPr lang="ja-JP" altLang="en-US" dirty="0"/>
              <a:t>）；</a:t>
            </a:r>
            <a:r>
              <a:rPr lang="en-US" altLang="ja-JP" dirty="0"/>
              <a:t>REEL</a:t>
            </a:r>
            <a:r>
              <a:rPr lang="ja-JP" altLang="en-US" dirty="0"/>
              <a:t>ウェブサイト（</a:t>
            </a:r>
            <a:r>
              <a:rPr lang="en-US" altLang="ja-JP" dirty="0"/>
              <a:t>www.ramkyenviroengineers.com</a:t>
            </a:r>
            <a:r>
              <a:rPr lang="ja-JP" altLang="en-US" dirty="0"/>
              <a:t>）</a:t>
            </a:r>
            <a:r>
              <a:rPr lang="en-US" altLang="ja-JP" dirty="0"/>
              <a:t>; </a:t>
            </a:r>
            <a:r>
              <a:rPr lang="en-US" altLang="ja-JP" dirty="0" err="1"/>
              <a:t>Sulabh</a:t>
            </a:r>
            <a:r>
              <a:rPr lang="en-US" altLang="ja-JP" dirty="0"/>
              <a:t> International</a:t>
            </a:r>
            <a:r>
              <a:rPr lang="ja-JP" altLang="en-US" dirty="0"/>
              <a:t>ウェブサイト（</a:t>
            </a:r>
            <a:r>
              <a:rPr lang="en-US" altLang="ja-JP" dirty="0"/>
              <a:t>www.sulabhinternational.org</a:t>
            </a:r>
            <a:r>
              <a:rPr lang="ja-JP" altLang="en-US" dirty="0"/>
              <a:t>）；</a:t>
            </a:r>
            <a:r>
              <a:rPr lang="en-US" altLang="ja-JP" dirty="0"/>
              <a:t>Feedback Infra</a:t>
            </a:r>
            <a:r>
              <a:rPr lang="ja-JP" altLang="en-US" dirty="0"/>
              <a:t>ウェブサイト（</a:t>
            </a:r>
            <a:r>
              <a:rPr lang="en-US" altLang="ja-JP" dirty="0"/>
              <a:t>www.feedbackinfra.com </a:t>
            </a:r>
            <a:r>
              <a:rPr lang="ja-JP" altLang="en-US" dirty="0"/>
              <a:t>）</a:t>
            </a:r>
            <a:r>
              <a:rPr lang="en-US" altLang="ja-JP" dirty="0"/>
              <a:t>   </a:t>
            </a:r>
            <a:r>
              <a:rPr lang="en-US" dirty="0" smtClean="0"/>
              <a:t>  </a:t>
            </a:r>
            <a:endParaRPr lang="en-US" dirty="0"/>
          </a:p>
        </p:txBody>
      </p:sp>
      <p:grpSp>
        <p:nvGrpSpPr>
          <p:cNvPr id="28" name="Group 27"/>
          <p:cNvGrpSpPr/>
          <p:nvPr/>
        </p:nvGrpSpPr>
        <p:grpSpPr>
          <a:xfrm>
            <a:off x="2523924" y="1657430"/>
            <a:ext cx="3910431" cy="4298753"/>
            <a:chOff x="2859485" y="692696"/>
            <a:chExt cx="4948237" cy="5402263"/>
          </a:xfrm>
        </p:grpSpPr>
        <p:sp>
          <p:nvSpPr>
            <p:cNvPr id="29" name="Freeform 28"/>
            <p:cNvSpPr/>
            <p:nvPr/>
          </p:nvSpPr>
          <p:spPr>
            <a:xfrm>
              <a:off x="3800872" y="692696"/>
              <a:ext cx="1214438" cy="966788"/>
            </a:xfrm>
            <a:custGeom>
              <a:avLst/>
              <a:gdLst>
                <a:gd name="connsiteX0" fmla="*/ 0 w 1213253"/>
                <a:gd name="connsiteY0" fmla="*/ 93671 h 967926"/>
                <a:gd name="connsiteX1" fmla="*/ 8921 w 1213253"/>
                <a:gd name="connsiteY1" fmla="*/ 196262 h 967926"/>
                <a:gd name="connsiteX2" fmla="*/ 75828 w 1213253"/>
                <a:gd name="connsiteY2" fmla="*/ 214104 h 967926"/>
                <a:gd name="connsiteX3" fmla="*/ 111512 w 1213253"/>
                <a:gd name="connsiteY3" fmla="*/ 236406 h 967926"/>
                <a:gd name="connsiteX4" fmla="*/ 151656 w 1213253"/>
                <a:gd name="connsiteY4" fmla="*/ 289932 h 967926"/>
                <a:gd name="connsiteX5" fmla="*/ 182880 w 1213253"/>
                <a:gd name="connsiteY5" fmla="*/ 298853 h 967926"/>
                <a:gd name="connsiteX6" fmla="*/ 209643 w 1213253"/>
                <a:gd name="connsiteY6" fmla="*/ 347919 h 967926"/>
                <a:gd name="connsiteX7" fmla="*/ 209643 w 1213253"/>
                <a:gd name="connsiteY7" fmla="*/ 392523 h 967926"/>
                <a:gd name="connsiteX8" fmla="*/ 129354 w 1213253"/>
                <a:gd name="connsiteY8" fmla="*/ 472812 h 967926"/>
                <a:gd name="connsiteX9" fmla="*/ 115973 w 1213253"/>
                <a:gd name="connsiteY9" fmla="*/ 504036 h 967926"/>
                <a:gd name="connsiteX10" fmla="*/ 120433 w 1213253"/>
                <a:gd name="connsiteY10" fmla="*/ 722600 h 967926"/>
                <a:gd name="connsiteX11" fmla="*/ 156117 w 1213253"/>
                <a:gd name="connsiteY11" fmla="*/ 762744 h 967926"/>
                <a:gd name="connsiteX12" fmla="*/ 200722 w 1213253"/>
                <a:gd name="connsiteY12" fmla="*/ 771665 h 967926"/>
                <a:gd name="connsiteX13" fmla="*/ 218564 w 1213253"/>
                <a:gd name="connsiteY13" fmla="*/ 802888 h 967926"/>
                <a:gd name="connsiteX14" fmla="*/ 245327 w 1213253"/>
                <a:gd name="connsiteY14" fmla="*/ 802888 h 967926"/>
                <a:gd name="connsiteX15" fmla="*/ 285471 w 1213253"/>
                <a:gd name="connsiteY15" fmla="*/ 860875 h 967926"/>
                <a:gd name="connsiteX16" fmla="*/ 356839 w 1213253"/>
                <a:gd name="connsiteY16" fmla="*/ 860875 h 967926"/>
                <a:gd name="connsiteX17" fmla="*/ 356839 w 1213253"/>
                <a:gd name="connsiteY17" fmla="*/ 909940 h 967926"/>
                <a:gd name="connsiteX18" fmla="*/ 432667 w 1213253"/>
                <a:gd name="connsiteY18" fmla="*/ 905480 h 967926"/>
                <a:gd name="connsiteX19" fmla="*/ 450509 w 1213253"/>
                <a:gd name="connsiteY19" fmla="*/ 896559 h 967926"/>
                <a:gd name="connsiteX20" fmla="*/ 454970 w 1213253"/>
                <a:gd name="connsiteY20" fmla="*/ 820730 h 967926"/>
                <a:gd name="connsiteX21" fmla="*/ 481733 w 1213253"/>
                <a:gd name="connsiteY21" fmla="*/ 785046 h 967926"/>
                <a:gd name="connsiteX22" fmla="*/ 499575 w 1213253"/>
                <a:gd name="connsiteY22" fmla="*/ 749362 h 967926"/>
                <a:gd name="connsiteX23" fmla="*/ 544179 w 1213253"/>
                <a:gd name="connsiteY23" fmla="*/ 740441 h 967926"/>
                <a:gd name="connsiteX24" fmla="*/ 597705 w 1213253"/>
                <a:gd name="connsiteY24" fmla="*/ 740441 h 967926"/>
                <a:gd name="connsiteX25" fmla="*/ 624468 w 1213253"/>
                <a:gd name="connsiteY25" fmla="*/ 785046 h 967926"/>
                <a:gd name="connsiteX26" fmla="*/ 651231 w 1213253"/>
                <a:gd name="connsiteY26" fmla="*/ 802888 h 967926"/>
                <a:gd name="connsiteX27" fmla="*/ 709217 w 1213253"/>
                <a:gd name="connsiteY27" fmla="*/ 825191 h 967926"/>
                <a:gd name="connsiteX28" fmla="*/ 771664 w 1213253"/>
                <a:gd name="connsiteY28" fmla="*/ 816270 h 967926"/>
                <a:gd name="connsiteX29" fmla="*/ 785046 w 1213253"/>
                <a:gd name="connsiteY29" fmla="*/ 851954 h 967926"/>
                <a:gd name="connsiteX30" fmla="*/ 807348 w 1213253"/>
                <a:gd name="connsiteY30" fmla="*/ 869796 h 967926"/>
                <a:gd name="connsiteX31" fmla="*/ 865335 w 1213253"/>
                <a:gd name="connsiteY31" fmla="*/ 905480 h 967926"/>
                <a:gd name="connsiteX32" fmla="*/ 932242 w 1213253"/>
                <a:gd name="connsiteY32" fmla="*/ 878717 h 967926"/>
                <a:gd name="connsiteX33" fmla="*/ 945623 w 1213253"/>
                <a:gd name="connsiteY33" fmla="*/ 874256 h 967926"/>
                <a:gd name="connsiteX34" fmla="*/ 936702 w 1213253"/>
                <a:gd name="connsiteY34" fmla="*/ 918861 h 967926"/>
                <a:gd name="connsiteX35" fmla="*/ 945623 w 1213253"/>
                <a:gd name="connsiteY35" fmla="*/ 959005 h 967926"/>
                <a:gd name="connsiteX36" fmla="*/ 999149 w 1213253"/>
                <a:gd name="connsiteY36" fmla="*/ 967926 h 967926"/>
                <a:gd name="connsiteX37" fmla="*/ 1008070 w 1213253"/>
                <a:gd name="connsiteY37" fmla="*/ 936703 h 967926"/>
                <a:gd name="connsiteX38" fmla="*/ 1016991 w 1213253"/>
                <a:gd name="connsiteY38" fmla="*/ 901019 h 967926"/>
                <a:gd name="connsiteX39" fmla="*/ 1052675 w 1213253"/>
                <a:gd name="connsiteY39" fmla="*/ 892098 h 967926"/>
                <a:gd name="connsiteX40" fmla="*/ 1074977 w 1213253"/>
                <a:gd name="connsiteY40" fmla="*/ 878717 h 967926"/>
                <a:gd name="connsiteX41" fmla="*/ 1061596 w 1213253"/>
                <a:gd name="connsiteY41" fmla="*/ 843033 h 967926"/>
                <a:gd name="connsiteX42" fmla="*/ 1034833 w 1213253"/>
                <a:gd name="connsiteY42" fmla="*/ 807349 h 967926"/>
                <a:gd name="connsiteX43" fmla="*/ 1043754 w 1213253"/>
                <a:gd name="connsiteY43" fmla="*/ 762744 h 967926"/>
                <a:gd name="connsiteX44" fmla="*/ 1008070 w 1213253"/>
                <a:gd name="connsiteY44" fmla="*/ 758283 h 967926"/>
                <a:gd name="connsiteX45" fmla="*/ 972386 w 1213253"/>
                <a:gd name="connsiteY45" fmla="*/ 695837 h 967926"/>
                <a:gd name="connsiteX46" fmla="*/ 985768 w 1213253"/>
                <a:gd name="connsiteY46" fmla="*/ 664613 h 967926"/>
                <a:gd name="connsiteX47" fmla="*/ 994689 w 1213253"/>
                <a:gd name="connsiteY47" fmla="*/ 646771 h 967926"/>
                <a:gd name="connsiteX48" fmla="*/ 990228 w 1213253"/>
                <a:gd name="connsiteY48" fmla="*/ 615548 h 967926"/>
                <a:gd name="connsiteX49" fmla="*/ 1003610 w 1213253"/>
                <a:gd name="connsiteY49" fmla="*/ 606627 h 967926"/>
                <a:gd name="connsiteX50" fmla="*/ 1034833 w 1213253"/>
                <a:gd name="connsiteY50" fmla="*/ 624469 h 967926"/>
                <a:gd name="connsiteX51" fmla="*/ 1066056 w 1213253"/>
                <a:gd name="connsiteY51" fmla="*/ 588785 h 967926"/>
                <a:gd name="connsiteX52" fmla="*/ 1074977 w 1213253"/>
                <a:gd name="connsiteY52" fmla="*/ 570943 h 967926"/>
                <a:gd name="connsiteX53" fmla="*/ 1074977 w 1213253"/>
                <a:gd name="connsiteY53" fmla="*/ 553101 h 967926"/>
                <a:gd name="connsiteX54" fmla="*/ 1092819 w 1213253"/>
                <a:gd name="connsiteY54" fmla="*/ 530799 h 967926"/>
                <a:gd name="connsiteX55" fmla="*/ 1159727 w 1213253"/>
                <a:gd name="connsiteY55" fmla="*/ 517417 h 967926"/>
                <a:gd name="connsiteX56" fmla="*/ 1168648 w 1213253"/>
                <a:gd name="connsiteY56" fmla="*/ 468352 h 967926"/>
                <a:gd name="connsiteX57" fmla="*/ 1190950 w 1213253"/>
                <a:gd name="connsiteY57" fmla="*/ 437128 h 967926"/>
                <a:gd name="connsiteX58" fmla="*/ 1195411 w 1213253"/>
                <a:gd name="connsiteY58" fmla="*/ 379142 h 967926"/>
                <a:gd name="connsiteX59" fmla="*/ 1213253 w 1213253"/>
                <a:gd name="connsiteY59" fmla="*/ 325616 h 967926"/>
                <a:gd name="connsiteX60" fmla="*/ 1204332 w 1213253"/>
                <a:gd name="connsiteY60" fmla="*/ 281011 h 967926"/>
                <a:gd name="connsiteX61" fmla="*/ 1155266 w 1213253"/>
                <a:gd name="connsiteY61" fmla="*/ 272090 h 967926"/>
                <a:gd name="connsiteX62" fmla="*/ 1110661 w 1213253"/>
                <a:gd name="connsiteY62" fmla="*/ 281011 h 967926"/>
                <a:gd name="connsiteX63" fmla="*/ 1030373 w 1213253"/>
                <a:gd name="connsiteY63" fmla="*/ 227485 h 967926"/>
                <a:gd name="connsiteX64" fmla="*/ 1003610 w 1213253"/>
                <a:gd name="connsiteY64" fmla="*/ 231946 h 967926"/>
                <a:gd name="connsiteX65" fmla="*/ 985768 w 1213253"/>
                <a:gd name="connsiteY65" fmla="*/ 285472 h 967926"/>
                <a:gd name="connsiteX66" fmla="*/ 967926 w 1213253"/>
                <a:gd name="connsiteY66" fmla="*/ 289932 h 967926"/>
                <a:gd name="connsiteX67" fmla="*/ 896558 w 1213253"/>
                <a:gd name="connsiteY67" fmla="*/ 281011 h 967926"/>
                <a:gd name="connsiteX68" fmla="*/ 878716 w 1213253"/>
                <a:gd name="connsiteY68" fmla="*/ 325616 h 967926"/>
                <a:gd name="connsiteX69" fmla="*/ 856414 w 1213253"/>
                <a:gd name="connsiteY69" fmla="*/ 325616 h 967926"/>
                <a:gd name="connsiteX70" fmla="*/ 802888 w 1213253"/>
                <a:gd name="connsiteY70" fmla="*/ 307774 h 967926"/>
                <a:gd name="connsiteX71" fmla="*/ 758283 w 1213253"/>
                <a:gd name="connsiteY71" fmla="*/ 321156 h 967926"/>
                <a:gd name="connsiteX72" fmla="*/ 677994 w 1213253"/>
                <a:gd name="connsiteY72" fmla="*/ 272090 h 967926"/>
                <a:gd name="connsiteX73" fmla="*/ 669073 w 1213253"/>
                <a:gd name="connsiteY73" fmla="*/ 205183 h 967926"/>
                <a:gd name="connsiteX74" fmla="*/ 664613 w 1213253"/>
                <a:gd name="connsiteY74" fmla="*/ 182880 h 967926"/>
                <a:gd name="connsiteX75" fmla="*/ 620008 w 1213253"/>
                <a:gd name="connsiteY75" fmla="*/ 173960 h 967926"/>
                <a:gd name="connsiteX76" fmla="*/ 597705 w 1213253"/>
                <a:gd name="connsiteY76" fmla="*/ 124894 h 967926"/>
                <a:gd name="connsiteX77" fmla="*/ 526337 w 1213253"/>
                <a:gd name="connsiteY77" fmla="*/ 120434 h 967926"/>
                <a:gd name="connsiteX78" fmla="*/ 504035 w 1213253"/>
                <a:gd name="connsiteY78" fmla="*/ 57987 h 967926"/>
                <a:gd name="connsiteX79" fmla="*/ 454970 w 1213253"/>
                <a:gd name="connsiteY79" fmla="*/ 8921 h 967926"/>
                <a:gd name="connsiteX80" fmla="*/ 419286 w 1213253"/>
                <a:gd name="connsiteY80" fmla="*/ 0 h 967926"/>
                <a:gd name="connsiteX81" fmla="*/ 401444 w 1213253"/>
                <a:gd name="connsiteY81" fmla="*/ 22303 h 967926"/>
                <a:gd name="connsiteX82" fmla="*/ 361299 w 1213253"/>
                <a:gd name="connsiteY82" fmla="*/ 4461 h 967926"/>
                <a:gd name="connsiteX83" fmla="*/ 343457 w 1213253"/>
                <a:gd name="connsiteY83" fmla="*/ 13382 h 967926"/>
                <a:gd name="connsiteX84" fmla="*/ 321155 w 1213253"/>
                <a:gd name="connsiteY84" fmla="*/ 31224 h 967926"/>
                <a:gd name="connsiteX85" fmla="*/ 281011 w 1213253"/>
                <a:gd name="connsiteY85" fmla="*/ 22303 h 967926"/>
                <a:gd name="connsiteX86" fmla="*/ 249787 w 1213253"/>
                <a:gd name="connsiteY86" fmla="*/ 40145 h 967926"/>
                <a:gd name="connsiteX87" fmla="*/ 165038 w 1213253"/>
                <a:gd name="connsiteY87" fmla="*/ 40145 h 967926"/>
                <a:gd name="connsiteX88" fmla="*/ 133815 w 1213253"/>
                <a:gd name="connsiteY88" fmla="*/ 35684 h 967926"/>
                <a:gd name="connsiteX89" fmla="*/ 133815 w 1213253"/>
                <a:gd name="connsiteY89" fmla="*/ 35684 h 967926"/>
                <a:gd name="connsiteX90" fmla="*/ 98131 w 1213253"/>
                <a:gd name="connsiteY90" fmla="*/ 75829 h 967926"/>
                <a:gd name="connsiteX91" fmla="*/ 98131 w 1213253"/>
                <a:gd name="connsiteY91" fmla="*/ 129355 h 967926"/>
                <a:gd name="connsiteX92" fmla="*/ 84749 w 1213253"/>
                <a:gd name="connsiteY92" fmla="*/ 129355 h 967926"/>
                <a:gd name="connsiteX93" fmla="*/ 0 w 1213253"/>
                <a:gd name="connsiteY93" fmla="*/ 93671 h 96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213253" h="967926">
                  <a:moveTo>
                    <a:pt x="0" y="93671"/>
                  </a:moveTo>
                  <a:lnTo>
                    <a:pt x="8921" y="196262"/>
                  </a:lnTo>
                  <a:lnTo>
                    <a:pt x="75828" y="214104"/>
                  </a:lnTo>
                  <a:lnTo>
                    <a:pt x="111512" y="236406"/>
                  </a:lnTo>
                  <a:lnTo>
                    <a:pt x="151656" y="289932"/>
                  </a:lnTo>
                  <a:lnTo>
                    <a:pt x="182880" y="298853"/>
                  </a:lnTo>
                  <a:lnTo>
                    <a:pt x="209643" y="347919"/>
                  </a:lnTo>
                  <a:lnTo>
                    <a:pt x="209643" y="392523"/>
                  </a:lnTo>
                  <a:lnTo>
                    <a:pt x="129354" y="472812"/>
                  </a:lnTo>
                  <a:lnTo>
                    <a:pt x="115973" y="504036"/>
                  </a:lnTo>
                  <a:cubicBezTo>
                    <a:pt x="117460" y="576891"/>
                    <a:pt x="118946" y="649745"/>
                    <a:pt x="120433" y="722600"/>
                  </a:cubicBezTo>
                  <a:lnTo>
                    <a:pt x="156117" y="762744"/>
                  </a:lnTo>
                  <a:lnTo>
                    <a:pt x="200722" y="771665"/>
                  </a:lnTo>
                  <a:lnTo>
                    <a:pt x="218564" y="802888"/>
                  </a:lnTo>
                  <a:lnTo>
                    <a:pt x="245327" y="802888"/>
                  </a:lnTo>
                  <a:lnTo>
                    <a:pt x="285471" y="860875"/>
                  </a:lnTo>
                  <a:lnTo>
                    <a:pt x="356839" y="860875"/>
                  </a:lnTo>
                  <a:lnTo>
                    <a:pt x="356839" y="909940"/>
                  </a:lnTo>
                  <a:lnTo>
                    <a:pt x="432667" y="905480"/>
                  </a:lnTo>
                  <a:lnTo>
                    <a:pt x="450509" y="896559"/>
                  </a:lnTo>
                  <a:lnTo>
                    <a:pt x="454970" y="820730"/>
                  </a:lnTo>
                  <a:lnTo>
                    <a:pt x="481733" y="785046"/>
                  </a:lnTo>
                  <a:lnTo>
                    <a:pt x="499575" y="749362"/>
                  </a:lnTo>
                  <a:lnTo>
                    <a:pt x="544179" y="740441"/>
                  </a:lnTo>
                  <a:lnTo>
                    <a:pt x="597705" y="740441"/>
                  </a:lnTo>
                  <a:lnTo>
                    <a:pt x="624468" y="785046"/>
                  </a:lnTo>
                  <a:lnTo>
                    <a:pt x="651231" y="802888"/>
                  </a:lnTo>
                  <a:lnTo>
                    <a:pt x="709217" y="825191"/>
                  </a:lnTo>
                  <a:lnTo>
                    <a:pt x="771664" y="816270"/>
                  </a:lnTo>
                  <a:lnTo>
                    <a:pt x="785046" y="851954"/>
                  </a:lnTo>
                  <a:lnTo>
                    <a:pt x="807348" y="869796"/>
                  </a:lnTo>
                  <a:lnTo>
                    <a:pt x="865335" y="905480"/>
                  </a:lnTo>
                  <a:lnTo>
                    <a:pt x="932242" y="878717"/>
                  </a:lnTo>
                  <a:lnTo>
                    <a:pt x="945623" y="874256"/>
                  </a:lnTo>
                  <a:lnTo>
                    <a:pt x="936702" y="918861"/>
                  </a:lnTo>
                  <a:lnTo>
                    <a:pt x="945623" y="959005"/>
                  </a:lnTo>
                  <a:lnTo>
                    <a:pt x="999149" y="967926"/>
                  </a:lnTo>
                  <a:lnTo>
                    <a:pt x="1008070" y="936703"/>
                  </a:lnTo>
                  <a:lnTo>
                    <a:pt x="1016991" y="901019"/>
                  </a:lnTo>
                  <a:lnTo>
                    <a:pt x="1052675" y="892098"/>
                  </a:lnTo>
                  <a:lnTo>
                    <a:pt x="1074977" y="878717"/>
                  </a:lnTo>
                  <a:lnTo>
                    <a:pt x="1061596" y="843033"/>
                  </a:lnTo>
                  <a:lnTo>
                    <a:pt x="1034833" y="807349"/>
                  </a:lnTo>
                  <a:lnTo>
                    <a:pt x="1043754" y="762744"/>
                  </a:lnTo>
                  <a:lnTo>
                    <a:pt x="1008070" y="758283"/>
                  </a:lnTo>
                  <a:lnTo>
                    <a:pt x="972386" y="695837"/>
                  </a:lnTo>
                  <a:lnTo>
                    <a:pt x="985768" y="664613"/>
                  </a:lnTo>
                  <a:lnTo>
                    <a:pt x="994689" y="646771"/>
                  </a:lnTo>
                  <a:lnTo>
                    <a:pt x="990228" y="615548"/>
                  </a:lnTo>
                  <a:lnTo>
                    <a:pt x="1003610" y="606627"/>
                  </a:lnTo>
                  <a:lnTo>
                    <a:pt x="1034833" y="624469"/>
                  </a:lnTo>
                  <a:lnTo>
                    <a:pt x="1066056" y="588785"/>
                  </a:lnTo>
                  <a:lnTo>
                    <a:pt x="1074977" y="570943"/>
                  </a:lnTo>
                  <a:lnTo>
                    <a:pt x="1074977" y="553101"/>
                  </a:lnTo>
                  <a:lnTo>
                    <a:pt x="1092819" y="530799"/>
                  </a:lnTo>
                  <a:lnTo>
                    <a:pt x="1159727" y="517417"/>
                  </a:lnTo>
                  <a:lnTo>
                    <a:pt x="1168648" y="468352"/>
                  </a:lnTo>
                  <a:lnTo>
                    <a:pt x="1190950" y="437128"/>
                  </a:lnTo>
                  <a:lnTo>
                    <a:pt x="1195411" y="379142"/>
                  </a:lnTo>
                  <a:lnTo>
                    <a:pt x="1213253" y="325616"/>
                  </a:lnTo>
                  <a:lnTo>
                    <a:pt x="1204332" y="281011"/>
                  </a:lnTo>
                  <a:lnTo>
                    <a:pt x="1155266" y="272090"/>
                  </a:lnTo>
                  <a:lnTo>
                    <a:pt x="1110661" y="281011"/>
                  </a:lnTo>
                  <a:lnTo>
                    <a:pt x="1030373" y="227485"/>
                  </a:lnTo>
                  <a:lnTo>
                    <a:pt x="1003610" y="231946"/>
                  </a:lnTo>
                  <a:lnTo>
                    <a:pt x="985768" y="285472"/>
                  </a:lnTo>
                  <a:lnTo>
                    <a:pt x="967926" y="289932"/>
                  </a:lnTo>
                  <a:lnTo>
                    <a:pt x="896558" y="281011"/>
                  </a:lnTo>
                  <a:lnTo>
                    <a:pt x="878716" y="325616"/>
                  </a:lnTo>
                  <a:lnTo>
                    <a:pt x="856414" y="325616"/>
                  </a:lnTo>
                  <a:lnTo>
                    <a:pt x="802888" y="307774"/>
                  </a:lnTo>
                  <a:lnTo>
                    <a:pt x="758283" y="321156"/>
                  </a:lnTo>
                  <a:lnTo>
                    <a:pt x="677994" y="272090"/>
                  </a:lnTo>
                  <a:lnTo>
                    <a:pt x="669073" y="205183"/>
                  </a:lnTo>
                  <a:lnTo>
                    <a:pt x="664613" y="182880"/>
                  </a:lnTo>
                  <a:lnTo>
                    <a:pt x="620008" y="173960"/>
                  </a:lnTo>
                  <a:lnTo>
                    <a:pt x="597705" y="124894"/>
                  </a:lnTo>
                  <a:lnTo>
                    <a:pt x="526337" y="120434"/>
                  </a:lnTo>
                  <a:lnTo>
                    <a:pt x="504035" y="57987"/>
                  </a:lnTo>
                  <a:lnTo>
                    <a:pt x="454970" y="8921"/>
                  </a:lnTo>
                  <a:lnTo>
                    <a:pt x="419286" y="0"/>
                  </a:lnTo>
                  <a:lnTo>
                    <a:pt x="401444" y="22303"/>
                  </a:lnTo>
                  <a:lnTo>
                    <a:pt x="361299" y="4461"/>
                  </a:lnTo>
                  <a:lnTo>
                    <a:pt x="343457" y="13382"/>
                  </a:lnTo>
                  <a:lnTo>
                    <a:pt x="321155" y="31224"/>
                  </a:lnTo>
                  <a:lnTo>
                    <a:pt x="281011" y="22303"/>
                  </a:lnTo>
                  <a:lnTo>
                    <a:pt x="249787" y="40145"/>
                  </a:lnTo>
                  <a:lnTo>
                    <a:pt x="165038" y="40145"/>
                  </a:lnTo>
                  <a:lnTo>
                    <a:pt x="133815" y="35684"/>
                  </a:lnTo>
                  <a:lnTo>
                    <a:pt x="133815" y="35684"/>
                  </a:lnTo>
                  <a:lnTo>
                    <a:pt x="98131" y="75829"/>
                  </a:lnTo>
                  <a:lnTo>
                    <a:pt x="98131" y="129355"/>
                  </a:lnTo>
                  <a:lnTo>
                    <a:pt x="84749" y="129355"/>
                  </a:lnTo>
                  <a:lnTo>
                    <a:pt x="0" y="93671"/>
                  </a:lnTo>
                  <a:close/>
                </a:path>
              </a:pathLst>
            </a:custGeom>
            <a:solidFill>
              <a:schemeClr val="bg1"/>
            </a:solidFill>
            <a:ln w="317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a:lstStyle/>
            <a:p>
              <a:pPr>
                <a:defRPr/>
              </a:pPr>
              <a:endParaRPr lang="en-GB"/>
            </a:p>
          </p:txBody>
        </p:sp>
        <p:sp>
          <p:nvSpPr>
            <p:cNvPr id="30" name="Freeform 29"/>
            <p:cNvSpPr/>
            <p:nvPr/>
          </p:nvSpPr>
          <p:spPr>
            <a:xfrm>
              <a:off x="4229497" y="1427709"/>
              <a:ext cx="482600" cy="539750"/>
            </a:xfrm>
            <a:custGeom>
              <a:avLst/>
              <a:gdLst>
                <a:gd name="connsiteX0" fmla="*/ 165038 w 481732"/>
                <a:gd name="connsiteY0" fmla="*/ 0 h 539719"/>
                <a:gd name="connsiteX1" fmla="*/ 75828 w 481732"/>
                <a:gd name="connsiteY1" fmla="*/ 8921 h 539719"/>
                <a:gd name="connsiteX2" fmla="*/ 31223 w 481732"/>
                <a:gd name="connsiteY2" fmla="*/ 80289 h 539719"/>
                <a:gd name="connsiteX3" fmla="*/ 22302 w 481732"/>
                <a:gd name="connsiteY3" fmla="*/ 160578 h 539719"/>
                <a:gd name="connsiteX4" fmla="*/ 0 w 481732"/>
                <a:gd name="connsiteY4" fmla="*/ 178419 h 539719"/>
                <a:gd name="connsiteX5" fmla="*/ 0 w 481732"/>
                <a:gd name="connsiteY5" fmla="*/ 223024 h 539719"/>
                <a:gd name="connsiteX6" fmla="*/ 35684 w 481732"/>
                <a:gd name="connsiteY6" fmla="*/ 258708 h 539719"/>
                <a:gd name="connsiteX7" fmla="*/ 62447 w 481732"/>
                <a:gd name="connsiteY7" fmla="*/ 338997 h 539719"/>
                <a:gd name="connsiteX8" fmla="*/ 107051 w 481732"/>
                <a:gd name="connsiteY8" fmla="*/ 356839 h 539719"/>
                <a:gd name="connsiteX9" fmla="*/ 133814 w 481732"/>
                <a:gd name="connsiteY9" fmla="*/ 414825 h 539719"/>
                <a:gd name="connsiteX10" fmla="*/ 214103 w 481732"/>
                <a:gd name="connsiteY10" fmla="*/ 437128 h 539719"/>
                <a:gd name="connsiteX11" fmla="*/ 223024 w 481732"/>
                <a:gd name="connsiteY11" fmla="*/ 486193 h 539719"/>
                <a:gd name="connsiteX12" fmla="*/ 249787 w 481732"/>
                <a:gd name="connsiteY12" fmla="*/ 486193 h 539719"/>
                <a:gd name="connsiteX13" fmla="*/ 281010 w 481732"/>
                <a:gd name="connsiteY13" fmla="*/ 539719 h 539719"/>
                <a:gd name="connsiteX14" fmla="*/ 330076 w 481732"/>
                <a:gd name="connsiteY14" fmla="*/ 472812 h 539719"/>
                <a:gd name="connsiteX15" fmla="*/ 321155 w 481732"/>
                <a:gd name="connsiteY15" fmla="*/ 414825 h 539719"/>
                <a:gd name="connsiteX16" fmla="*/ 388062 w 481732"/>
                <a:gd name="connsiteY16" fmla="*/ 379141 h 539719"/>
                <a:gd name="connsiteX17" fmla="*/ 437128 w 481732"/>
                <a:gd name="connsiteY17" fmla="*/ 392523 h 539719"/>
                <a:gd name="connsiteX18" fmla="*/ 437128 w 481732"/>
                <a:gd name="connsiteY18" fmla="*/ 392523 h 539719"/>
                <a:gd name="connsiteX19" fmla="*/ 481732 w 481732"/>
                <a:gd name="connsiteY19" fmla="*/ 383602 h 539719"/>
                <a:gd name="connsiteX20" fmla="*/ 468351 w 481732"/>
                <a:gd name="connsiteY20" fmla="*/ 347918 h 539719"/>
                <a:gd name="connsiteX21" fmla="*/ 468351 w 481732"/>
                <a:gd name="connsiteY21" fmla="*/ 298853 h 539719"/>
                <a:gd name="connsiteX22" fmla="*/ 481732 w 481732"/>
                <a:gd name="connsiteY22" fmla="*/ 263169 h 539719"/>
                <a:gd name="connsiteX23" fmla="*/ 459430 w 481732"/>
                <a:gd name="connsiteY23" fmla="*/ 231945 h 539719"/>
                <a:gd name="connsiteX24" fmla="*/ 437128 w 481732"/>
                <a:gd name="connsiteY24" fmla="*/ 173959 h 539719"/>
                <a:gd name="connsiteX25" fmla="*/ 361299 w 481732"/>
                <a:gd name="connsiteY25" fmla="*/ 120433 h 539719"/>
                <a:gd name="connsiteX26" fmla="*/ 338997 w 481732"/>
                <a:gd name="connsiteY26" fmla="*/ 75828 h 539719"/>
                <a:gd name="connsiteX27" fmla="*/ 281010 w 481732"/>
                <a:gd name="connsiteY27" fmla="*/ 89210 h 539719"/>
                <a:gd name="connsiteX28" fmla="*/ 209643 w 481732"/>
                <a:gd name="connsiteY28" fmla="*/ 62447 h 539719"/>
                <a:gd name="connsiteX29" fmla="*/ 165038 w 481732"/>
                <a:gd name="connsiteY29" fmla="*/ 0 h 53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81732" h="539719">
                  <a:moveTo>
                    <a:pt x="165038" y="0"/>
                  </a:moveTo>
                  <a:lnTo>
                    <a:pt x="75828" y="8921"/>
                  </a:lnTo>
                  <a:lnTo>
                    <a:pt x="31223" y="80289"/>
                  </a:lnTo>
                  <a:lnTo>
                    <a:pt x="22302" y="160578"/>
                  </a:lnTo>
                  <a:lnTo>
                    <a:pt x="0" y="178419"/>
                  </a:lnTo>
                  <a:lnTo>
                    <a:pt x="0" y="223024"/>
                  </a:lnTo>
                  <a:lnTo>
                    <a:pt x="35684" y="258708"/>
                  </a:lnTo>
                  <a:lnTo>
                    <a:pt x="62447" y="338997"/>
                  </a:lnTo>
                  <a:lnTo>
                    <a:pt x="107051" y="356839"/>
                  </a:lnTo>
                  <a:lnTo>
                    <a:pt x="133814" y="414825"/>
                  </a:lnTo>
                  <a:lnTo>
                    <a:pt x="214103" y="437128"/>
                  </a:lnTo>
                  <a:lnTo>
                    <a:pt x="223024" y="486193"/>
                  </a:lnTo>
                  <a:lnTo>
                    <a:pt x="249787" y="486193"/>
                  </a:lnTo>
                  <a:lnTo>
                    <a:pt x="281010" y="539719"/>
                  </a:lnTo>
                  <a:lnTo>
                    <a:pt x="330076" y="472812"/>
                  </a:lnTo>
                  <a:lnTo>
                    <a:pt x="321155" y="414825"/>
                  </a:lnTo>
                  <a:lnTo>
                    <a:pt x="388062" y="379141"/>
                  </a:lnTo>
                  <a:lnTo>
                    <a:pt x="437128" y="392523"/>
                  </a:lnTo>
                  <a:lnTo>
                    <a:pt x="437128" y="392523"/>
                  </a:lnTo>
                  <a:lnTo>
                    <a:pt x="481732" y="383602"/>
                  </a:lnTo>
                  <a:lnTo>
                    <a:pt x="468351" y="347918"/>
                  </a:lnTo>
                  <a:lnTo>
                    <a:pt x="468351" y="298853"/>
                  </a:lnTo>
                  <a:lnTo>
                    <a:pt x="481732" y="263169"/>
                  </a:lnTo>
                  <a:lnTo>
                    <a:pt x="459430" y="231945"/>
                  </a:lnTo>
                  <a:lnTo>
                    <a:pt x="437128" y="173959"/>
                  </a:lnTo>
                  <a:lnTo>
                    <a:pt x="361299" y="120433"/>
                  </a:lnTo>
                  <a:lnTo>
                    <a:pt x="338997" y="75828"/>
                  </a:lnTo>
                  <a:lnTo>
                    <a:pt x="281010" y="89210"/>
                  </a:lnTo>
                  <a:lnTo>
                    <a:pt x="209643" y="62447"/>
                  </a:lnTo>
                  <a:lnTo>
                    <a:pt x="165038" y="0"/>
                  </a:lnTo>
                  <a:close/>
                </a:path>
              </a:pathLst>
            </a:custGeom>
            <a:solidFill>
              <a:schemeClr val="bg1"/>
            </a:solidFill>
            <a:ln w="317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a:lstStyle/>
            <a:p>
              <a:pPr>
                <a:defRPr/>
              </a:pPr>
              <a:endParaRPr lang="en-GB"/>
            </a:p>
          </p:txBody>
        </p:sp>
        <p:sp>
          <p:nvSpPr>
            <p:cNvPr id="32" name="Freeform 31"/>
            <p:cNvSpPr/>
            <p:nvPr/>
          </p:nvSpPr>
          <p:spPr>
            <a:xfrm>
              <a:off x="3888185" y="1600746"/>
              <a:ext cx="522287" cy="465138"/>
            </a:xfrm>
            <a:custGeom>
              <a:avLst/>
              <a:gdLst>
                <a:gd name="connsiteX0" fmla="*/ 336884 w 521791"/>
                <a:gd name="connsiteY0" fmla="*/ 0 h 466065"/>
                <a:gd name="connsiteX1" fmla="*/ 271027 w 521791"/>
                <a:gd name="connsiteY1" fmla="*/ 2533 h 466065"/>
                <a:gd name="connsiteX2" fmla="*/ 238099 w 521791"/>
                <a:gd name="connsiteY2" fmla="*/ 48126 h 466065"/>
                <a:gd name="connsiteX3" fmla="*/ 200104 w 521791"/>
                <a:gd name="connsiteY3" fmla="*/ 60791 h 466065"/>
                <a:gd name="connsiteX4" fmla="*/ 131714 w 521791"/>
                <a:gd name="connsiteY4" fmla="*/ 98785 h 466065"/>
                <a:gd name="connsiteX5" fmla="*/ 131714 w 521791"/>
                <a:gd name="connsiteY5" fmla="*/ 134247 h 466065"/>
                <a:gd name="connsiteX6" fmla="*/ 151978 w 521791"/>
                <a:gd name="connsiteY6" fmla="*/ 174774 h 466065"/>
                <a:gd name="connsiteX7" fmla="*/ 159577 w 521791"/>
                <a:gd name="connsiteY7" fmla="*/ 207703 h 466065"/>
                <a:gd name="connsiteX8" fmla="*/ 169709 w 521791"/>
                <a:gd name="connsiteY8" fmla="*/ 222900 h 466065"/>
                <a:gd name="connsiteX9" fmla="*/ 141846 w 521791"/>
                <a:gd name="connsiteY9" fmla="*/ 235565 h 466065"/>
                <a:gd name="connsiteX10" fmla="*/ 53192 w 521791"/>
                <a:gd name="connsiteY10" fmla="*/ 263428 h 466065"/>
                <a:gd name="connsiteX11" fmla="*/ 22797 w 521791"/>
                <a:gd name="connsiteY11" fmla="*/ 321686 h 466065"/>
                <a:gd name="connsiteX12" fmla="*/ 0 w 521791"/>
                <a:gd name="connsiteY12" fmla="*/ 339417 h 466065"/>
                <a:gd name="connsiteX13" fmla="*/ 7599 w 521791"/>
                <a:gd name="connsiteY13" fmla="*/ 369812 h 466065"/>
                <a:gd name="connsiteX14" fmla="*/ 20264 w 521791"/>
                <a:gd name="connsiteY14" fmla="*/ 397675 h 466065"/>
                <a:gd name="connsiteX15" fmla="*/ 113983 w 521791"/>
                <a:gd name="connsiteY15" fmla="*/ 402741 h 466065"/>
                <a:gd name="connsiteX16" fmla="*/ 134247 w 521791"/>
                <a:gd name="connsiteY16" fmla="*/ 390076 h 466065"/>
                <a:gd name="connsiteX17" fmla="*/ 162110 w 521791"/>
                <a:gd name="connsiteY17" fmla="*/ 387543 h 466065"/>
                <a:gd name="connsiteX18" fmla="*/ 189972 w 521791"/>
                <a:gd name="connsiteY18" fmla="*/ 405274 h 466065"/>
                <a:gd name="connsiteX19" fmla="*/ 243165 w 521791"/>
                <a:gd name="connsiteY19" fmla="*/ 466065 h 466065"/>
                <a:gd name="connsiteX20" fmla="*/ 288758 w 521791"/>
                <a:gd name="connsiteY20" fmla="*/ 430604 h 466065"/>
                <a:gd name="connsiteX21" fmla="*/ 359681 w 521791"/>
                <a:gd name="connsiteY21" fmla="*/ 433136 h 466065"/>
                <a:gd name="connsiteX22" fmla="*/ 390077 w 521791"/>
                <a:gd name="connsiteY22" fmla="*/ 405274 h 466065"/>
                <a:gd name="connsiteX23" fmla="*/ 423005 w 521791"/>
                <a:gd name="connsiteY23" fmla="*/ 359681 h 466065"/>
                <a:gd name="connsiteX24" fmla="*/ 466065 w 521791"/>
                <a:gd name="connsiteY24" fmla="*/ 341950 h 466065"/>
                <a:gd name="connsiteX25" fmla="*/ 488862 w 521791"/>
                <a:gd name="connsiteY25" fmla="*/ 331818 h 466065"/>
                <a:gd name="connsiteX26" fmla="*/ 521791 w 521791"/>
                <a:gd name="connsiteY26" fmla="*/ 344483 h 466065"/>
                <a:gd name="connsiteX27" fmla="*/ 519258 w 521791"/>
                <a:gd name="connsiteY27" fmla="*/ 321686 h 466065"/>
                <a:gd name="connsiteX28" fmla="*/ 501527 w 521791"/>
                <a:gd name="connsiteY28" fmla="*/ 296356 h 466065"/>
                <a:gd name="connsiteX29" fmla="*/ 516725 w 521791"/>
                <a:gd name="connsiteY29" fmla="*/ 253296 h 466065"/>
                <a:gd name="connsiteX30" fmla="*/ 476197 w 521791"/>
                <a:gd name="connsiteY30" fmla="*/ 240631 h 466065"/>
                <a:gd name="connsiteX31" fmla="*/ 448335 w 521791"/>
                <a:gd name="connsiteY31" fmla="*/ 192505 h 466065"/>
                <a:gd name="connsiteX32" fmla="*/ 410340 w 521791"/>
                <a:gd name="connsiteY32" fmla="*/ 167175 h 466065"/>
                <a:gd name="connsiteX33" fmla="*/ 379945 w 521791"/>
                <a:gd name="connsiteY33" fmla="*/ 88653 h 466065"/>
                <a:gd name="connsiteX34" fmla="*/ 349549 w 521791"/>
                <a:gd name="connsiteY34" fmla="*/ 53192 h 466065"/>
                <a:gd name="connsiteX35" fmla="*/ 336884 w 521791"/>
                <a:gd name="connsiteY35" fmla="*/ 0 h 466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21791" h="466065">
                  <a:moveTo>
                    <a:pt x="336884" y="0"/>
                  </a:moveTo>
                  <a:lnTo>
                    <a:pt x="271027" y="2533"/>
                  </a:lnTo>
                  <a:lnTo>
                    <a:pt x="238099" y="48126"/>
                  </a:lnTo>
                  <a:lnTo>
                    <a:pt x="200104" y="60791"/>
                  </a:lnTo>
                  <a:lnTo>
                    <a:pt x="131714" y="98785"/>
                  </a:lnTo>
                  <a:lnTo>
                    <a:pt x="131714" y="134247"/>
                  </a:lnTo>
                  <a:lnTo>
                    <a:pt x="151978" y="174774"/>
                  </a:lnTo>
                  <a:lnTo>
                    <a:pt x="159577" y="207703"/>
                  </a:lnTo>
                  <a:lnTo>
                    <a:pt x="169709" y="222900"/>
                  </a:lnTo>
                  <a:lnTo>
                    <a:pt x="141846" y="235565"/>
                  </a:lnTo>
                  <a:lnTo>
                    <a:pt x="53192" y="263428"/>
                  </a:lnTo>
                  <a:lnTo>
                    <a:pt x="22797" y="321686"/>
                  </a:lnTo>
                  <a:lnTo>
                    <a:pt x="0" y="339417"/>
                  </a:lnTo>
                  <a:lnTo>
                    <a:pt x="7599" y="369812"/>
                  </a:lnTo>
                  <a:lnTo>
                    <a:pt x="20264" y="397675"/>
                  </a:lnTo>
                  <a:lnTo>
                    <a:pt x="113983" y="402741"/>
                  </a:lnTo>
                  <a:lnTo>
                    <a:pt x="134247" y="390076"/>
                  </a:lnTo>
                  <a:lnTo>
                    <a:pt x="162110" y="387543"/>
                  </a:lnTo>
                  <a:lnTo>
                    <a:pt x="189972" y="405274"/>
                  </a:lnTo>
                  <a:lnTo>
                    <a:pt x="243165" y="466065"/>
                  </a:lnTo>
                  <a:lnTo>
                    <a:pt x="288758" y="430604"/>
                  </a:lnTo>
                  <a:lnTo>
                    <a:pt x="359681" y="433136"/>
                  </a:lnTo>
                  <a:lnTo>
                    <a:pt x="390077" y="405274"/>
                  </a:lnTo>
                  <a:lnTo>
                    <a:pt x="423005" y="359681"/>
                  </a:lnTo>
                  <a:lnTo>
                    <a:pt x="466065" y="341950"/>
                  </a:lnTo>
                  <a:lnTo>
                    <a:pt x="488862" y="331818"/>
                  </a:lnTo>
                  <a:lnTo>
                    <a:pt x="521791" y="344483"/>
                  </a:lnTo>
                  <a:lnTo>
                    <a:pt x="519258" y="321686"/>
                  </a:lnTo>
                  <a:lnTo>
                    <a:pt x="501527" y="296356"/>
                  </a:lnTo>
                  <a:lnTo>
                    <a:pt x="516725" y="253296"/>
                  </a:lnTo>
                  <a:lnTo>
                    <a:pt x="476197" y="240631"/>
                  </a:lnTo>
                  <a:lnTo>
                    <a:pt x="448335" y="192505"/>
                  </a:lnTo>
                  <a:lnTo>
                    <a:pt x="410340" y="167175"/>
                  </a:lnTo>
                  <a:lnTo>
                    <a:pt x="379945" y="88653"/>
                  </a:lnTo>
                  <a:lnTo>
                    <a:pt x="349549" y="53192"/>
                  </a:lnTo>
                  <a:lnTo>
                    <a:pt x="336884" y="0"/>
                  </a:lnTo>
                  <a:close/>
                </a:path>
              </a:pathLst>
            </a:custGeom>
            <a:solidFill>
              <a:schemeClr val="bg1"/>
            </a:solidFill>
            <a:ln w="317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a:lstStyle/>
            <a:p>
              <a:pPr>
                <a:defRPr/>
              </a:pPr>
              <a:endParaRPr lang="en-GB"/>
            </a:p>
          </p:txBody>
        </p:sp>
        <p:sp>
          <p:nvSpPr>
            <p:cNvPr id="33" name="Freeform 32"/>
            <p:cNvSpPr/>
            <p:nvPr/>
          </p:nvSpPr>
          <p:spPr>
            <a:xfrm>
              <a:off x="3972322" y="1856334"/>
              <a:ext cx="542925" cy="561975"/>
            </a:xfrm>
            <a:custGeom>
              <a:avLst/>
              <a:gdLst>
                <a:gd name="connsiteX0" fmla="*/ 22797 w 542054"/>
                <a:gd name="connsiteY0" fmla="*/ 146912 h 562318"/>
                <a:gd name="connsiteX1" fmla="*/ 0 w 542054"/>
                <a:gd name="connsiteY1" fmla="*/ 205170 h 562318"/>
                <a:gd name="connsiteX2" fmla="*/ 55725 w 542054"/>
                <a:gd name="connsiteY2" fmla="*/ 245697 h 562318"/>
                <a:gd name="connsiteX3" fmla="*/ 96252 w 542054"/>
                <a:gd name="connsiteY3" fmla="*/ 321686 h 562318"/>
                <a:gd name="connsiteX4" fmla="*/ 157044 w 542054"/>
                <a:gd name="connsiteY4" fmla="*/ 347016 h 562318"/>
                <a:gd name="connsiteX5" fmla="*/ 151978 w 542054"/>
                <a:gd name="connsiteY5" fmla="*/ 400208 h 562318"/>
                <a:gd name="connsiteX6" fmla="*/ 164643 w 542054"/>
                <a:gd name="connsiteY6" fmla="*/ 415406 h 562318"/>
                <a:gd name="connsiteX7" fmla="*/ 164643 w 542054"/>
                <a:gd name="connsiteY7" fmla="*/ 438203 h 562318"/>
                <a:gd name="connsiteX8" fmla="*/ 164643 w 542054"/>
                <a:gd name="connsiteY8" fmla="*/ 501527 h 562318"/>
                <a:gd name="connsiteX9" fmla="*/ 197571 w 542054"/>
                <a:gd name="connsiteY9" fmla="*/ 552186 h 562318"/>
                <a:gd name="connsiteX10" fmla="*/ 248230 w 542054"/>
                <a:gd name="connsiteY10" fmla="*/ 557252 h 562318"/>
                <a:gd name="connsiteX11" fmla="*/ 298890 w 542054"/>
                <a:gd name="connsiteY11" fmla="*/ 526857 h 562318"/>
                <a:gd name="connsiteX12" fmla="*/ 311554 w 542054"/>
                <a:gd name="connsiteY12" fmla="*/ 526857 h 562318"/>
                <a:gd name="connsiteX13" fmla="*/ 324219 w 542054"/>
                <a:gd name="connsiteY13" fmla="*/ 557252 h 562318"/>
                <a:gd name="connsiteX14" fmla="*/ 387543 w 542054"/>
                <a:gd name="connsiteY14" fmla="*/ 562318 h 562318"/>
                <a:gd name="connsiteX15" fmla="*/ 440736 w 542054"/>
                <a:gd name="connsiteY15" fmla="*/ 544587 h 562318"/>
                <a:gd name="connsiteX16" fmla="*/ 481263 w 542054"/>
                <a:gd name="connsiteY16" fmla="*/ 491395 h 562318"/>
                <a:gd name="connsiteX17" fmla="*/ 488862 w 542054"/>
                <a:gd name="connsiteY17" fmla="*/ 448335 h 562318"/>
                <a:gd name="connsiteX18" fmla="*/ 466065 w 542054"/>
                <a:gd name="connsiteY18" fmla="*/ 433137 h 562318"/>
                <a:gd name="connsiteX19" fmla="*/ 453400 w 542054"/>
                <a:gd name="connsiteY19" fmla="*/ 453401 h 562318"/>
                <a:gd name="connsiteX20" fmla="*/ 438203 w 542054"/>
                <a:gd name="connsiteY20" fmla="*/ 458466 h 562318"/>
                <a:gd name="connsiteX21" fmla="*/ 402741 w 542054"/>
                <a:gd name="connsiteY21" fmla="*/ 440736 h 562318"/>
                <a:gd name="connsiteX22" fmla="*/ 382477 w 542054"/>
                <a:gd name="connsiteY22" fmla="*/ 428071 h 562318"/>
                <a:gd name="connsiteX23" fmla="*/ 395142 w 542054"/>
                <a:gd name="connsiteY23" fmla="*/ 407807 h 562318"/>
                <a:gd name="connsiteX24" fmla="*/ 387543 w 542054"/>
                <a:gd name="connsiteY24" fmla="*/ 397675 h 562318"/>
                <a:gd name="connsiteX25" fmla="*/ 407807 w 542054"/>
                <a:gd name="connsiteY25" fmla="*/ 359681 h 562318"/>
                <a:gd name="connsiteX26" fmla="*/ 445802 w 542054"/>
                <a:gd name="connsiteY26" fmla="*/ 362214 h 562318"/>
                <a:gd name="connsiteX27" fmla="*/ 468598 w 542054"/>
                <a:gd name="connsiteY27" fmla="*/ 354615 h 562318"/>
                <a:gd name="connsiteX28" fmla="*/ 493928 w 542054"/>
                <a:gd name="connsiteY28" fmla="*/ 316620 h 562318"/>
                <a:gd name="connsiteX29" fmla="*/ 491395 w 542054"/>
                <a:gd name="connsiteY29" fmla="*/ 293824 h 562318"/>
                <a:gd name="connsiteX30" fmla="*/ 460999 w 542054"/>
                <a:gd name="connsiteY30" fmla="*/ 263428 h 562318"/>
                <a:gd name="connsiteX31" fmla="*/ 481263 w 542054"/>
                <a:gd name="connsiteY31" fmla="*/ 220368 h 562318"/>
                <a:gd name="connsiteX32" fmla="*/ 483796 w 542054"/>
                <a:gd name="connsiteY32" fmla="*/ 205170 h 562318"/>
                <a:gd name="connsiteX33" fmla="*/ 476197 w 542054"/>
                <a:gd name="connsiteY33" fmla="*/ 169709 h 562318"/>
                <a:gd name="connsiteX34" fmla="*/ 491395 w 542054"/>
                <a:gd name="connsiteY34" fmla="*/ 144379 h 562318"/>
                <a:gd name="connsiteX35" fmla="*/ 542054 w 542054"/>
                <a:gd name="connsiteY35" fmla="*/ 113983 h 562318"/>
                <a:gd name="connsiteX36" fmla="*/ 506593 w 542054"/>
                <a:gd name="connsiteY36" fmla="*/ 58258 h 562318"/>
                <a:gd name="connsiteX37" fmla="*/ 471131 w 542054"/>
                <a:gd name="connsiteY37" fmla="*/ 60791 h 562318"/>
                <a:gd name="connsiteX38" fmla="*/ 466065 w 542054"/>
                <a:gd name="connsiteY38" fmla="*/ 20264 h 562318"/>
                <a:gd name="connsiteX39" fmla="*/ 466065 w 542054"/>
                <a:gd name="connsiteY39" fmla="*/ 12665 h 562318"/>
                <a:gd name="connsiteX40" fmla="*/ 433137 w 542054"/>
                <a:gd name="connsiteY40" fmla="*/ 0 h 562318"/>
                <a:gd name="connsiteX41" fmla="*/ 420472 w 542054"/>
                <a:gd name="connsiteY41" fmla="*/ 45593 h 562318"/>
                <a:gd name="connsiteX42" fmla="*/ 435670 w 542054"/>
                <a:gd name="connsiteY42" fmla="*/ 68390 h 562318"/>
                <a:gd name="connsiteX43" fmla="*/ 435670 w 542054"/>
                <a:gd name="connsiteY43" fmla="*/ 91187 h 562318"/>
                <a:gd name="connsiteX44" fmla="*/ 407807 w 542054"/>
                <a:gd name="connsiteY44" fmla="*/ 81055 h 562318"/>
                <a:gd name="connsiteX45" fmla="*/ 344483 w 542054"/>
                <a:gd name="connsiteY45" fmla="*/ 98786 h 562318"/>
                <a:gd name="connsiteX46" fmla="*/ 278626 w 542054"/>
                <a:gd name="connsiteY46" fmla="*/ 174775 h 562318"/>
                <a:gd name="connsiteX47" fmla="*/ 210236 w 542054"/>
                <a:gd name="connsiteY47" fmla="*/ 182373 h 562318"/>
                <a:gd name="connsiteX48" fmla="*/ 162110 w 542054"/>
                <a:gd name="connsiteY48" fmla="*/ 210236 h 562318"/>
                <a:gd name="connsiteX49" fmla="*/ 88654 w 542054"/>
                <a:gd name="connsiteY49" fmla="*/ 136780 h 562318"/>
                <a:gd name="connsiteX50" fmla="*/ 22797 w 542054"/>
                <a:gd name="connsiteY50" fmla="*/ 146912 h 562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42054" h="562318">
                  <a:moveTo>
                    <a:pt x="22797" y="146912"/>
                  </a:moveTo>
                  <a:lnTo>
                    <a:pt x="0" y="205170"/>
                  </a:lnTo>
                  <a:lnTo>
                    <a:pt x="55725" y="245697"/>
                  </a:lnTo>
                  <a:lnTo>
                    <a:pt x="96252" y="321686"/>
                  </a:lnTo>
                  <a:lnTo>
                    <a:pt x="157044" y="347016"/>
                  </a:lnTo>
                  <a:lnTo>
                    <a:pt x="151978" y="400208"/>
                  </a:lnTo>
                  <a:lnTo>
                    <a:pt x="164643" y="415406"/>
                  </a:lnTo>
                  <a:lnTo>
                    <a:pt x="164643" y="438203"/>
                  </a:lnTo>
                  <a:lnTo>
                    <a:pt x="164643" y="501527"/>
                  </a:lnTo>
                  <a:lnTo>
                    <a:pt x="197571" y="552186"/>
                  </a:lnTo>
                  <a:lnTo>
                    <a:pt x="248230" y="557252"/>
                  </a:lnTo>
                  <a:lnTo>
                    <a:pt x="298890" y="526857"/>
                  </a:lnTo>
                  <a:lnTo>
                    <a:pt x="311554" y="526857"/>
                  </a:lnTo>
                  <a:lnTo>
                    <a:pt x="324219" y="557252"/>
                  </a:lnTo>
                  <a:lnTo>
                    <a:pt x="387543" y="562318"/>
                  </a:lnTo>
                  <a:lnTo>
                    <a:pt x="440736" y="544587"/>
                  </a:lnTo>
                  <a:lnTo>
                    <a:pt x="481263" y="491395"/>
                  </a:lnTo>
                  <a:lnTo>
                    <a:pt x="488862" y="448335"/>
                  </a:lnTo>
                  <a:lnTo>
                    <a:pt x="466065" y="433137"/>
                  </a:lnTo>
                  <a:lnTo>
                    <a:pt x="453400" y="453401"/>
                  </a:lnTo>
                  <a:lnTo>
                    <a:pt x="438203" y="458466"/>
                  </a:lnTo>
                  <a:lnTo>
                    <a:pt x="402741" y="440736"/>
                  </a:lnTo>
                  <a:lnTo>
                    <a:pt x="382477" y="428071"/>
                  </a:lnTo>
                  <a:lnTo>
                    <a:pt x="395142" y="407807"/>
                  </a:lnTo>
                  <a:lnTo>
                    <a:pt x="387543" y="397675"/>
                  </a:lnTo>
                  <a:lnTo>
                    <a:pt x="407807" y="359681"/>
                  </a:lnTo>
                  <a:lnTo>
                    <a:pt x="445802" y="362214"/>
                  </a:lnTo>
                  <a:lnTo>
                    <a:pt x="468598" y="354615"/>
                  </a:lnTo>
                  <a:lnTo>
                    <a:pt x="493928" y="316620"/>
                  </a:lnTo>
                  <a:lnTo>
                    <a:pt x="491395" y="293824"/>
                  </a:lnTo>
                  <a:lnTo>
                    <a:pt x="460999" y="263428"/>
                  </a:lnTo>
                  <a:lnTo>
                    <a:pt x="481263" y="220368"/>
                  </a:lnTo>
                  <a:lnTo>
                    <a:pt x="483796" y="205170"/>
                  </a:lnTo>
                  <a:lnTo>
                    <a:pt x="476197" y="169709"/>
                  </a:lnTo>
                  <a:lnTo>
                    <a:pt x="491395" y="144379"/>
                  </a:lnTo>
                  <a:lnTo>
                    <a:pt x="542054" y="113983"/>
                  </a:lnTo>
                  <a:lnTo>
                    <a:pt x="506593" y="58258"/>
                  </a:lnTo>
                  <a:lnTo>
                    <a:pt x="471131" y="60791"/>
                  </a:lnTo>
                  <a:lnTo>
                    <a:pt x="466065" y="20264"/>
                  </a:lnTo>
                  <a:lnTo>
                    <a:pt x="466065" y="12665"/>
                  </a:lnTo>
                  <a:lnTo>
                    <a:pt x="433137" y="0"/>
                  </a:lnTo>
                  <a:lnTo>
                    <a:pt x="420472" y="45593"/>
                  </a:lnTo>
                  <a:lnTo>
                    <a:pt x="435670" y="68390"/>
                  </a:lnTo>
                  <a:lnTo>
                    <a:pt x="435670" y="91187"/>
                  </a:lnTo>
                  <a:lnTo>
                    <a:pt x="407807" y="81055"/>
                  </a:lnTo>
                  <a:lnTo>
                    <a:pt x="344483" y="98786"/>
                  </a:lnTo>
                  <a:lnTo>
                    <a:pt x="278626" y="174775"/>
                  </a:lnTo>
                  <a:lnTo>
                    <a:pt x="210236" y="182373"/>
                  </a:lnTo>
                  <a:lnTo>
                    <a:pt x="162110" y="210236"/>
                  </a:lnTo>
                  <a:lnTo>
                    <a:pt x="88654" y="136780"/>
                  </a:lnTo>
                  <a:lnTo>
                    <a:pt x="22797" y="146912"/>
                  </a:lnTo>
                  <a:close/>
                </a:path>
              </a:pathLst>
            </a:custGeom>
            <a:solidFill>
              <a:schemeClr val="bg1"/>
            </a:solidFill>
            <a:ln w="317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a:lstStyle/>
            <a:p>
              <a:pPr>
                <a:defRPr/>
              </a:pPr>
              <a:endParaRPr lang="en-GB"/>
            </a:p>
          </p:txBody>
        </p:sp>
        <p:sp>
          <p:nvSpPr>
            <p:cNvPr id="37" name="Freeform 36"/>
            <p:cNvSpPr/>
            <p:nvPr/>
          </p:nvSpPr>
          <p:spPr>
            <a:xfrm>
              <a:off x="4358085" y="2208759"/>
              <a:ext cx="82550" cy="104775"/>
            </a:xfrm>
            <a:custGeom>
              <a:avLst/>
              <a:gdLst>
                <a:gd name="connsiteX0" fmla="*/ 70923 w 83588"/>
                <a:gd name="connsiteY0" fmla="*/ 0 h 93719"/>
                <a:gd name="connsiteX1" fmla="*/ 7599 w 83588"/>
                <a:gd name="connsiteY1" fmla="*/ 32928 h 93719"/>
                <a:gd name="connsiteX2" fmla="*/ 10132 w 83588"/>
                <a:gd name="connsiteY2" fmla="*/ 45593 h 93719"/>
                <a:gd name="connsiteX3" fmla="*/ 0 w 83588"/>
                <a:gd name="connsiteY3" fmla="*/ 65857 h 93719"/>
                <a:gd name="connsiteX4" fmla="*/ 58259 w 83588"/>
                <a:gd name="connsiteY4" fmla="*/ 93719 h 93719"/>
                <a:gd name="connsiteX5" fmla="*/ 73456 w 83588"/>
                <a:gd name="connsiteY5" fmla="*/ 88654 h 93719"/>
                <a:gd name="connsiteX6" fmla="*/ 83588 w 83588"/>
                <a:gd name="connsiteY6" fmla="*/ 70923 h 93719"/>
                <a:gd name="connsiteX7" fmla="*/ 70923 w 83588"/>
                <a:gd name="connsiteY7" fmla="*/ 0 h 93719"/>
                <a:gd name="connsiteX0" fmla="*/ 70923 w 83588"/>
                <a:gd name="connsiteY0" fmla="*/ 0 h 93719"/>
                <a:gd name="connsiteX1" fmla="*/ 35521 w 83588"/>
                <a:gd name="connsiteY1" fmla="*/ 14386 h 93719"/>
                <a:gd name="connsiteX2" fmla="*/ 7599 w 83588"/>
                <a:gd name="connsiteY2" fmla="*/ 32928 h 93719"/>
                <a:gd name="connsiteX3" fmla="*/ 10132 w 83588"/>
                <a:gd name="connsiteY3" fmla="*/ 45593 h 93719"/>
                <a:gd name="connsiteX4" fmla="*/ 0 w 83588"/>
                <a:gd name="connsiteY4" fmla="*/ 65857 h 93719"/>
                <a:gd name="connsiteX5" fmla="*/ 58259 w 83588"/>
                <a:gd name="connsiteY5" fmla="*/ 93719 h 93719"/>
                <a:gd name="connsiteX6" fmla="*/ 73456 w 83588"/>
                <a:gd name="connsiteY6" fmla="*/ 88654 h 93719"/>
                <a:gd name="connsiteX7" fmla="*/ 83588 w 83588"/>
                <a:gd name="connsiteY7" fmla="*/ 70923 h 93719"/>
                <a:gd name="connsiteX8" fmla="*/ 70923 w 83588"/>
                <a:gd name="connsiteY8" fmla="*/ 0 h 93719"/>
                <a:gd name="connsiteX0" fmla="*/ 70923 w 83588"/>
                <a:gd name="connsiteY0" fmla="*/ 11808 h 105527"/>
                <a:gd name="connsiteX1" fmla="*/ 21234 w 83588"/>
                <a:gd name="connsiteY1" fmla="*/ 0 h 105527"/>
                <a:gd name="connsiteX2" fmla="*/ 7599 w 83588"/>
                <a:gd name="connsiteY2" fmla="*/ 44736 h 105527"/>
                <a:gd name="connsiteX3" fmla="*/ 10132 w 83588"/>
                <a:gd name="connsiteY3" fmla="*/ 57401 h 105527"/>
                <a:gd name="connsiteX4" fmla="*/ 0 w 83588"/>
                <a:gd name="connsiteY4" fmla="*/ 77665 h 105527"/>
                <a:gd name="connsiteX5" fmla="*/ 58259 w 83588"/>
                <a:gd name="connsiteY5" fmla="*/ 105527 h 105527"/>
                <a:gd name="connsiteX6" fmla="*/ 73456 w 83588"/>
                <a:gd name="connsiteY6" fmla="*/ 100462 h 105527"/>
                <a:gd name="connsiteX7" fmla="*/ 83588 w 83588"/>
                <a:gd name="connsiteY7" fmla="*/ 82731 h 105527"/>
                <a:gd name="connsiteX8" fmla="*/ 70923 w 83588"/>
                <a:gd name="connsiteY8" fmla="*/ 11808 h 105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588" h="105527">
                  <a:moveTo>
                    <a:pt x="70923" y="11808"/>
                  </a:moveTo>
                  <a:lnTo>
                    <a:pt x="21234" y="0"/>
                  </a:lnTo>
                  <a:lnTo>
                    <a:pt x="7599" y="44736"/>
                  </a:lnTo>
                  <a:lnTo>
                    <a:pt x="10132" y="57401"/>
                  </a:lnTo>
                  <a:lnTo>
                    <a:pt x="0" y="77665"/>
                  </a:lnTo>
                  <a:lnTo>
                    <a:pt x="58259" y="105527"/>
                  </a:lnTo>
                  <a:lnTo>
                    <a:pt x="73456" y="100462"/>
                  </a:lnTo>
                  <a:lnTo>
                    <a:pt x="83588" y="82731"/>
                  </a:lnTo>
                  <a:lnTo>
                    <a:pt x="70923" y="11808"/>
                  </a:lnTo>
                  <a:close/>
                </a:path>
              </a:pathLst>
            </a:custGeom>
            <a:solidFill>
              <a:schemeClr val="bg1"/>
            </a:solidFill>
            <a:ln w="317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a:lstStyle/>
            <a:p>
              <a:pPr>
                <a:defRPr/>
              </a:pPr>
              <a:endParaRPr lang="en-GB"/>
            </a:p>
          </p:txBody>
        </p:sp>
        <p:sp>
          <p:nvSpPr>
            <p:cNvPr id="38" name="Freeform 37"/>
            <p:cNvSpPr/>
            <p:nvPr/>
          </p:nvSpPr>
          <p:spPr>
            <a:xfrm>
              <a:off x="4516835" y="1794421"/>
              <a:ext cx="509587" cy="514350"/>
            </a:xfrm>
            <a:custGeom>
              <a:avLst/>
              <a:gdLst>
                <a:gd name="connsiteX0" fmla="*/ 0 w 509588"/>
                <a:gd name="connsiteY0" fmla="*/ 180975 h 514350"/>
                <a:gd name="connsiteX1" fmla="*/ 54769 w 509588"/>
                <a:gd name="connsiteY1" fmla="*/ 264319 h 514350"/>
                <a:gd name="connsiteX2" fmla="*/ 80963 w 509588"/>
                <a:gd name="connsiteY2" fmla="*/ 271463 h 514350"/>
                <a:gd name="connsiteX3" fmla="*/ 88107 w 509588"/>
                <a:gd name="connsiteY3" fmla="*/ 326231 h 514350"/>
                <a:gd name="connsiteX4" fmla="*/ 66675 w 509588"/>
                <a:gd name="connsiteY4" fmla="*/ 426244 h 514350"/>
                <a:gd name="connsiteX5" fmla="*/ 111919 w 509588"/>
                <a:gd name="connsiteY5" fmla="*/ 433388 h 514350"/>
                <a:gd name="connsiteX6" fmla="*/ 178594 w 509588"/>
                <a:gd name="connsiteY6" fmla="*/ 414338 h 514350"/>
                <a:gd name="connsiteX7" fmla="*/ 221457 w 509588"/>
                <a:gd name="connsiteY7" fmla="*/ 433388 h 514350"/>
                <a:gd name="connsiteX8" fmla="*/ 330994 w 509588"/>
                <a:gd name="connsiteY8" fmla="*/ 509588 h 514350"/>
                <a:gd name="connsiteX9" fmla="*/ 395288 w 509588"/>
                <a:gd name="connsiteY9" fmla="*/ 514350 h 514350"/>
                <a:gd name="connsiteX10" fmla="*/ 414338 w 509588"/>
                <a:gd name="connsiteY10" fmla="*/ 495300 h 514350"/>
                <a:gd name="connsiteX11" fmla="*/ 385763 w 509588"/>
                <a:gd name="connsiteY11" fmla="*/ 473869 h 514350"/>
                <a:gd name="connsiteX12" fmla="*/ 385763 w 509588"/>
                <a:gd name="connsiteY12" fmla="*/ 440531 h 514350"/>
                <a:gd name="connsiteX13" fmla="*/ 423863 w 509588"/>
                <a:gd name="connsiteY13" fmla="*/ 419100 h 514350"/>
                <a:gd name="connsiteX14" fmla="*/ 431007 w 509588"/>
                <a:gd name="connsiteY14" fmla="*/ 376238 h 514350"/>
                <a:gd name="connsiteX15" fmla="*/ 435769 w 509588"/>
                <a:gd name="connsiteY15" fmla="*/ 335756 h 514350"/>
                <a:gd name="connsiteX16" fmla="*/ 497682 w 509588"/>
                <a:gd name="connsiteY16" fmla="*/ 278606 h 514350"/>
                <a:gd name="connsiteX17" fmla="*/ 509588 w 509588"/>
                <a:gd name="connsiteY17" fmla="*/ 200025 h 514350"/>
                <a:gd name="connsiteX18" fmla="*/ 390525 w 509588"/>
                <a:gd name="connsiteY18" fmla="*/ 95250 h 514350"/>
                <a:gd name="connsiteX19" fmla="*/ 323850 w 509588"/>
                <a:gd name="connsiteY19" fmla="*/ 100013 h 514350"/>
                <a:gd name="connsiteX20" fmla="*/ 295275 w 509588"/>
                <a:gd name="connsiteY20" fmla="*/ 76200 h 514350"/>
                <a:gd name="connsiteX21" fmla="*/ 283369 w 509588"/>
                <a:gd name="connsiteY21" fmla="*/ 42863 h 514350"/>
                <a:gd name="connsiteX22" fmla="*/ 266700 w 509588"/>
                <a:gd name="connsiteY22" fmla="*/ 16669 h 514350"/>
                <a:gd name="connsiteX23" fmla="*/ 192882 w 509588"/>
                <a:gd name="connsiteY23" fmla="*/ 0 h 514350"/>
                <a:gd name="connsiteX24" fmla="*/ 195263 w 509588"/>
                <a:gd name="connsiteY24" fmla="*/ 21431 h 514350"/>
                <a:gd name="connsiteX25" fmla="*/ 159544 w 509588"/>
                <a:gd name="connsiteY25" fmla="*/ 33338 h 514350"/>
                <a:gd name="connsiteX26" fmla="*/ 100013 w 509588"/>
                <a:gd name="connsiteY26" fmla="*/ 16669 h 514350"/>
                <a:gd name="connsiteX27" fmla="*/ 38100 w 509588"/>
                <a:gd name="connsiteY27" fmla="*/ 52388 h 514350"/>
                <a:gd name="connsiteX28" fmla="*/ 42863 w 509588"/>
                <a:gd name="connsiteY28" fmla="*/ 109538 h 514350"/>
                <a:gd name="connsiteX29" fmla="*/ 0 w 509588"/>
                <a:gd name="connsiteY29" fmla="*/ 180975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09588" h="514350">
                  <a:moveTo>
                    <a:pt x="0" y="180975"/>
                  </a:moveTo>
                  <a:lnTo>
                    <a:pt x="54769" y="264319"/>
                  </a:lnTo>
                  <a:lnTo>
                    <a:pt x="80963" y="271463"/>
                  </a:lnTo>
                  <a:lnTo>
                    <a:pt x="88107" y="326231"/>
                  </a:lnTo>
                  <a:lnTo>
                    <a:pt x="66675" y="426244"/>
                  </a:lnTo>
                  <a:lnTo>
                    <a:pt x="111919" y="433388"/>
                  </a:lnTo>
                  <a:lnTo>
                    <a:pt x="178594" y="414338"/>
                  </a:lnTo>
                  <a:lnTo>
                    <a:pt x="221457" y="433388"/>
                  </a:lnTo>
                  <a:lnTo>
                    <a:pt x="330994" y="509588"/>
                  </a:lnTo>
                  <a:lnTo>
                    <a:pt x="395288" y="514350"/>
                  </a:lnTo>
                  <a:lnTo>
                    <a:pt x="414338" y="495300"/>
                  </a:lnTo>
                  <a:lnTo>
                    <a:pt x="385763" y="473869"/>
                  </a:lnTo>
                  <a:lnTo>
                    <a:pt x="385763" y="440531"/>
                  </a:lnTo>
                  <a:lnTo>
                    <a:pt x="423863" y="419100"/>
                  </a:lnTo>
                  <a:lnTo>
                    <a:pt x="431007" y="376238"/>
                  </a:lnTo>
                  <a:lnTo>
                    <a:pt x="435769" y="335756"/>
                  </a:lnTo>
                  <a:lnTo>
                    <a:pt x="497682" y="278606"/>
                  </a:lnTo>
                  <a:lnTo>
                    <a:pt x="509588" y="200025"/>
                  </a:lnTo>
                  <a:lnTo>
                    <a:pt x="390525" y="95250"/>
                  </a:lnTo>
                  <a:lnTo>
                    <a:pt x="323850" y="100013"/>
                  </a:lnTo>
                  <a:lnTo>
                    <a:pt x="295275" y="76200"/>
                  </a:lnTo>
                  <a:lnTo>
                    <a:pt x="283369" y="42863"/>
                  </a:lnTo>
                  <a:lnTo>
                    <a:pt x="266700" y="16669"/>
                  </a:lnTo>
                  <a:lnTo>
                    <a:pt x="192882" y="0"/>
                  </a:lnTo>
                  <a:lnTo>
                    <a:pt x="195263" y="21431"/>
                  </a:lnTo>
                  <a:lnTo>
                    <a:pt x="159544" y="33338"/>
                  </a:lnTo>
                  <a:lnTo>
                    <a:pt x="100013" y="16669"/>
                  </a:lnTo>
                  <a:lnTo>
                    <a:pt x="38100" y="52388"/>
                  </a:lnTo>
                  <a:lnTo>
                    <a:pt x="42863" y="109538"/>
                  </a:lnTo>
                  <a:lnTo>
                    <a:pt x="0" y="180975"/>
                  </a:lnTo>
                  <a:close/>
                </a:path>
              </a:pathLst>
            </a:custGeom>
            <a:solidFill>
              <a:schemeClr val="bg1"/>
            </a:solidFill>
            <a:ln w="317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a:lstStyle/>
            <a:p>
              <a:pPr>
                <a:defRPr/>
              </a:pPr>
              <a:endParaRPr lang="en-GB"/>
            </a:p>
          </p:txBody>
        </p:sp>
        <p:sp>
          <p:nvSpPr>
            <p:cNvPr id="39" name="Freeform 38"/>
            <p:cNvSpPr/>
            <p:nvPr/>
          </p:nvSpPr>
          <p:spPr>
            <a:xfrm>
              <a:off x="4369197" y="1978571"/>
              <a:ext cx="1225550" cy="1201738"/>
            </a:xfrm>
            <a:custGeom>
              <a:avLst/>
              <a:gdLst>
                <a:gd name="connsiteX0" fmla="*/ 0 w 1226344"/>
                <a:gd name="connsiteY0" fmla="*/ 452438 h 1152525"/>
                <a:gd name="connsiteX1" fmla="*/ 28575 w 1226344"/>
                <a:gd name="connsiteY1" fmla="*/ 526257 h 1152525"/>
                <a:gd name="connsiteX2" fmla="*/ 73819 w 1226344"/>
                <a:gd name="connsiteY2" fmla="*/ 564357 h 1152525"/>
                <a:gd name="connsiteX3" fmla="*/ 109537 w 1226344"/>
                <a:gd name="connsiteY3" fmla="*/ 657225 h 1152525"/>
                <a:gd name="connsiteX4" fmla="*/ 128587 w 1226344"/>
                <a:gd name="connsiteY4" fmla="*/ 685800 h 1152525"/>
                <a:gd name="connsiteX5" fmla="*/ 142875 w 1226344"/>
                <a:gd name="connsiteY5" fmla="*/ 666750 h 1152525"/>
                <a:gd name="connsiteX6" fmla="*/ 142875 w 1226344"/>
                <a:gd name="connsiteY6" fmla="*/ 633413 h 1152525"/>
                <a:gd name="connsiteX7" fmla="*/ 180975 w 1226344"/>
                <a:gd name="connsiteY7" fmla="*/ 666750 h 1152525"/>
                <a:gd name="connsiteX8" fmla="*/ 240506 w 1226344"/>
                <a:gd name="connsiteY8" fmla="*/ 673894 h 1152525"/>
                <a:gd name="connsiteX9" fmla="*/ 271462 w 1226344"/>
                <a:gd name="connsiteY9" fmla="*/ 702469 h 1152525"/>
                <a:gd name="connsiteX10" fmla="*/ 326231 w 1226344"/>
                <a:gd name="connsiteY10" fmla="*/ 721519 h 1152525"/>
                <a:gd name="connsiteX11" fmla="*/ 338137 w 1226344"/>
                <a:gd name="connsiteY11" fmla="*/ 762000 h 1152525"/>
                <a:gd name="connsiteX12" fmla="*/ 321469 w 1226344"/>
                <a:gd name="connsiteY12" fmla="*/ 781050 h 1152525"/>
                <a:gd name="connsiteX13" fmla="*/ 311944 w 1226344"/>
                <a:gd name="connsiteY13" fmla="*/ 807244 h 1152525"/>
                <a:gd name="connsiteX14" fmla="*/ 266700 w 1226344"/>
                <a:gd name="connsiteY14" fmla="*/ 826294 h 1152525"/>
                <a:gd name="connsiteX15" fmla="*/ 219075 w 1226344"/>
                <a:gd name="connsiteY15" fmla="*/ 900113 h 1152525"/>
                <a:gd name="connsiteX16" fmla="*/ 204787 w 1226344"/>
                <a:gd name="connsiteY16" fmla="*/ 909638 h 1152525"/>
                <a:gd name="connsiteX17" fmla="*/ 192881 w 1226344"/>
                <a:gd name="connsiteY17" fmla="*/ 973932 h 1152525"/>
                <a:gd name="connsiteX18" fmla="*/ 152400 w 1226344"/>
                <a:gd name="connsiteY18" fmla="*/ 1042988 h 1152525"/>
                <a:gd name="connsiteX19" fmla="*/ 157162 w 1226344"/>
                <a:gd name="connsiteY19" fmla="*/ 1071563 h 1152525"/>
                <a:gd name="connsiteX20" fmla="*/ 204787 w 1226344"/>
                <a:gd name="connsiteY20" fmla="*/ 1083469 h 1152525"/>
                <a:gd name="connsiteX21" fmla="*/ 233362 w 1226344"/>
                <a:gd name="connsiteY21" fmla="*/ 1133475 h 1152525"/>
                <a:gd name="connsiteX22" fmla="*/ 247650 w 1226344"/>
                <a:gd name="connsiteY22" fmla="*/ 1133475 h 1152525"/>
                <a:gd name="connsiteX23" fmla="*/ 266700 w 1226344"/>
                <a:gd name="connsiteY23" fmla="*/ 1102519 h 1152525"/>
                <a:gd name="connsiteX24" fmla="*/ 257175 w 1226344"/>
                <a:gd name="connsiteY24" fmla="*/ 1081088 h 1152525"/>
                <a:gd name="connsiteX25" fmla="*/ 230981 w 1226344"/>
                <a:gd name="connsiteY25" fmla="*/ 1076325 h 1152525"/>
                <a:gd name="connsiteX26" fmla="*/ 230981 w 1226344"/>
                <a:gd name="connsiteY26" fmla="*/ 1052513 h 1152525"/>
                <a:gd name="connsiteX27" fmla="*/ 228600 w 1226344"/>
                <a:gd name="connsiteY27" fmla="*/ 1009650 h 1152525"/>
                <a:gd name="connsiteX28" fmla="*/ 216694 w 1226344"/>
                <a:gd name="connsiteY28" fmla="*/ 976313 h 1152525"/>
                <a:gd name="connsiteX29" fmla="*/ 223837 w 1226344"/>
                <a:gd name="connsiteY29" fmla="*/ 940594 h 1152525"/>
                <a:gd name="connsiteX30" fmla="*/ 266700 w 1226344"/>
                <a:gd name="connsiteY30" fmla="*/ 900113 h 1152525"/>
                <a:gd name="connsiteX31" fmla="*/ 278606 w 1226344"/>
                <a:gd name="connsiteY31" fmla="*/ 897732 h 1152525"/>
                <a:gd name="connsiteX32" fmla="*/ 290512 w 1226344"/>
                <a:gd name="connsiteY32" fmla="*/ 938213 h 1152525"/>
                <a:gd name="connsiteX33" fmla="*/ 302419 w 1226344"/>
                <a:gd name="connsiteY33" fmla="*/ 938213 h 1152525"/>
                <a:gd name="connsiteX34" fmla="*/ 321469 w 1226344"/>
                <a:gd name="connsiteY34" fmla="*/ 962025 h 1152525"/>
                <a:gd name="connsiteX35" fmla="*/ 338137 w 1226344"/>
                <a:gd name="connsiteY35" fmla="*/ 957263 h 1152525"/>
                <a:gd name="connsiteX36" fmla="*/ 359569 w 1226344"/>
                <a:gd name="connsiteY36" fmla="*/ 942975 h 1152525"/>
                <a:gd name="connsiteX37" fmla="*/ 483394 w 1226344"/>
                <a:gd name="connsiteY37" fmla="*/ 954882 h 1152525"/>
                <a:gd name="connsiteX38" fmla="*/ 516731 w 1226344"/>
                <a:gd name="connsiteY38" fmla="*/ 947738 h 1152525"/>
                <a:gd name="connsiteX39" fmla="*/ 545306 w 1226344"/>
                <a:gd name="connsiteY39" fmla="*/ 964407 h 1152525"/>
                <a:gd name="connsiteX40" fmla="*/ 561975 w 1226344"/>
                <a:gd name="connsiteY40" fmla="*/ 978694 h 1152525"/>
                <a:gd name="connsiteX41" fmla="*/ 604837 w 1226344"/>
                <a:gd name="connsiteY41" fmla="*/ 981075 h 1152525"/>
                <a:gd name="connsiteX42" fmla="*/ 640556 w 1226344"/>
                <a:gd name="connsiteY42" fmla="*/ 1021557 h 1152525"/>
                <a:gd name="connsiteX43" fmla="*/ 659606 w 1226344"/>
                <a:gd name="connsiteY43" fmla="*/ 1019175 h 1152525"/>
                <a:gd name="connsiteX44" fmla="*/ 702469 w 1226344"/>
                <a:gd name="connsiteY44" fmla="*/ 976313 h 1152525"/>
                <a:gd name="connsiteX45" fmla="*/ 735806 w 1226344"/>
                <a:gd name="connsiteY45" fmla="*/ 1000125 h 1152525"/>
                <a:gd name="connsiteX46" fmla="*/ 752475 w 1226344"/>
                <a:gd name="connsiteY46" fmla="*/ 1023938 h 1152525"/>
                <a:gd name="connsiteX47" fmla="*/ 785812 w 1226344"/>
                <a:gd name="connsiteY47" fmla="*/ 1021557 h 1152525"/>
                <a:gd name="connsiteX48" fmla="*/ 819150 w 1226344"/>
                <a:gd name="connsiteY48" fmla="*/ 1042988 h 1152525"/>
                <a:gd name="connsiteX49" fmla="*/ 823912 w 1226344"/>
                <a:gd name="connsiteY49" fmla="*/ 1064419 h 1152525"/>
                <a:gd name="connsiteX50" fmla="*/ 842962 w 1226344"/>
                <a:gd name="connsiteY50" fmla="*/ 1066800 h 1152525"/>
                <a:gd name="connsiteX51" fmla="*/ 904875 w 1226344"/>
                <a:gd name="connsiteY51" fmla="*/ 1073944 h 1152525"/>
                <a:gd name="connsiteX52" fmla="*/ 933450 w 1226344"/>
                <a:gd name="connsiteY52" fmla="*/ 1112044 h 1152525"/>
                <a:gd name="connsiteX53" fmla="*/ 938212 w 1226344"/>
                <a:gd name="connsiteY53" fmla="*/ 1140619 h 1152525"/>
                <a:gd name="connsiteX54" fmla="*/ 940594 w 1226344"/>
                <a:gd name="connsiteY54" fmla="*/ 1152525 h 1152525"/>
                <a:gd name="connsiteX55" fmla="*/ 1042987 w 1226344"/>
                <a:gd name="connsiteY55" fmla="*/ 1150144 h 1152525"/>
                <a:gd name="connsiteX56" fmla="*/ 1071562 w 1226344"/>
                <a:gd name="connsiteY56" fmla="*/ 1069182 h 1152525"/>
                <a:gd name="connsiteX57" fmla="*/ 1062037 w 1226344"/>
                <a:gd name="connsiteY57" fmla="*/ 1045369 h 1152525"/>
                <a:gd name="connsiteX58" fmla="*/ 1059656 w 1226344"/>
                <a:gd name="connsiteY58" fmla="*/ 1012032 h 1152525"/>
                <a:gd name="connsiteX59" fmla="*/ 1066800 w 1226344"/>
                <a:gd name="connsiteY59" fmla="*/ 992982 h 1152525"/>
                <a:gd name="connsiteX60" fmla="*/ 1083469 w 1226344"/>
                <a:gd name="connsiteY60" fmla="*/ 973932 h 1152525"/>
                <a:gd name="connsiteX61" fmla="*/ 1107281 w 1226344"/>
                <a:gd name="connsiteY61" fmla="*/ 964407 h 1152525"/>
                <a:gd name="connsiteX62" fmla="*/ 1133475 w 1226344"/>
                <a:gd name="connsiteY62" fmla="*/ 921544 h 1152525"/>
                <a:gd name="connsiteX63" fmla="*/ 1150144 w 1226344"/>
                <a:gd name="connsiteY63" fmla="*/ 921544 h 1152525"/>
                <a:gd name="connsiteX64" fmla="*/ 1197769 w 1226344"/>
                <a:gd name="connsiteY64" fmla="*/ 940594 h 1152525"/>
                <a:gd name="connsiteX65" fmla="*/ 1226344 w 1226344"/>
                <a:gd name="connsiteY65" fmla="*/ 904875 h 1152525"/>
                <a:gd name="connsiteX66" fmla="*/ 1195387 w 1226344"/>
                <a:gd name="connsiteY66" fmla="*/ 852488 h 1152525"/>
                <a:gd name="connsiteX67" fmla="*/ 1159669 w 1226344"/>
                <a:gd name="connsiteY67" fmla="*/ 804863 h 1152525"/>
                <a:gd name="connsiteX68" fmla="*/ 1162050 w 1226344"/>
                <a:gd name="connsiteY68" fmla="*/ 762000 h 1152525"/>
                <a:gd name="connsiteX69" fmla="*/ 1216819 w 1226344"/>
                <a:gd name="connsiteY69" fmla="*/ 702469 h 1152525"/>
                <a:gd name="connsiteX70" fmla="*/ 1219200 w 1226344"/>
                <a:gd name="connsiteY70" fmla="*/ 676275 h 1152525"/>
                <a:gd name="connsiteX71" fmla="*/ 1181100 w 1226344"/>
                <a:gd name="connsiteY71" fmla="*/ 661988 h 1152525"/>
                <a:gd name="connsiteX72" fmla="*/ 1150144 w 1226344"/>
                <a:gd name="connsiteY72" fmla="*/ 635794 h 1152525"/>
                <a:gd name="connsiteX73" fmla="*/ 1133475 w 1226344"/>
                <a:gd name="connsiteY73" fmla="*/ 602457 h 1152525"/>
                <a:gd name="connsiteX74" fmla="*/ 1083469 w 1226344"/>
                <a:gd name="connsiteY74" fmla="*/ 604838 h 1152525"/>
                <a:gd name="connsiteX75" fmla="*/ 1033462 w 1226344"/>
                <a:gd name="connsiteY75" fmla="*/ 604838 h 1152525"/>
                <a:gd name="connsiteX76" fmla="*/ 1014412 w 1226344"/>
                <a:gd name="connsiteY76" fmla="*/ 583407 h 1152525"/>
                <a:gd name="connsiteX77" fmla="*/ 950119 w 1226344"/>
                <a:gd name="connsiteY77" fmla="*/ 578644 h 1152525"/>
                <a:gd name="connsiteX78" fmla="*/ 933450 w 1226344"/>
                <a:gd name="connsiteY78" fmla="*/ 561975 h 1152525"/>
                <a:gd name="connsiteX79" fmla="*/ 933450 w 1226344"/>
                <a:gd name="connsiteY79" fmla="*/ 547688 h 1152525"/>
                <a:gd name="connsiteX80" fmla="*/ 859631 w 1226344"/>
                <a:gd name="connsiteY80" fmla="*/ 511969 h 1152525"/>
                <a:gd name="connsiteX81" fmla="*/ 850106 w 1226344"/>
                <a:gd name="connsiteY81" fmla="*/ 492919 h 1152525"/>
                <a:gd name="connsiteX82" fmla="*/ 828675 w 1226344"/>
                <a:gd name="connsiteY82" fmla="*/ 476250 h 1152525"/>
                <a:gd name="connsiteX83" fmla="*/ 795337 w 1226344"/>
                <a:gd name="connsiteY83" fmla="*/ 478632 h 1152525"/>
                <a:gd name="connsiteX84" fmla="*/ 773906 w 1226344"/>
                <a:gd name="connsiteY84" fmla="*/ 471488 h 1152525"/>
                <a:gd name="connsiteX85" fmla="*/ 728662 w 1226344"/>
                <a:gd name="connsiteY85" fmla="*/ 428625 h 1152525"/>
                <a:gd name="connsiteX86" fmla="*/ 700087 w 1226344"/>
                <a:gd name="connsiteY86" fmla="*/ 421482 h 1152525"/>
                <a:gd name="connsiteX87" fmla="*/ 666750 w 1226344"/>
                <a:gd name="connsiteY87" fmla="*/ 383382 h 1152525"/>
                <a:gd name="connsiteX88" fmla="*/ 626269 w 1226344"/>
                <a:gd name="connsiteY88" fmla="*/ 369094 h 1152525"/>
                <a:gd name="connsiteX89" fmla="*/ 585787 w 1226344"/>
                <a:gd name="connsiteY89" fmla="*/ 335757 h 1152525"/>
                <a:gd name="connsiteX90" fmla="*/ 564356 w 1226344"/>
                <a:gd name="connsiteY90" fmla="*/ 311944 h 1152525"/>
                <a:gd name="connsiteX91" fmla="*/ 550069 w 1226344"/>
                <a:gd name="connsiteY91" fmla="*/ 330994 h 1152525"/>
                <a:gd name="connsiteX92" fmla="*/ 478631 w 1226344"/>
                <a:gd name="connsiteY92" fmla="*/ 328613 h 1152525"/>
                <a:gd name="connsiteX93" fmla="*/ 330994 w 1226344"/>
                <a:gd name="connsiteY93" fmla="*/ 230982 h 1152525"/>
                <a:gd name="connsiteX94" fmla="*/ 259556 w 1226344"/>
                <a:gd name="connsiteY94" fmla="*/ 254794 h 1152525"/>
                <a:gd name="connsiteX95" fmla="*/ 221456 w 1226344"/>
                <a:gd name="connsiteY95" fmla="*/ 245269 h 1152525"/>
                <a:gd name="connsiteX96" fmla="*/ 238125 w 1226344"/>
                <a:gd name="connsiteY96" fmla="*/ 150019 h 1152525"/>
                <a:gd name="connsiteX97" fmla="*/ 228600 w 1226344"/>
                <a:gd name="connsiteY97" fmla="*/ 95250 h 1152525"/>
                <a:gd name="connsiteX98" fmla="*/ 197644 w 1226344"/>
                <a:gd name="connsiteY98" fmla="*/ 78582 h 1152525"/>
                <a:gd name="connsiteX99" fmla="*/ 145256 w 1226344"/>
                <a:gd name="connsiteY99" fmla="*/ 0 h 1152525"/>
                <a:gd name="connsiteX100" fmla="*/ 88106 w 1226344"/>
                <a:gd name="connsiteY100" fmla="*/ 30957 h 1152525"/>
                <a:gd name="connsiteX101" fmla="*/ 83344 w 1226344"/>
                <a:gd name="connsiteY101" fmla="*/ 54769 h 1152525"/>
                <a:gd name="connsiteX102" fmla="*/ 90487 w 1226344"/>
                <a:gd name="connsiteY102" fmla="*/ 100013 h 1152525"/>
                <a:gd name="connsiteX103" fmla="*/ 71437 w 1226344"/>
                <a:gd name="connsiteY103" fmla="*/ 135732 h 1152525"/>
                <a:gd name="connsiteX104" fmla="*/ 66675 w 1226344"/>
                <a:gd name="connsiteY104" fmla="*/ 145257 h 1152525"/>
                <a:gd name="connsiteX105" fmla="*/ 97631 w 1226344"/>
                <a:gd name="connsiteY105" fmla="*/ 185738 h 1152525"/>
                <a:gd name="connsiteX106" fmla="*/ 83344 w 1226344"/>
                <a:gd name="connsiteY106" fmla="*/ 223838 h 1152525"/>
                <a:gd name="connsiteX107" fmla="*/ 59531 w 1226344"/>
                <a:gd name="connsiteY107" fmla="*/ 240507 h 1152525"/>
                <a:gd name="connsiteX108" fmla="*/ 69056 w 1226344"/>
                <a:gd name="connsiteY108" fmla="*/ 309563 h 1152525"/>
                <a:gd name="connsiteX109" fmla="*/ 92869 w 1226344"/>
                <a:gd name="connsiteY109" fmla="*/ 321469 h 1152525"/>
                <a:gd name="connsiteX110" fmla="*/ 85725 w 1226344"/>
                <a:gd name="connsiteY110" fmla="*/ 369094 h 1152525"/>
                <a:gd name="connsiteX111" fmla="*/ 42862 w 1226344"/>
                <a:gd name="connsiteY111" fmla="*/ 421482 h 1152525"/>
                <a:gd name="connsiteX112" fmla="*/ 0 w 1226344"/>
                <a:gd name="connsiteY112" fmla="*/ 452438 h 1152525"/>
                <a:gd name="connsiteX0" fmla="*/ 0 w 1226344"/>
                <a:gd name="connsiteY0" fmla="*/ 452438 h 1152525"/>
                <a:gd name="connsiteX1" fmla="*/ 28575 w 1226344"/>
                <a:gd name="connsiteY1" fmla="*/ 526257 h 1152525"/>
                <a:gd name="connsiteX2" fmla="*/ 73819 w 1226344"/>
                <a:gd name="connsiteY2" fmla="*/ 564357 h 1152525"/>
                <a:gd name="connsiteX3" fmla="*/ 109537 w 1226344"/>
                <a:gd name="connsiteY3" fmla="*/ 657225 h 1152525"/>
                <a:gd name="connsiteX4" fmla="*/ 128587 w 1226344"/>
                <a:gd name="connsiteY4" fmla="*/ 685800 h 1152525"/>
                <a:gd name="connsiteX5" fmla="*/ 142875 w 1226344"/>
                <a:gd name="connsiteY5" fmla="*/ 666750 h 1152525"/>
                <a:gd name="connsiteX6" fmla="*/ 142875 w 1226344"/>
                <a:gd name="connsiteY6" fmla="*/ 633413 h 1152525"/>
                <a:gd name="connsiteX7" fmla="*/ 180975 w 1226344"/>
                <a:gd name="connsiteY7" fmla="*/ 666750 h 1152525"/>
                <a:gd name="connsiteX8" fmla="*/ 240506 w 1226344"/>
                <a:gd name="connsiteY8" fmla="*/ 673894 h 1152525"/>
                <a:gd name="connsiteX9" fmla="*/ 271462 w 1226344"/>
                <a:gd name="connsiteY9" fmla="*/ 702469 h 1152525"/>
                <a:gd name="connsiteX10" fmla="*/ 326231 w 1226344"/>
                <a:gd name="connsiteY10" fmla="*/ 721519 h 1152525"/>
                <a:gd name="connsiteX11" fmla="*/ 338137 w 1226344"/>
                <a:gd name="connsiteY11" fmla="*/ 762000 h 1152525"/>
                <a:gd name="connsiteX12" fmla="*/ 321469 w 1226344"/>
                <a:gd name="connsiteY12" fmla="*/ 781050 h 1152525"/>
                <a:gd name="connsiteX13" fmla="*/ 311944 w 1226344"/>
                <a:gd name="connsiteY13" fmla="*/ 807244 h 1152525"/>
                <a:gd name="connsiteX14" fmla="*/ 266700 w 1226344"/>
                <a:gd name="connsiteY14" fmla="*/ 826294 h 1152525"/>
                <a:gd name="connsiteX15" fmla="*/ 219075 w 1226344"/>
                <a:gd name="connsiteY15" fmla="*/ 900113 h 1152525"/>
                <a:gd name="connsiteX16" fmla="*/ 204787 w 1226344"/>
                <a:gd name="connsiteY16" fmla="*/ 909638 h 1152525"/>
                <a:gd name="connsiteX17" fmla="*/ 192881 w 1226344"/>
                <a:gd name="connsiteY17" fmla="*/ 973932 h 1152525"/>
                <a:gd name="connsiteX18" fmla="*/ 152400 w 1226344"/>
                <a:gd name="connsiteY18" fmla="*/ 1042988 h 1152525"/>
                <a:gd name="connsiteX19" fmla="*/ 157162 w 1226344"/>
                <a:gd name="connsiteY19" fmla="*/ 1071563 h 1152525"/>
                <a:gd name="connsiteX20" fmla="*/ 204787 w 1226344"/>
                <a:gd name="connsiteY20" fmla="*/ 1083469 h 1152525"/>
                <a:gd name="connsiteX21" fmla="*/ 233362 w 1226344"/>
                <a:gd name="connsiteY21" fmla="*/ 1133475 h 1152525"/>
                <a:gd name="connsiteX22" fmla="*/ 247650 w 1226344"/>
                <a:gd name="connsiteY22" fmla="*/ 1133475 h 1152525"/>
                <a:gd name="connsiteX23" fmla="*/ 266700 w 1226344"/>
                <a:gd name="connsiteY23" fmla="*/ 1102519 h 1152525"/>
                <a:gd name="connsiteX24" fmla="*/ 257175 w 1226344"/>
                <a:gd name="connsiteY24" fmla="*/ 1081088 h 1152525"/>
                <a:gd name="connsiteX25" fmla="*/ 230981 w 1226344"/>
                <a:gd name="connsiteY25" fmla="*/ 1076325 h 1152525"/>
                <a:gd name="connsiteX26" fmla="*/ 230981 w 1226344"/>
                <a:gd name="connsiteY26" fmla="*/ 1052513 h 1152525"/>
                <a:gd name="connsiteX27" fmla="*/ 228600 w 1226344"/>
                <a:gd name="connsiteY27" fmla="*/ 1009650 h 1152525"/>
                <a:gd name="connsiteX28" fmla="*/ 216694 w 1226344"/>
                <a:gd name="connsiteY28" fmla="*/ 976313 h 1152525"/>
                <a:gd name="connsiteX29" fmla="*/ 223837 w 1226344"/>
                <a:gd name="connsiteY29" fmla="*/ 940594 h 1152525"/>
                <a:gd name="connsiteX30" fmla="*/ 266700 w 1226344"/>
                <a:gd name="connsiteY30" fmla="*/ 900113 h 1152525"/>
                <a:gd name="connsiteX31" fmla="*/ 278606 w 1226344"/>
                <a:gd name="connsiteY31" fmla="*/ 897732 h 1152525"/>
                <a:gd name="connsiteX32" fmla="*/ 290512 w 1226344"/>
                <a:gd name="connsiteY32" fmla="*/ 938213 h 1152525"/>
                <a:gd name="connsiteX33" fmla="*/ 302419 w 1226344"/>
                <a:gd name="connsiteY33" fmla="*/ 938213 h 1152525"/>
                <a:gd name="connsiteX34" fmla="*/ 321469 w 1226344"/>
                <a:gd name="connsiteY34" fmla="*/ 962025 h 1152525"/>
                <a:gd name="connsiteX35" fmla="*/ 338137 w 1226344"/>
                <a:gd name="connsiteY35" fmla="*/ 957263 h 1152525"/>
                <a:gd name="connsiteX36" fmla="*/ 359569 w 1226344"/>
                <a:gd name="connsiteY36" fmla="*/ 942975 h 1152525"/>
                <a:gd name="connsiteX37" fmla="*/ 483394 w 1226344"/>
                <a:gd name="connsiteY37" fmla="*/ 954882 h 1152525"/>
                <a:gd name="connsiteX38" fmla="*/ 516731 w 1226344"/>
                <a:gd name="connsiteY38" fmla="*/ 947738 h 1152525"/>
                <a:gd name="connsiteX39" fmla="*/ 545306 w 1226344"/>
                <a:gd name="connsiteY39" fmla="*/ 964407 h 1152525"/>
                <a:gd name="connsiteX40" fmla="*/ 561975 w 1226344"/>
                <a:gd name="connsiteY40" fmla="*/ 978694 h 1152525"/>
                <a:gd name="connsiteX41" fmla="*/ 604837 w 1226344"/>
                <a:gd name="connsiteY41" fmla="*/ 981075 h 1152525"/>
                <a:gd name="connsiteX42" fmla="*/ 640556 w 1226344"/>
                <a:gd name="connsiteY42" fmla="*/ 1021557 h 1152525"/>
                <a:gd name="connsiteX43" fmla="*/ 659606 w 1226344"/>
                <a:gd name="connsiteY43" fmla="*/ 1019175 h 1152525"/>
                <a:gd name="connsiteX44" fmla="*/ 702469 w 1226344"/>
                <a:gd name="connsiteY44" fmla="*/ 976313 h 1152525"/>
                <a:gd name="connsiteX45" fmla="*/ 735806 w 1226344"/>
                <a:gd name="connsiteY45" fmla="*/ 1000125 h 1152525"/>
                <a:gd name="connsiteX46" fmla="*/ 752475 w 1226344"/>
                <a:gd name="connsiteY46" fmla="*/ 1023938 h 1152525"/>
                <a:gd name="connsiteX47" fmla="*/ 785812 w 1226344"/>
                <a:gd name="connsiteY47" fmla="*/ 1021557 h 1152525"/>
                <a:gd name="connsiteX48" fmla="*/ 819150 w 1226344"/>
                <a:gd name="connsiteY48" fmla="*/ 1042988 h 1152525"/>
                <a:gd name="connsiteX49" fmla="*/ 823912 w 1226344"/>
                <a:gd name="connsiteY49" fmla="*/ 1064419 h 1152525"/>
                <a:gd name="connsiteX50" fmla="*/ 842962 w 1226344"/>
                <a:gd name="connsiteY50" fmla="*/ 1066800 h 1152525"/>
                <a:gd name="connsiteX51" fmla="*/ 904875 w 1226344"/>
                <a:gd name="connsiteY51" fmla="*/ 1073944 h 1152525"/>
                <a:gd name="connsiteX52" fmla="*/ 933450 w 1226344"/>
                <a:gd name="connsiteY52" fmla="*/ 1112044 h 1152525"/>
                <a:gd name="connsiteX53" fmla="*/ 938212 w 1226344"/>
                <a:gd name="connsiteY53" fmla="*/ 1140619 h 1152525"/>
                <a:gd name="connsiteX54" fmla="*/ 940594 w 1226344"/>
                <a:gd name="connsiteY54" fmla="*/ 1152525 h 1152525"/>
                <a:gd name="connsiteX55" fmla="*/ 990600 w 1226344"/>
                <a:gd name="connsiteY55" fmla="*/ 1150144 h 1152525"/>
                <a:gd name="connsiteX56" fmla="*/ 1042987 w 1226344"/>
                <a:gd name="connsiteY56" fmla="*/ 1150144 h 1152525"/>
                <a:gd name="connsiteX57" fmla="*/ 1071562 w 1226344"/>
                <a:gd name="connsiteY57" fmla="*/ 1069182 h 1152525"/>
                <a:gd name="connsiteX58" fmla="*/ 1062037 w 1226344"/>
                <a:gd name="connsiteY58" fmla="*/ 1045369 h 1152525"/>
                <a:gd name="connsiteX59" fmla="*/ 1059656 w 1226344"/>
                <a:gd name="connsiteY59" fmla="*/ 1012032 h 1152525"/>
                <a:gd name="connsiteX60" fmla="*/ 1066800 w 1226344"/>
                <a:gd name="connsiteY60" fmla="*/ 992982 h 1152525"/>
                <a:gd name="connsiteX61" fmla="*/ 1083469 w 1226344"/>
                <a:gd name="connsiteY61" fmla="*/ 973932 h 1152525"/>
                <a:gd name="connsiteX62" fmla="*/ 1107281 w 1226344"/>
                <a:gd name="connsiteY62" fmla="*/ 964407 h 1152525"/>
                <a:gd name="connsiteX63" fmla="*/ 1133475 w 1226344"/>
                <a:gd name="connsiteY63" fmla="*/ 921544 h 1152525"/>
                <a:gd name="connsiteX64" fmla="*/ 1150144 w 1226344"/>
                <a:gd name="connsiteY64" fmla="*/ 921544 h 1152525"/>
                <a:gd name="connsiteX65" fmla="*/ 1197769 w 1226344"/>
                <a:gd name="connsiteY65" fmla="*/ 940594 h 1152525"/>
                <a:gd name="connsiteX66" fmla="*/ 1226344 w 1226344"/>
                <a:gd name="connsiteY66" fmla="*/ 904875 h 1152525"/>
                <a:gd name="connsiteX67" fmla="*/ 1195387 w 1226344"/>
                <a:gd name="connsiteY67" fmla="*/ 852488 h 1152525"/>
                <a:gd name="connsiteX68" fmla="*/ 1159669 w 1226344"/>
                <a:gd name="connsiteY68" fmla="*/ 804863 h 1152525"/>
                <a:gd name="connsiteX69" fmla="*/ 1162050 w 1226344"/>
                <a:gd name="connsiteY69" fmla="*/ 762000 h 1152525"/>
                <a:gd name="connsiteX70" fmla="*/ 1216819 w 1226344"/>
                <a:gd name="connsiteY70" fmla="*/ 702469 h 1152525"/>
                <a:gd name="connsiteX71" fmla="*/ 1219200 w 1226344"/>
                <a:gd name="connsiteY71" fmla="*/ 676275 h 1152525"/>
                <a:gd name="connsiteX72" fmla="*/ 1181100 w 1226344"/>
                <a:gd name="connsiteY72" fmla="*/ 661988 h 1152525"/>
                <a:gd name="connsiteX73" fmla="*/ 1150144 w 1226344"/>
                <a:gd name="connsiteY73" fmla="*/ 635794 h 1152525"/>
                <a:gd name="connsiteX74" fmla="*/ 1133475 w 1226344"/>
                <a:gd name="connsiteY74" fmla="*/ 602457 h 1152525"/>
                <a:gd name="connsiteX75" fmla="*/ 1083469 w 1226344"/>
                <a:gd name="connsiteY75" fmla="*/ 604838 h 1152525"/>
                <a:gd name="connsiteX76" fmla="*/ 1033462 w 1226344"/>
                <a:gd name="connsiteY76" fmla="*/ 604838 h 1152525"/>
                <a:gd name="connsiteX77" fmla="*/ 1014412 w 1226344"/>
                <a:gd name="connsiteY77" fmla="*/ 583407 h 1152525"/>
                <a:gd name="connsiteX78" fmla="*/ 950119 w 1226344"/>
                <a:gd name="connsiteY78" fmla="*/ 578644 h 1152525"/>
                <a:gd name="connsiteX79" fmla="*/ 933450 w 1226344"/>
                <a:gd name="connsiteY79" fmla="*/ 561975 h 1152525"/>
                <a:gd name="connsiteX80" fmla="*/ 933450 w 1226344"/>
                <a:gd name="connsiteY80" fmla="*/ 547688 h 1152525"/>
                <a:gd name="connsiteX81" fmla="*/ 859631 w 1226344"/>
                <a:gd name="connsiteY81" fmla="*/ 511969 h 1152525"/>
                <a:gd name="connsiteX82" fmla="*/ 850106 w 1226344"/>
                <a:gd name="connsiteY82" fmla="*/ 492919 h 1152525"/>
                <a:gd name="connsiteX83" fmla="*/ 828675 w 1226344"/>
                <a:gd name="connsiteY83" fmla="*/ 476250 h 1152525"/>
                <a:gd name="connsiteX84" fmla="*/ 795337 w 1226344"/>
                <a:gd name="connsiteY84" fmla="*/ 478632 h 1152525"/>
                <a:gd name="connsiteX85" fmla="*/ 773906 w 1226344"/>
                <a:gd name="connsiteY85" fmla="*/ 471488 h 1152525"/>
                <a:gd name="connsiteX86" fmla="*/ 728662 w 1226344"/>
                <a:gd name="connsiteY86" fmla="*/ 428625 h 1152525"/>
                <a:gd name="connsiteX87" fmla="*/ 700087 w 1226344"/>
                <a:gd name="connsiteY87" fmla="*/ 421482 h 1152525"/>
                <a:gd name="connsiteX88" fmla="*/ 666750 w 1226344"/>
                <a:gd name="connsiteY88" fmla="*/ 383382 h 1152525"/>
                <a:gd name="connsiteX89" fmla="*/ 626269 w 1226344"/>
                <a:gd name="connsiteY89" fmla="*/ 369094 h 1152525"/>
                <a:gd name="connsiteX90" fmla="*/ 585787 w 1226344"/>
                <a:gd name="connsiteY90" fmla="*/ 335757 h 1152525"/>
                <a:gd name="connsiteX91" fmla="*/ 564356 w 1226344"/>
                <a:gd name="connsiteY91" fmla="*/ 311944 h 1152525"/>
                <a:gd name="connsiteX92" fmla="*/ 550069 w 1226344"/>
                <a:gd name="connsiteY92" fmla="*/ 330994 h 1152525"/>
                <a:gd name="connsiteX93" fmla="*/ 478631 w 1226344"/>
                <a:gd name="connsiteY93" fmla="*/ 328613 h 1152525"/>
                <a:gd name="connsiteX94" fmla="*/ 330994 w 1226344"/>
                <a:gd name="connsiteY94" fmla="*/ 230982 h 1152525"/>
                <a:gd name="connsiteX95" fmla="*/ 259556 w 1226344"/>
                <a:gd name="connsiteY95" fmla="*/ 254794 h 1152525"/>
                <a:gd name="connsiteX96" fmla="*/ 221456 w 1226344"/>
                <a:gd name="connsiteY96" fmla="*/ 245269 h 1152525"/>
                <a:gd name="connsiteX97" fmla="*/ 238125 w 1226344"/>
                <a:gd name="connsiteY97" fmla="*/ 150019 h 1152525"/>
                <a:gd name="connsiteX98" fmla="*/ 228600 w 1226344"/>
                <a:gd name="connsiteY98" fmla="*/ 95250 h 1152525"/>
                <a:gd name="connsiteX99" fmla="*/ 197644 w 1226344"/>
                <a:gd name="connsiteY99" fmla="*/ 78582 h 1152525"/>
                <a:gd name="connsiteX100" fmla="*/ 145256 w 1226344"/>
                <a:gd name="connsiteY100" fmla="*/ 0 h 1152525"/>
                <a:gd name="connsiteX101" fmla="*/ 88106 w 1226344"/>
                <a:gd name="connsiteY101" fmla="*/ 30957 h 1152525"/>
                <a:gd name="connsiteX102" fmla="*/ 83344 w 1226344"/>
                <a:gd name="connsiteY102" fmla="*/ 54769 h 1152525"/>
                <a:gd name="connsiteX103" fmla="*/ 90487 w 1226344"/>
                <a:gd name="connsiteY103" fmla="*/ 100013 h 1152525"/>
                <a:gd name="connsiteX104" fmla="*/ 71437 w 1226344"/>
                <a:gd name="connsiteY104" fmla="*/ 135732 h 1152525"/>
                <a:gd name="connsiteX105" fmla="*/ 66675 w 1226344"/>
                <a:gd name="connsiteY105" fmla="*/ 145257 h 1152525"/>
                <a:gd name="connsiteX106" fmla="*/ 97631 w 1226344"/>
                <a:gd name="connsiteY106" fmla="*/ 185738 h 1152525"/>
                <a:gd name="connsiteX107" fmla="*/ 83344 w 1226344"/>
                <a:gd name="connsiteY107" fmla="*/ 223838 h 1152525"/>
                <a:gd name="connsiteX108" fmla="*/ 59531 w 1226344"/>
                <a:gd name="connsiteY108" fmla="*/ 240507 h 1152525"/>
                <a:gd name="connsiteX109" fmla="*/ 69056 w 1226344"/>
                <a:gd name="connsiteY109" fmla="*/ 309563 h 1152525"/>
                <a:gd name="connsiteX110" fmla="*/ 92869 w 1226344"/>
                <a:gd name="connsiteY110" fmla="*/ 321469 h 1152525"/>
                <a:gd name="connsiteX111" fmla="*/ 85725 w 1226344"/>
                <a:gd name="connsiteY111" fmla="*/ 369094 h 1152525"/>
                <a:gd name="connsiteX112" fmla="*/ 42862 w 1226344"/>
                <a:gd name="connsiteY112" fmla="*/ 421482 h 1152525"/>
                <a:gd name="connsiteX113" fmla="*/ 0 w 1226344"/>
                <a:gd name="connsiteY113" fmla="*/ 452438 h 1152525"/>
                <a:gd name="connsiteX0" fmla="*/ 0 w 1226344"/>
                <a:gd name="connsiteY0" fmla="*/ 452438 h 1200150"/>
                <a:gd name="connsiteX1" fmla="*/ 28575 w 1226344"/>
                <a:gd name="connsiteY1" fmla="*/ 526257 h 1200150"/>
                <a:gd name="connsiteX2" fmla="*/ 73819 w 1226344"/>
                <a:gd name="connsiteY2" fmla="*/ 564357 h 1200150"/>
                <a:gd name="connsiteX3" fmla="*/ 109537 w 1226344"/>
                <a:gd name="connsiteY3" fmla="*/ 657225 h 1200150"/>
                <a:gd name="connsiteX4" fmla="*/ 128587 w 1226344"/>
                <a:gd name="connsiteY4" fmla="*/ 685800 h 1200150"/>
                <a:gd name="connsiteX5" fmla="*/ 142875 w 1226344"/>
                <a:gd name="connsiteY5" fmla="*/ 666750 h 1200150"/>
                <a:gd name="connsiteX6" fmla="*/ 142875 w 1226344"/>
                <a:gd name="connsiteY6" fmla="*/ 633413 h 1200150"/>
                <a:gd name="connsiteX7" fmla="*/ 180975 w 1226344"/>
                <a:gd name="connsiteY7" fmla="*/ 666750 h 1200150"/>
                <a:gd name="connsiteX8" fmla="*/ 240506 w 1226344"/>
                <a:gd name="connsiteY8" fmla="*/ 673894 h 1200150"/>
                <a:gd name="connsiteX9" fmla="*/ 271462 w 1226344"/>
                <a:gd name="connsiteY9" fmla="*/ 702469 h 1200150"/>
                <a:gd name="connsiteX10" fmla="*/ 326231 w 1226344"/>
                <a:gd name="connsiteY10" fmla="*/ 721519 h 1200150"/>
                <a:gd name="connsiteX11" fmla="*/ 338137 w 1226344"/>
                <a:gd name="connsiteY11" fmla="*/ 762000 h 1200150"/>
                <a:gd name="connsiteX12" fmla="*/ 321469 w 1226344"/>
                <a:gd name="connsiteY12" fmla="*/ 781050 h 1200150"/>
                <a:gd name="connsiteX13" fmla="*/ 311944 w 1226344"/>
                <a:gd name="connsiteY13" fmla="*/ 807244 h 1200150"/>
                <a:gd name="connsiteX14" fmla="*/ 266700 w 1226344"/>
                <a:gd name="connsiteY14" fmla="*/ 826294 h 1200150"/>
                <a:gd name="connsiteX15" fmla="*/ 219075 w 1226344"/>
                <a:gd name="connsiteY15" fmla="*/ 900113 h 1200150"/>
                <a:gd name="connsiteX16" fmla="*/ 204787 w 1226344"/>
                <a:gd name="connsiteY16" fmla="*/ 909638 h 1200150"/>
                <a:gd name="connsiteX17" fmla="*/ 192881 w 1226344"/>
                <a:gd name="connsiteY17" fmla="*/ 973932 h 1200150"/>
                <a:gd name="connsiteX18" fmla="*/ 152400 w 1226344"/>
                <a:gd name="connsiteY18" fmla="*/ 1042988 h 1200150"/>
                <a:gd name="connsiteX19" fmla="*/ 157162 w 1226344"/>
                <a:gd name="connsiteY19" fmla="*/ 1071563 h 1200150"/>
                <a:gd name="connsiteX20" fmla="*/ 204787 w 1226344"/>
                <a:gd name="connsiteY20" fmla="*/ 1083469 h 1200150"/>
                <a:gd name="connsiteX21" fmla="*/ 233362 w 1226344"/>
                <a:gd name="connsiteY21" fmla="*/ 1133475 h 1200150"/>
                <a:gd name="connsiteX22" fmla="*/ 247650 w 1226344"/>
                <a:gd name="connsiteY22" fmla="*/ 1133475 h 1200150"/>
                <a:gd name="connsiteX23" fmla="*/ 266700 w 1226344"/>
                <a:gd name="connsiteY23" fmla="*/ 1102519 h 1200150"/>
                <a:gd name="connsiteX24" fmla="*/ 257175 w 1226344"/>
                <a:gd name="connsiteY24" fmla="*/ 1081088 h 1200150"/>
                <a:gd name="connsiteX25" fmla="*/ 230981 w 1226344"/>
                <a:gd name="connsiteY25" fmla="*/ 1076325 h 1200150"/>
                <a:gd name="connsiteX26" fmla="*/ 230981 w 1226344"/>
                <a:gd name="connsiteY26" fmla="*/ 1052513 h 1200150"/>
                <a:gd name="connsiteX27" fmla="*/ 228600 w 1226344"/>
                <a:gd name="connsiteY27" fmla="*/ 1009650 h 1200150"/>
                <a:gd name="connsiteX28" fmla="*/ 216694 w 1226344"/>
                <a:gd name="connsiteY28" fmla="*/ 976313 h 1200150"/>
                <a:gd name="connsiteX29" fmla="*/ 223837 w 1226344"/>
                <a:gd name="connsiteY29" fmla="*/ 940594 h 1200150"/>
                <a:gd name="connsiteX30" fmla="*/ 266700 w 1226344"/>
                <a:gd name="connsiteY30" fmla="*/ 900113 h 1200150"/>
                <a:gd name="connsiteX31" fmla="*/ 278606 w 1226344"/>
                <a:gd name="connsiteY31" fmla="*/ 897732 h 1200150"/>
                <a:gd name="connsiteX32" fmla="*/ 290512 w 1226344"/>
                <a:gd name="connsiteY32" fmla="*/ 938213 h 1200150"/>
                <a:gd name="connsiteX33" fmla="*/ 302419 w 1226344"/>
                <a:gd name="connsiteY33" fmla="*/ 938213 h 1200150"/>
                <a:gd name="connsiteX34" fmla="*/ 321469 w 1226344"/>
                <a:gd name="connsiteY34" fmla="*/ 962025 h 1200150"/>
                <a:gd name="connsiteX35" fmla="*/ 338137 w 1226344"/>
                <a:gd name="connsiteY35" fmla="*/ 957263 h 1200150"/>
                <a:gd name="connsiteX36" fmla="*/ 359569 w 1226344"/>
                <a:gd name="connsiteY36" fmla="*/ 942975 h 1200150"/>
                <a:gd name="connsiteX37" fmla="*/ 483394 w 1226344"/>
                <a:gd name="connsiteY37" fmla="*/ 954882 h 1200150"/>
                <a:gd name="connsiteX38" fmla="*/ 516731 w 1226344"/>
                <a:gd name="connsiteY38" fmla="*/ 947738 h 1200150"/>
                <a:gd name="connsiteX39" fmla="*/ 545306 w 1226344"/>
                <a:gd name="connsiteY39" fmla="*/ 964407 h 1200150"/>
                <a:gd name="connsiteX40" fmla="*/ 561975 w 1226344"/>
                <a:gd name="connsiteY40" fmla="*/ 978694 h 1200150"/>
                <a:gd name="connsiteX41" fmla="*/ 604837 w 1226344"/>
                <a:gd name="connsiteY41" fmla="*/ 981075 h 1200150"/>
                <a:gd name="connsiteX42" fmla="*/ 640556 w 1226344"/>
                <a:gd name="connsiteY42" fmla="*/ 1021557 h 1200150"/>
                <a:gd name="connsiteX43" fmla="*/ 659606 w 1226344"/>
                <a:gd name="connsiteY43" fmla="*/ 1019175 h 1200150"/>
                <a:gd name="connsiteX44" fmla="*/ 702469 w 1226344"/>
                <a:gd name="connsiteY44" fmla="*/ 976313 h 1200150"/>
                <a:gd name="connsiteX45" fmla="*/ 735806 w 1226344"/>
                <a:gd name="connsiteY45" fmla="*/ 1000125 h 1200150"/>
                <a:gd name="connsiteX46" fmla="*/ 752475 w 1226344"/>
                <a:gd name="connsiteY46" fmla="*/ 1023938 h 1200150"/>
                <a:gd name="connsiteX47" fmla="*/ 785812 w 1226344"/>
                <a:gd name="connsiteY47" fmla="*/ 1021557 h 1200150"/>
                <a:gd name="connsiteX48" fmla="*/ 819150 w 1226344"/>
                <a:gd name="connsiteY48" fmla="*/ 1042988 h 1200150"/>
                <a:gd name="connsiteX49" fmla="*/ 823912 w 1226344"/>
                <a:gd name="connsiteY49" fmla="*/ 1064419 h 1200150"/>
                <a:gd name="connsiteX50" fmla="*/ 842962 w 1226344"/>
                <a:gd name="connsiteY50" fmla="*/ 1066800 h 1200150"/>
                <a:gd name="connsiteX51" fmla="*/ 904875 w 1226344"/>
                <a:gd name="connsiteY51" fmla="*/ 1073944 h 1200150"/>
                <a:gd name="connsiteX52" fmla="*/ 933450 w 1226344"/>
                <a:gd name="connsiteY52" fmla="*/ 1112044 h 1200150"/>
                <a:gd name="connsiteX53" fmla="*/ 938212 w 1226344"/>
                <a:gd name="connsiteY53" fmla="*/ 1140619 h 1200150"/>
                <a:gd name="connsiteX54" fmla="*/ 940594 w 1226344"/>
                <a:gd name="connsiteY54" fmla="*/ 1152525 h 1200150"/>
                <a:gd name="connsiteX55" fmla="*/ 954882 w 1226344"/>
                <a:gd name="connsiteY55" fmla="*/ 1200150 h 1200150"/>
                <a:gd name="connsiteX56" fmla="*/ 1042987 w 1226344"/>
                <a:gd name="connsiteY56" fmla="*/ 1150144 h 1200150"/>
                <a:gd name="connsiteX57" fmla="*/ 1071562 w 1226344"/>
                <a:gd name="connsiteY57" fmla="*/ 1069182 h 1200150"/>
                <a:gd name="connsiteX58" fmla="*/ 1062037 w 1226344"/>
                <a:gd name="connsiteY58" fmla="*/ 1045369 h 1200150"/>
                <a:gd name="connsiteX59" fmla="*/ 1059656 w 1226344"/>
                <a:gd name="connsiteY59" fmla="*/ 1012032 h 1200150"/>
                <a:gd name="connsiteX60" fmla="*/ 1066800 w 1226344"/>
                <a:gd name="connsiteY60" fmla="*/ 992982 h 1200150"/>
                <a:gd name="connsiteX61" fmla="*/ 1083469 w 1226344"/>
                <a:gd name="connsiteY61" fmla="*/ 973932 h 1200150"/>
                <a:gd name="connsiteX62" fmla="*/ 1107281 w 1226344"/>
                <a:gd name="connsiteY62" fmla="*/ 964407 h 1200150"/>
                <a:gd name="connsiteX63" fmla="*/ 1133475 w 1226344"/>
                <a:gd name="connsiteY63" fmla="*/ 921544 h 1200150"/>
                <a:gd name="connsiteX64" fmla="*/ 1150144 w 1226344"/>
                <a:gd name="connsiteY64" fmla="*/ 921544 h 1200150"/>
                <a:gd name="connsiteX65" fmla="*/ 1197769 w 1226344"/>
                <a:gd name="connsiteY65" fmla="*/ 940594 h 1200150"/>
                <a:gd name="connsiteX66" fmla="*/ 1226344 w 1226344"/>
                <a:gd name="connsiteY66" fmla="*/ 904875 h 1200150"/>
                <a:gd name="connsiteX67" fmla="*/ 1195387 w 1226344"/>
                <a:gd name="connsiteY67" fmla="*/ 852488 h 1200150"/>
                <a:gd name="connsiteX68" fmla="*/ 1159669 w 1226344"/>
                <a:gd name="connsiteY68" fmla="*/ 804863 h 1200150"/>
                <a:gd name="connsiteX69" fmla="*/ 1162050 w 1226344"/>
                <a:gd name="connsiteY69" fmla="*/ 762000 h 1200150"/>
                <a:gd name="connsiteX70" fmla="*/ 1216819 w 1226344"/>
                <a:gd name="connsiteY70" fmla="*/ 702469 h 1200150"/>
                <a:gd name="connsiteX71" fmla="*/ 1219200 w 1226344"/>
                <a:gd name="connsiteY71" fmla="*/ 676275 h 1200150"/>
                <a:gd name="connsiteX72" fmla="*/ 1181100 w 1226344"/>
                <a:gd name="connsiteY72" fmla="*/ 661988 h 1200150"/>
                <a:gd name="connsiteX73" fmla="*/ 1150144 w 1226344"/>
                <a:gd name="connsiteY73" fmla="*/ 635794 h 1200150"/>
                <a:gd name="connsiteX74" fmla="*/ 1133475 w 1226344"/>
                <a:gd name="connsiteY74" fmla="*/ 602457 h 1200150"/>
                <a:gd name="connsiteX75" fmla="*/ 1083469 w 1226344"/>
                <a:gd name="connsiteY75" fmla="*/ 604838 h 1200150"/>
                <a:gd name="connsiteX76" fmla="*/ 1033462 w 1226344"/>
                <a:gd name="connsiteY76" fmla="*/ 604838 h 1200150"/>
                <a:gd name="connsiteX77" fmla="*/ 1014412 w 1226344"/>
                <a:gd name="connsiteY77" fmla="*/ 583407 h 1200150"/>
                <a:gd name="connsiteX78" fmla="*/ 950119 w 1226344"/>
                <a:gd name="connsiteY78" fmla="*/ 578644 h 1200150"/>
                <a:gd name="connsiteX79" fmla="*/ 933450 w 1226344"/>
                <a:gd name="connsiteY79" fmla="*/ 561975 h 1200150"/>
                <a:gd name="connsiteX80" fmla="*/ 933450 w 1226344"/>
                <a:gd name="connsiteY80" fmla="*/ 547688 h 1200150"/>
                <a:gd name="connsiteX81" fmla="*/ 859631 w 1226344"/>
                <a:gd name="connsiteY81" fmla="*/ 511969 h 1200150"/>
                <a:gd name="connsiteX82" fmla="*/ 850106 w 1226344"/>
                <a:gd name="connsiteY82" fmla="*/ 492919 h 1200150"/>
                <a:gd name="connsiteX83" fmla="*/ 828675 w 1226344"/>
                <a:gd name="connsiteY83" fmla="*/ 476250 h 1200150"/>
                <a:gd name="connsiteX84" fmla="*/ 795337 w 1226344"/>
                <a:gd name="connsiteY84" fmla="*/ 478632 h 1200150"/>
                <a:gd name="connsiteX85" fmla="*/ 773906 w 1226344"/>
                <a:gd name="connsiteY85" fmla="*/ 471488 h 1200150"/>
                <a:gd name="connsiteX86" fmla="*/ 728662 w 1226344"/>
                <a:gd name="connsiteY86" fmla="*/ 428625 h 1200150"/>
                <a:gd name="connsiteX87" fmla="*/ 700087 w 1226344"/>
                <a:gd name="connsiteY87" fmla="*/ 421482 h 1200150"/>
                <a:gd name="connsiteX88" fmla="*/ 666750 w 1226344"/>
                <a:gd name="connsiteY88" fmla="*/ 383382 h 1200150"/>
                <a:gd name="connsiteX89" fmla="*/ 626269 w 1226344"/>
                <a:gd name="connsiteY89" fmla="*/ 369094 h 1200150"/>
                <a:gd name="connsiteX90" fmla="*/ 585787 w 1226344"/>
                <a:gd name="connsiteY90" fmla="*/ 335757 h 1200150"/>
                <a:gd name="connsiteX91" fmla="*/ 564356 w 1226344"/>
                <a:gd name="connsiteY91" fmla="*/ 311944 h 1200150"/>
                <a:gd name="connsiteX92" fmla="*/ 550069 w 1226344"/>
                <a:gd name="connsiteY92" fmla="*/ 330994 h 1200150"/>
                <a:gd name="connsiteX93" fmla="*/ 478631 w 1226344"/>
                <a:gd name="connsiteY93" fmla="*/ 328613 h 1200150"/>
                <a:gd name="connsiteX94" fmla="*/ 330994 w 1226344"/>
                <a:gd name="connsiteY94" fmla="*/ 230982 h 1200150"/>
                <a:gd name="connsiteX95" fmla="*/ 259556 w 1226344"/>
                <a:gd name="connsiteY95" fmla="*/ 254794 h 1200150"/>
                <a:gd name="connsiteX96" fmla="*/ 221456 w 1226344"/>
                <a:gd name="connsiteY96" fmla="*/ 245269 h 1200150"/>
                <a:gd name="connsiteX97" fmla="*/ 238125 w 1226344"/>
                <a:gd name="connsiteY97" fmla="*/ 150019 h 1200150"/>
                <a:gd name="connsiteX98" fmla="*/ 228600 w 1226344"/>
                <a:gd name="connsiteY98" fmla="*/ 95250 h 1200150"/>
                <a:gd name="connsiteX99" fmla="*/ 197644 w 1226344"/>
                <a:gd name="connsiteY99" fmla="*/ 78582 h 1200150"/>
                <a:gd name="connsiteX100" fmla="*/ 145256 w 1226344"/>
                <a:gd name="connsiteY100" fmla="*/ 0 h 1200150"/>
                <a:gd name="connsiteX101" fmla="*/ 88106 w 1226344"/>
                <a:gd name="connsiteY101" fmla="*/ 30957 h 1200150"/>
                <a:gd name="connsiteX102" fmla="*/ 83344 w 1226344"/>
                <a:gd name="connsiteY102" fmla="*/ 54769 h 1200150"/>
                <a:gd name="connsiteX103" fmla="*/ 90487 w 1226344"/>
                <a:gd name="connsiteY103" fmla="*/ 100013 h 1200150"/>
                <a:gd name="connsiteX104" fmla="*/ 71437 w 1226344"/>
                <a:gd name="connsiteY104" fmla="*/ 135732 h 1200150"/>
                <a:gd name="connsiteX105" fmla="*/ 66675 w 1226344"/>
                <a:gd name="connsiteY105" fmla="*/ 145257 h 1200150"/>
                <a:gd name="connsiteX106" fmla="*/ 97631 w 1226344"/>
                <a:gd name="connsiteY106" fmla="*/ 185738 h 1200150"/>
                <a:gd name="connsiteX107" fmla="*/ 83344 w 1226344"/>
                <a:gd name="connsiteY107" fmla="*/ 223838 h 1200150"/>
                <a:gd name="connsiteX108" fmla="*/ 59531 w 1226344"/>
                <a:gd name="connsiteY108" fmla="*/ 240507 h 1200150"/>
                <a:gd name="connsiteX109" fmla="*/ 69056 w 1226344"/>
                <a:gd name="connsiteY109" fmla="*/ 309563 h 1200150"/>
                <a:gd name="connsiteX110" fmla="*/ 92869 w 1226344"/>
                <a:gd name="connsiteY110" fmla="*/ 321469 h 1200150"/>
                <a:gd name="connsiteX111" fmla="*/ 85725 w 1226344"/>
                <a:gd name="connsiteY111" fmla="*/ 369094 h 1200150"/>
                <a:gd name="connsiteX112" fmla="*/ 42862 w 1226344"/>
                <a:gd name="connsiteY112" fmla="*/ 421482 h 1200150"/>
                <a:gd name="connsiteX113" fmla="*/ 0 w 1226344"/>
                <a:gd name="connsiteY113" fmla="*/ 452438 h 1200150"/>
                <a:gd name="connsiteX0" fmla="*/ 0 w 1226344"/>
                <a:gd name="connsiteY0" fmla="*/ 452438 h 1200150"/>
                <a:gd name="connsiteX1" fmla="*/ 28575 w 1226344"/>
                <a:gd name="connsiteY1" fmla="*/ 526257 h 1200150"/>
                <a:gd name="connsiteX2" fmla="*/ 73819 w 1226344"/>
                <a:gd name="connsiteY2" fmla="*/ 564357 h 1200150"/>
                <a:gd name="connsiteX3" fmla="*/ 109537 w 1226344"/>
                <a:gd name="connsiteY3" fmla="*/ 657225 h 1200150"/>
                <a:gd name="connsiteX4" fmla="*/ 128587 w 1226344"/>
                <a:gd name="connsiteY4" fmla="*/ 685800 h 1200150"/>
                <a:gd name="connsiteX5" fmla="*/ 142875 w 1226344"/>
                <a:gd name="connsiteY5" fmla="*/ 666750 h 1200150"/>
                <a:gd name="connsiteX6" fmla="*/ 142875 w 1226344"/>
                <a:gd name="connsiteY6" fmla="*/ 633413 h 1200150"/>
                <a:gd name="connsiteX7" fmla="*/ 180975 w 1226344"/>
                <a:gd name="connsiteY7" fmla="*/ 666750 h 1200150"/>
                <a:gd name="connsiteX8" fmla="*/ 240506 w 1226344"/>
                <a:gd name="connsiteY8" fmla="*/ 673894 h 1200150"/>
                <a:gd name="connsiteX9" fmla="*/ 271462 w 1226344"/>
                <a:gd name="connsiteY9" fmla="*/ 702469 h 1200150"/>
                <a:gd name="connsiteX10" fmla="*/ 326231 w 1226344"/>
                <a:gd name="connsiteY10" fmla="*/ 721519 h 1200150"/>
                <a:gd name="connsiteX11" fmla="*/ 338137 w 1226344"/>
                <a:gd name="connsiteY11" fmla="*/ 762000 h 1200150"/>
                <a:gd name="connsiteX12" fmla="*/ 321469 w 1226344"/>
                <a:gd name="connsiteY12" fmla="*/ 781050 h 1200150"/>
                <a:gd name="connsiteX13" fmla="*/ 311944 w 1226344"/>
                <a:gd name="connsiteY13" fmla="*/ 807244 h 1200150"/>
                <a:gd name="connsiteX14" fmla="*/ 266700 w 1226344"/>
                <a:gd name="connsiteY14" fmla="*/ 826294 h 1200150"/>
                <a:gd name="connsiteX15" fmla="*/ 219075 w 1226344"/>
                <a:gd name="connsiteY15" fmla="*/ 900113 h 1200150"/>
                <a:gd name="connsiteX16" fmla="*/ 204787 w 1226344"/>
                <a:gd name="connsiteY16" fmla="*/ 909638 h 1200150"/>
                <a:gd name="connsiteX17" fmla="*/ 192881 w 1226344"/>
                <a:gd name="connsiteY17" fmla="*/ 973932 h 1200150"/>
                <a:gd name="connsiteX18" fmla="*/ 152400 w 1226344"/>
                <a:gd name="connsiteY18" fmla="*/ 1042988 h 1200150"/>
                <a:gd name="connsiteX19" fmla="*/ 157162 w 1226344"/>
                <a:gd name="connsiteY19" fmla="*/ 1071563 h 1200150"/>
                <a:gd name="connsiteX20" fmla="*/ 204787 w 1226344"/>
                <a:gd name="connsiteY20" fmla="*/ 1083469 h 1200150"/>
                <a:gd name="connsiteX21" fmla="*/ 233362 w 1226344"/>
                <a:gd name="connsiteY21" fmla="*/ 1133475 h 1200150"/>
                <a:gd name="connsiteX22" fmla="*/ 247650 w 1226344"/>
                <a:gd name="connsiteY22" fmla="*/ 1133475 h 1200150"/>
                <a:gd name="connsiteX23" fmla="*/ 266700 w 1226344"/>
                <a:gd name="connsiteY23" fmla="*/ 1102519 h 1200150"/>
                <a:gd name="connsiteX24" fmla="*/ 257175 w 1226344"/>
                <a:gd name="connsiteY24" fmla="*/ 1081088 h 1200150"/>
                <a:gd name="connsiteX25" fmla="*/ 230981 w 1226344"/>
                <a:gd name="connsiteY25" fmla="*/ 1076325 h 1200150"/>
                <a:gd name="connsiteX26" fmla="*/ 230981 w 1226344"/>
                <a:gd name="connsiteY26" fmla="*/ 1052513 h 1200150"/>
                <a:gd name="connsiteX27" fmla="*/ 228600 w 1226344"/>
                <a:gd name="connsiteY27" fmla="*/ 1009650 h 1200150"/>
                <a:gd name="connsiteX28" fmla="*/ 216694 w 1226344"/>
                <a:gd name="connsiteY28" fmla="*/ 976313 h 1200150"/>
                <a:gd name="connsiteX29" fmla="*/ 223837 w 1226344"/>
                <a:gd name="connsiteY29" fmla="*/ 940594 h 1200150"/>
                <a:gd name="connsiteX30" fmla="*/ 266700 w 1226344"/>
                <a:gd name="connsiteY30" fmla="*/ 900113 h 1200150"/>
                <a:gd name="connsiteX31" fmla="*/ 278606 w 1226344"/>
                <a:gd name="connsiteY31" fmla="*/ 897732 h 1200150"/>
                <a:gd name="connsiteX32" fmla="*/ 290512 w 1226344"/>
                <a:gd name="connsiteY32" fmla="*/ 938213 h 1200150"/>
                <a:gd name="connsiteX33" fmla="*/ 302419 w 1226344"/>
                <a:gd name="connsiteY33" fmla="*/ 938213 h 1200150"/>
                <a:gd name="connsiteX34" fmla="*/ 321469 w 1226344"/>
                <a:gd name="connsiteY34" fmla="*/ 962025 h 1200150"/>
                <a:gd name="connsiteX35" fmla="*/ 338137 w 1226344"/>
                <a:gd name="connsiteY35" fmla="*/ 957263 h 1200150"/>
                <a:gd name="connsiteX36" fmla="*/ 359569 w 1226344"/>
                <a:gd name="connsiteY36" fmla="*/ 942975 h 1200150"/>
                <a:gd name="connsiteX37" fmla="*/ 483394 w 1226344"/>
                <a:gd name="connsiteY37" fmla="*/ 954882 h 1200150"/>
                <a:gd name="connsiteX38" fmla="*/ 516731 w 1226344"/>
                <a:gd name="connsiteY38" fmla="*/ 947738 h 1200150"/>
                <a:gd name="connsiteX39" fmla="*/ 545306 w 1226344"/>
                <a:gd name="connsiteY39" fmla="*/ 964407 h 1200150"/>
                <a:gd name="connsiteX40" fmla="*/ 561975 w 1226344"/>
                <a:gd name="connsiteY40" fmla="*/ 978694 h 1200150"/>
                <a:gd name="connsiteX41" fmla="*/ 604837 w 1226344"/>
                <a:gd name="connsiteY41" fmla="*/ 981075 h 1200150"/>
                <a:gd name="connsiteX42" fmla="*/ 640556 w 1226344"/>
                <a:gd name="connsiteY42" fmla="*/ 1021557 h 1200150"/>
                <a:gd name="connsiteX43" fmla="*/ 659606 w 1226344"/>
                <a:gd name="connsiteY43" fmla="*/ 1019175 h 1200150"/>
                <a:gd name="connsiteX44" fmla="*/ 702469 w 1226344"/>
                <a:gd name="connsiteY44" fmla="*/ 976313 h 1200150"/>
                <a:gd name="connsiteX45" fmla="*/ 735806 w 1226344"/>
                <a:gd name="connsiteY45" fmla="*/ 1000125 h 1200150"/>
                <a:gd name="connsiteX46" fmla="*/ 752475 w 1226344"/>
                <a:gd name="connsiteY46" fmla="*/ 1023938 h 1200150"/>
                <a:gd name="connsiteX47" fmla="*/ 785812 w 1226344"/>
                <a:gd name="connsiteY47" fmla="*/ 1021557 h 1200150"/>
                <a:gd name="connsiteX48" fmla="*/ 819150 w 1226344"/>
                <a:gd name="connsiteY48" fmla="*/ 1042988 h 1200150"/>
                <a:gd name="connsiteX49" fmla="*/ 823912 w 1226344"/>
                <a:gd name="connsiteY49" fmla="*/ 1064419 h 1200150"/>
                <a:gd name="connsiteX50" fmla="*/ 842962 w 1226344"/>
                <a:gd name="connsiteY50" fmla="*/ 1066800 h 1200150"/>
                <a:gd name="connsiteX51" fmla="*/ 904875 w 1226344"/>
                <a:gd name="connsiteY51" fmla="*/ 1073944 h 1200150"/>
                <a:gd name="connsiteX52" fmla="*/ 933450 w 1226344"/>
                <a:gd name="connsiteY52" fmla="*/ 1112044 h 1200150"/>
                <a:gd name="connsiteX53" fmla="*/ 938212 w 1226344"/>
                <a:gd name="connsiteY53" fmla="*/ 1140619 h 1200150"/>
                <a:gd name="connsiteX54" fmla="*/ 940594 w 1226344"/>
                <a:gd name="connsiteY54" fmla="*/ 1152525 h 1200150"/>
                <a:gd name="connsiteX55" fmla="*/ 954882 w 1226344"/>
                <a:gd name="connsiteY55" fmla="*/ 1200150 h 1200150"/>
                <a:gd name="connsiteX56" fmla="*/ 1002506 w 1226344"/>
                <a:gd name="connsiteY56" fmla="*/ 1173956 h 1200150"/>
                <a:gd name="connsiteX57" fmla="*/ 1042987 w 1226344"/>
                <a:gd name="connsiteY57" fmla="*/ 1150144 h 1200150"/>
                <a:gd name="connsiteX58" fmla="*/ 1071562 w 1226344"/>
                <a:gd name="connsiteY58" fmla="*/ 1069182 h 1200150"/>
                <a:gd name="connsiteX59" fmla="*/ 1062037 w 1226344"/>
                <a:gd name="connsiteY59" fmla="*/ 1045369 h 1200150"/>
                <a:gd name="connsiteX60" fmla="*/ 1059656 w 1226344"/>
                <a:gd name="connsiteY60" fmla="*/ 1012032 h 1200150"/>
                <a:gd name="connsiteX61" fmla="*/ 1066800 w 1226344"/>
                <a:gd name="connsiteY61" fmla="*/ 992982 h 1200150"/>
                <a:gd name="connsiteX62" fmla="*/ 1083469 w 1226344"/>
                <a:gd name="connsiteY62" fmla="*/ 973932 h 1200150"/>
                <a:gd name="connsiteX63" fmla="*/ 1107281 w 1226344"/>
                <a:gd name="connsiteY63" fmla="*/ 964407 h 1200150"/>
                <a:gd name="connsiteX64" fmla="*/ 1133475 w 1226344"/>
                <a:gd name="connsiteY64" fmla="*/ 921544 h 1200150"/>
                <a:gd name="connsiteX65" fmla="*/ 1150144 w 1226344"/>
                <a:gd name="connsiteY65" fmla="*/ 921544 h 1200150"/>
                <a:gd name="connsiteX66" fmla="*/ 1197769 w 1226344"/>
                <a:gd name="connsiteY66" fmla="*/ 940594 h 1200150"/>
                <a:gd name="connsiteX67" fmla="*/ 1226344 w 1226344"/>
                <a:gd name="connsiteY67" fmla="*/ 904875 h 1200150"/>
                <a:gd name="connsiteX68" fmla="*/ 1195387 w 1226344"/>
                <a:gd name="connsiteY68" fmla="*/ 852488 h 1200150"/>
                <a:gd name="connsiteX69" fmla="*/ 1159669 w 1226344"/>
                <a:gd name="connsiteY69" fmla="*/ 804863 h 1200150"/>
                <a:gd name="connsiteX70" fmla="*/ 1162050 w 1226344"/>
                <a:gd name="connsiteY70" fmla="*/ 762000 h 1200150"/>
                <a:gd name="connsiteX71" fmla="*/ 1216819 w 1226344"/>
                <a:gd name="connsiteY71" fmla="*/ 702469 h 1200150"/>
                <a:gd name="connsiteX72" fmla="*/ 1219200 w 1226344"/>
                <a:gd name="connsiteY72" fmla="*/ 676275 h 1200150"/>
                <a:gd name="connsiteX73" fmla="*/ 1181100 w 1226344"/>
                <a:gd name="connsiteY73" fmla="*/ 661988 h 1200150"/>
                <a:gd name="connsiteX74" fmla="*/ 1150144 w 1226344"/>
                <a:gd name="connsiteY74" fmla="*/ 635794 h 1200150"/>
                <a:gd name="connsiteX75" fmla="*/ 1133475 w 1226344"/>
                <a:gd name="connsiteY75" fmla="*/ 602457 h 1200150"/>
                <a:gd name="connsiteX76" fmla="*/ 1083469 w 1226344"/>
                <a:gd name="connsiteY76" fmla="*/ 604838 h 1200150"/>
                <a:gd name="connsiteX77" fmla="*/ 1033462 w 1226344"/>
                <a:gd name="connsiteY77" fmla="*/ 604838 h 1200150"/>
                <a:gd name="connsiteX78" fmla="*/ 1014412 w 1226344"/>
                <a:gd name="connsiteY78" fmla="*/ 583407 h 1200150"/>
                <a:gd name="connsiteX79" fmla="*/ 950119 w 1226344"/>
                <a:gd name="connsiteY79" fmla="*/ 578644 h 1200150"/>
                <a:gd name="connsiteX80" fmla="*/ 933450 w 1226344"/>
                <a:gd name="connsiteY80" fmla="*/ 561975 h 1200150"/>
                <a:gd name="connsiteX81" fmla="*/ 933450 w 1226344"/>
                <a:gd name="connsiteY81" fmla="*/ 547688 h 1200150"/>
                <a:gd name="connsiteX82" fmla="*/ 859631 w 1226344"/>
                <a:gd name="connsiteY82" fmla="*/ 511969 h 1200150"/>
                <a:gd name="connsiteX83" fmla="*/ 850106 w 1226344"/>
                <a:gd name="connsiteY83" fmla="*/ 492919 h 1200150"/>
                <a:gd name="connsiteX84" fmla="*/ 828675 w 1226344"/>
                <a:gd name="connsiteY84" fmla="*/ 476250 h 1200150"/>
                <a:gd name="connsiteX85" fmla="*/ 795337 w 1226344"/>
                <a:gd name="connsiteY85" fmla="*/ 478632 h 1200150"/>
                <a:gd name="connsiteX86" fmla="*/ 773906 w 1226344"/>
                <a:gd name="connsiteY86" fmla="*/ 471488 h 1200150"/>
                <a:gd name="connsiteX87" fmla="*/ 728662 w 1226344"/>
                <a:gd name="connsiteY87" fmla="*/ 428625 h 1200150"/>
                <a:gd name="connsiteX88" fmla="*/ 700087 w 1226344"/>
                <a:gd name="connsiteY88" fmla="*/ 421482 h 1200150"/>
                <a:gd name="connsiteX89" fmla="*/ 666750 w 1226344"/>
                <a:gd name="connsiteY89" fmla="*/ 383382 h 1200150"/>
                <a:gd name="connsiteX90" fmla="*/ 626269 w 1226344"/>
                <a:gd name="connsiteY90" fmla="*/ 369094 h 1200150"/>
                <a:gd name="connsiteX91" fmla="*/ 585787 w 1226344"/>
                <a:gd name="connsiteY91" fmla="*/ 335757 h 1200150"/>
                <a:gd name="connsiteX92" fmla="*/ 564356 w 1226344"/>
                <a:gd name="connsiteY92" fmla="*/ 311944 h 1200150"/>
                <a:gd name="connsiteX93" fmla="*/ 550069 w 1226344"/>
                <a:gd name="connsiteY93" fmla="*/ 330994 h 1200150"/>
                <a:gd name="connsiteX94" fmla="*/ 478631 w 1226344"/>
                <a:gd name="connsiteY94" fmla="*/ 328613 h 1200150"/>
                <a:gd name="connsiteX95" fmla="*/ 330994 w 1226344"/>
                <a:gd name="connsiteY95" fmla="*/ 230982 h 1200150"/>
                <a:gd name="connsiteX96" fmla="*/ 259556 w 1226344"/>
                <a:gd name="connsiteY96" fmla="*/ 254794 h 1200150"/>
                <a:gd name="connsiteX97" fmla="*/ 221456 w 1226344"/>
                <a:gd name="connsiteY97" fmla="*/ 245269 h 1200150"/>
                <a:gd name="connsiteX98" fmla="*/ 238125 w 1226344"/>
                <a:gd name="connsiteY98" fmla="*/ 150019 h 1200150"/>
                <a:gd name="connsiteX99" fmla="*/ 228600 w 1226344"/>
                <a:gd name="connsiteY99" fmla="*/ 95250 h 1200150"/>
                <a:gd name="connsiteX100" fmla="*/ 197644 w 1226344"/>
                <a:gd name="connsiteY100" fmla="*/ 78582 h 1200150"/>
                <a:gd name="connsiteX101" fmla="*/ 145256 w 1226344"/>
                <a:gd name="connsiteY101" fmla="*/ 0 h 1200150"/>
                <a:gd name="connsiteX102" fmla="*/ 88106 w 1226344"/>
                <a:gd name="connsiteY102" fmla="*/ 30957 h 1200150"/>
                <a:gd name="connsiteX103" fmla="*/ 83344 w 1226344"/>
                <a:gd name="connsiteY103" fmla="*/ 54769 h 1200150"/>
                <a:gd name="connsiteX104" fmla="*/ 90487 w 1226344"/>
                <a:gd name="connsiteY104" fmla="*/ 100013 h 1200150"/>
                <a:gd name="connsiteX105" fmla="*/ 71437 w 1226344"/>
                <a:gd name="connsiteY105" fmla="*/ 135732 h 1200150"/>
                <a:gd name="connsiteX106" fmla="*/ 66675 w 1226344"/>
                <a:gd name="connsiteY106" fmla="*/ 145257 h 1200150"/>
                <a:gd name="connsiteX107" fmla="*/ 97631 w 1226344"/>
                <a:gd name="connsiteY107" fmla="*/ 185738 h 1200150"/>
                <a:gd name="connsiteX108" fmla="*/ 83344 w 1226344"/>
                <a:gd name="connsiteY108" fmla="*/ 223838 h 1200150"/>
                <a:gd name="connsiteX109" fmla="*/ 59531 w 1226344"/>
                <a:gd name="connsiteY109" fmla="*/ 240507 h 1200150"/>
                <a:gd name="connsiteX110" fmla="*/ 69056 w 1226344"/>
                <a:gd name="connsiteY110" fmla="*/ 309563 h 1200150"/>
                <a:gd name="connsiteX111" fmla="*/ 92869 w 1226344"/>
                <a:gd name="connsiteY111" fmla="*/ 321469 h 1200150"/>
                <a:gd name="connsiteX112" fmla="*/ 85725 w 1226344"/>
                <a:gd name="connsiteY112" fmla="*/ 369094 h 1200150"/>
                <a:gd name="connsiteX113" fmla="*/ 42862 w 1226344"/>
                <a:gd name="connsiteY113" fmla="*/ 421482 h 1200150"/>
                <a:gd name="connsiteX114" fmla="*/ 0 w 1226344"/>
                <a:gd name="connsiteY114" fmla="*/ 452438 h 1200150"/>
                <a:gd name="connsiteX0" fmla="*/ 0 w 1226344"/>
                <a:gd name="connsiteY0" fmla="*/ 452438 h 1202531"/>
                <a:gd name="connsiteX1" fmla="*/ 28575 w 1226344"/>
                <a:gd name="connsiteY1" fmla="*/ 526257 h 1202531"/>
                <a:gd name="connsiteX2" fmla="*/ 73819 w 1226344"/>
                <a:gd name="connsiteY2" fmla="*/ 564357 h 1202531"/>
                <a:gd name="connsiteX3" fmla="*/ 109537 w 1226344"/>
                <a:gd name="connsiteY3" fmla="*/ 657225 h 1202531"/>
                <a:gd name="connsiteX4" fmla="*/ 128587 w 1226344"/>
                <a:gd name="connsiteY4" fmla="*/ 685800 h 1202531"/>
                <a:gd name="connsiteX5" fmla="*/ 142875 w 1226344"/>
                <a:gd name="connsiteY5" fmla="*/ 666750 h 1202531"/>
                <a:gd name="connsiteX6" fmla="*/ 142875 w 1226344"/>
                <a:gd name="connsiteY6" fmla="*/ 633413 h 1202531"/>
                <a:gd name="connsiteX7" fmla="*/ 180975 w 1226344"/>
                <a:gd name="connsiteY7" fmla="*/ 666750 h 1202531"/>
                <a:gd name="connsiteX8" fmla="*/ 240506 w 1226344"/>
                <a:gd name="connsiteY8" fmla="*/ 673894 h 1202531"/>
                <a:gd name="connsiteX9" fmla="*/ 271462 w 1226344"/>
                <a:gd name="connsiteY9" fmla="*/ 702469 h 1202531"/>
                <a:gd name="connsiteX10" fmla="*/ 326231 w 1226344"/>
                <a:gd name="connsiteY10" fmla="*/ 721519 h 1202531"/>
                <a:gd name="connsiteX11" fmla="*/ 338137 w 1226344"/>
                <a:gd name="connsiteY11" fmla="*/ 762000 h 1202531"/>
                <a:gd name="connsiteX12" fmla="*/ 321469 w 1226344"/>
                <a:gd name="connsiteY12" fmla="*/ 781050 h 1202531"/>
                <a:gd name="connsiteX13" fmla="*/ 311944 w 1226344"/>
                <a:gd name="connsiteY13" fmla="*/ 807244 h 1202531"/>
                <a:gd name="connsiteX14" fmla="*/ 266700 w 1226344"/>
                <a:gd name="connsiteY14" fmla="*/ 826294 h 1202531"/>
                <a:gd name="connsiteX15" fmla="*/ 219075 w 1226344"/>
                <a:gd name="connsiteY15" fmla="*/ 900113 h 1202531"/>
                <a:gd name="connsiteX16" fmla="*/ 204787 w 1226344"/>
                <a:gd name="connsiteY16" fmla="*/ 909638 h 1202531"/>
                <a:gd name="connsiteX17" fmla="*/ 192881 w 1226344"/>
                <a:gd name="connsiteY17" fmla="*/ 973932 h 1202531"/>
                <a:gd name="connsiteX18" fmla="*/ 152400 w 1226344"/>
                <a:gd name="connsiteY18" fmla="*/ 1042988 h 1202531"/>
                <a:gd name="connsiteX19" fmla="*/ 157162 w 1226344"/>
                <a:gd name="connsiteY19" fmla="*/ 1071563 h 1202531"/>
                <a:gd name="connsiteX20" fmla="*/ 204787 w 1226344"/>
                <a:gd name="connsiteY20" fmla="*/ 1083469 h 1202531"/>
                <a:gd name="connsiteX21" fmla="*/ 233362 w 1226344"/>
                <a:gd name="connsiteY21" fmla="*/ 1133475 h 1202531"/>
                <a:gd name="connsiteX22" fmla="*/ 247650 w 1226344"/>
                <a:gd name="connsiteY22" fmla="*/ 1133475 h 1202531"/>
                <a:gd name="connsiteX23" fmla="*/ 266700 w 1226344"/>
                <a:gd name="connsiteY23" fmla="*/ 1102519 h 1202531"/>
                <a:gd name="connsiteX24" fmla="*/ 257175 w 1226344"/>
                <a:gd name="connsiteY24" fmla="*/ 1081088 h 1202531"/>
                <a:gd name="connsiteX25" fmla="*/ 230981 w 1226344"/>
                <a:gd name="connsiteY25" fmla="*/ 1076325 h 1202531"/>
                <a:gd name="connsiteX26" fmla="*/ 230981 w 1226344"/>
                <a:gd name="connsiteY26" fmla="*/ 1052513 h 1202531"/>
                <a:gd name="connsiteX27" fmla="*/ 228600 w 1226344"/>
                <a:gd name="connsiteY27" fmla="*/ 1009650 h 1202531"/>
                <a:gd name="connsiteX28" fmla="*/ 216694 w 1226344"/>
                <a:gd name="connsiteY28" fmla="*/ 976313 h 1202531"/>
                <a:gd name="connsiteX29" fmla="*/ 223837 w 1226344"/>
                <a:gd name="connsiteY29" fmla="*/ 940594 h 1202531"/>
                <a:gd name="connsiteX30" fmla="*/ 266700 w 1226344"/>
                <a:gd name="connsiteY30" fmla="*/ 900113 h 1202531"/>
                <a:gd name="connsiteX31" fmla="*/ 278606 w 1226344"/>
                <a:gd name="connsiteY31" fmla="*/ 897732 h 1202531"/>
                <a:gd name="connsiteX32" fmla="*/ 290512 w 1226344"/>
                <a:gd name="connsiteY32" fmla="*/ 938213 h 1202531"/>
                <a:gd name="connsiteX33" fmla="*/ 302419 w 1226344"/>
                <a:gd name="connsiteY33" fmla="*/ 938213 h 1202531"/>
                <a:gd name="connsiteX34" fmla="*/ 321469 w 1226344"/>
                <a:gd name="connsiteY34" fmla="*/ 962025 h 1202531"/>
                <a:gd name="connsiteX35" fmla="*/ 338137 w 1226344"/>
                <a:gd name="connsiteY35" fmla="*/ 957263 h 1202531"/>
                <a:gd name="connsiteX36" fmla="*/ 359569 w 1226344"/>
                <a:gd name="connsiteY36" fmla="*/ 942975 h 1202531"/>
                <a:gd name="connsiteX37" fmla="*/ 483394 w 1226344"/>
                <a:gd name="connsiteY37" fmla="*/ 954882 h 1202531"/>
                <a:gd name="connsiteX38" fmla="*/ 516731 w 1226344"/>
                <a:gd name="connsiteY38" fmla="*/ 947738 h 1202531"/>
                <a:gd name="connsiteX39" fmla="*/ 545306 w 1226344"/>
                <a:gd name="connsiteY39" fmla="*/ 964407 h 1202531"/>
                <a:gd name="connsiteX40" fmla="*/ 561975 w 1226344"/>
                <a:gd name="connsiteY40" fmla="*/ 978694 h 1202531"/>
                <a:gd name="connsiteX41" fmla="*/ 604837 w 1226344"/>
                <a:gd name="connsiteY41" fmla="*/ 981075 h 1202531"/>
                <a:gd name="connsiteX42" fmla="*/ 640556 w 1226344"/>
                <a:gd name="connsiteY42" fmla="*/ 1021557 h 1202531"/>
                <a:gd name="connsiteX43" fmla="*/ 659606 w 1226344"/>
                <a:gd name="connsiteY43" fmla="*/ 1019175 h 1202531"/>
                <a:gd name="connsiteX44" fmla="*/ 702469 w 1226344"/>
                <a:gd name="connsiteY44" fmla="*/ 976313 h 1202531"/>
                <a:gd name="connsiteX45" fmla="*/ 735806 w 1226344"/>
                <a:gd name="connsiteY45" fmla="*/ 1000125 h 1202531"/>
                <a:gd name="connsiteX46" fmla="*/ 752475 w 1226344"/>
                <a:gd name="connsiteY46" fmla="*/ 1023938 h 1202531"/>
                <a:gd name="connsiteX47" fmla="*/ 785812 w 1226344"/>
                <a:gd name="connsiteY47" fmla="*/ 1021557 h 1202531"/>
                <a:gd name="connsiteX48" fmla="*/ 819150 w 1226344"/>
                <a:gd name="connsiteY48" fmla="*/ 1042988 h 1202531"/>
                <a:gd name="connsiteX49" fmla="*/ 823912 w 1226344"/>
                <a:gd name="connsiteY49" fmla="*/ 1064419 h 1202531"/>
                <a:gd name="connsiteX50" fmla="*/ 842962 w 1226344"/>
                <a:gd name="connsiteY50" fmla="*/ 1066800 h 1202531"/>
                <a:gd name="connsiteX51" fmla="*/ 904875 w 1226344"/>
                <a:gd name="connsiteY51" fmla="*/ 1073944 h 1202531"/>
                <a:gd name="connsiteX52" fmla="*/ 933450 w 1226344"/>
                <a:gd name="connsiteY52" fmla="*/ 1112044 h 1202531"/>
                <a:gd name="connsiteX53" fmla="*/ 938212 w 1226344"/>
                <a:gd name="connsiteY53" fmla="*/ 1140619 h 1202531"/>
                <a:gd name="connsiteX54" fmla="*/ 940594 w 1226344"/>
                <a:gd name="connsiteY54" fmla="*/ 1152525 h 1202531"/>
                <a:gd name="connsiteX55" fmla="*/ 954882 w 1226344"/>
                <a:gd name="connsiteY55" fmla="*/ 1200150 h 1202531"/>
                <a:gd name="connsiteX56" fmla="*/ 990599 w 1226344"/>
                <a:gd name="connsiteY56" fmla="*/ 1202531 h 1202531"/>
                <a:gd name="connsiteX57" fmla="*/ 1042987 w 1226344"/>
                <a:gd name="connsiteY57" fmla="*/ 1150144 h 1202531"/>
                <a:gd name="connsiteX58" fmla="*/ 1071562 w 1226344"/>
                <a:gd name="connsiteY58" fmla="*/ 1069182 h 1202531"/>
                <a:gd name="connsiteX59" fmla="*/ 1062037 w 1226344"/>
                <a:gd name="connsiteY59" fmla="*/ 1045369 h 1202531"/>
                <a:gd name="connsiteX60" fmla="*/ 1059656 w 1226344"/>
                <a:gd name="connsiteY60" fmla="*/ 1012032 h 1202531"/>
                <a:gd name="connsiteX61" fmla="*/ 1066800 w 1226344"/>
                <a:gd name="connsiteY61" fmla="*/ 992982 h 1202531"/>
                <a:gd name="connsiteX62" fmla="*/ 1083469 w 1226344"/>
                <a:gd name="connsiteY62" fmla="*/ 973932 h 1202531"/>
                <a:gd name="connsiteX63" fmla="*/ 1107281 w 1226344"/>
                <a:gd name="connsiteY63" fmla="*/ 964407 h 1202531"/>
                <a:gd name="connsiteX64" fmla="*/ 1133475 w 1226344"/>
                <a:gd name="connsiteY64" fmla="*/ 921544 h 1202531"/>
                <a:gd name="connsiteX65" fmla="*/ 1150144 w 1226344"/>
                <a:gd name="connsiteY65" fmla="*/ 921544 h 1202531"/>
                <a:gd name="connsiteX66" fmla="*/ 1197769 w 1226344"/>
                <a:gd name="connsiteY66" fmla="*/ 940594 h 1202531"/>
                <a:gd name="connsiteX67" fmla="*/ 1226344 w 1226344"/>
                <a:gd name="connsiteY67" fmla="*/ 904875 h 1202531"/>
                <a:gd name="connsiteX68" fmla="*/ 1195387 w 1226344"/>
                <a:gd name="connsiteY68" fmla="*/ 852488 h 1202531"/>
                <a:gd name="connsiteX69" fmla="*/ 1159669 w 1226344"/>
                <a:gd name="connsiteY69" fmla="*/ 804863 h 1202531"/>
                <a:gd name="connsiteX70" fmla="*/ 1162050 w 1226344"/>
                <a:gd name="connsiteY70" fmla="*/ 762000 h 1202531"/>
                <a:gd name="connsiteX71" fmla="*/ 1216819 w 1226344"/>
                <a:gd name="connsiteY71" fmla="*/ 702469 h 1202531"/>
                <a:gd name="connsiteX72" fmla="*/ 1219200 w 1226344"/>
                <a:gd name="connsiteY72" fmla="*/ 676275 h 1202531"/>
                <a:gd name="connsiteX73" fmla="*/ 1181100 w 1226344"/>
                <a:gd name="connsiteY73" fmla="*/ 661988 h 1202531"/>
                <a:gd name="connsiteX74" fmla="*/ 1150144 w 1226344"/>
                <a:gd name="connsiteY74" fmla="*/ 635794 h 1202531"/>
                <a:gd name="connsiteX75" fmla="*/ 1133475 w 1226344"/>
                <a:gd name="connsiteY75" fmla="*/ 602457 h 1202531"/>
                <a:gd name="connsiteX76" fmla="*/ 1083469 w 1226344"/>
                <a:gd name="connsiteY76" fmla="*/ 604838 h 1202531"/>
                <a:gd name="connsiteX77" fmla="*/ 1033462 w 1226344"/>
                <a:gd name="connsiteY77" fmla="*/ 604838 h 1202531"/>
                <a:gd name="connsiteX78" fmla="*/ 1014412 w 1226344"/>
                <a:gd name="connsiteY78" fmla="*/ 583407 h 1202531"/>
                <a:gd name="connsiteX79" fmla="*/ 950119 w 1226344"/>
                <a:gd name="connsiteY79" fmla="*/ 578644 h 1202531"/>
                <a:gd name="connsiteX80" fmla="*/ 933450 w 1226344"/>
                <a:gd name="connsiteY80" fmla="*/ 561975 h 1202531"/>
                <a:gd name="connsiteX81" fmla="*/ 933450 w 1226344"/>
                <a:gd name="connsiteY81" fmla="*/ 547688 h 1202531"/>
                <a:gd name="connsiteX82" fmla="*/ 859631 w 1226344"/>
                <a:gd name="connsiteY82" fmla="*/ 511969 h 1202531"/>
                <a:gd name="connsiteX83" fmla="*/ 850106 w 1226344"/>
                <a:gd name="connsiteY83" fmla="*/ 492919 h 1202531"/>
                <a:gd name="connsiteX84" fmla="*/ 828675 w 1226344"/>
                <a:gd name="connsiteY84" fmla="*/ 476250 h 1202531"/>
                <a:gd name="connsiteX85" fmla="*/ 795337 w 1226344"/>
                <a:gd name="connsiteY85" fmla="*/ 478632 h 1202531"/>
                <a:gd name="connsiteX86" fmla="*/ 773906 w 1226344"/>
                <a:gd name="connsiteY86" fmla="*/ 471488 h 1202531"/>
                <a:gd name="connsiteX87" fmla="*/ 728662 w 1226344"/>
                <a:gd name="connsiteY87" fmla="*/ 428625 h 1202531"/>
                <a:gd name="connsiteX88" fmla="*/ 700087 w 1226344"/>
                <a:gd name="connsiteY88" fmla="*/ 421482 h 1202531"/>
                <a:gd name="connsiteX89" fmla="*/ 666750 w 1226344"/>
                <a:gd name="connsiteY89" fmla="*/ 383382 h 1202531"/>
                <a:gd name="connsiteX90" fmla="*/ 626269 w 1226344"/>
                <a:gd name="connsiteY90" fmla="*/ 369094 h 1202531"/>
                <a:gd name="connsiteX91" fmla="*/ 585787 w 1226344"/>
                <a:gd name="connsiteY91" fmla="*/ 335757 h 1202531"/>
                <a:gd name="connsiteX92" fmla="*/ 564356 w 1226344"/>
                <a:gd name="connsiteY92" fmla="*/ 311944 h 1202531"/>
                <a:gd name="connsiteX93" fmla="*/ 550069 w 1226344"/>
                <a:gd name="connsiteY93" fmla="*/ 330994 h 1202531"/>
                <a:gd name="connsiteX94" fmla="*/ 478631 w 1226344"/>
                <a:gd name="connsiteY94" fmla="*/ 328613 h 1202531"/>
                <a:gd name="connsiteX95" fmla="*/ 330994 w 1226344"/>
                <a:gd name="connsiteY95" fmla="*/ 230982 h 1202531"/>
                <a:gd name="connsiteX96" fmla="*/ 259556 w 1226344"/>
                <a:gd name="connsiteY96" fmla="*/ 254794 h 1202531"/>
                <a:gd name="connsiteX97" fmla="*/ 221456 w 1226344"/>
                <a:gd name="connsiteY97" fmla="*/ 245269 h 1202531"/>
                <a:gd name="connsiteX98" fmla="*/ 238125 w 1226344"/>
                <a:gd name="connsiteY98" fmla="*/ 150019 h 1202531"/>
                <a:gd name="connsiteX99" fmla="*/ 228600 w 1226344"/>
                <a:gd name="connsiteY99" fmla="*/ 95250 h 1202531"/>
                <a:gd name="connsiteX100" fmla="*/ 197644 w 1226344"/>
                <a:gd name="connsiteY100" fmla="*/ 78582 h 1202531"/>
                <a:gd name="connsiteX101" fmla="*/ 145256 w 1226344"/>
                <a:gd name="connsiteY101" fmla="*/ 0 h 1202531"/>
                <a:gd name="connsiteX102" fmla="*/ 88106 w 1226344"/>
                <a:gd name="connsiteY102" fmla="*/ 30957 h 1202531"/>
                <a:gd name="connsiteX103" fmla="*/ 83344 w 1226344"/>
                <a:gd name="connsiteY103" fmla="*/ 54769 h 1202531"/>
                <a:gd name="connsiteX104" fmla="*/ 90487 w 1226344"/>
                <a:gd name="connsiteY104" fmla="*/ 100013 h 1202531"/>
                <a:gd name="connsiteX105" fmla="*/ 71437 w 1226344"/>
                <a:gd name="connsiteY105" fmla="*/ 135732 h 1202531"/>
                <a:gd name="connsiteX106" fmla="*/ 66675 w 1226344"/>
                <a:gd name="connsiteY106" fmla="*/ 145257 h 1202531"/>
                <a:gd name="connsiteX107" fmla="*/ 97631 w 1226344"/>
                <a:gd name="connsiteY107" fmla="*/ 185738 h 1202531"/>
                <a:gd name="connsiteX108" fmla="*/ 83344 w 1226344"/>
                <a:gd name="connsiteY108" fmla="*/ 223838 h 1202531"/>
                <a:gd name="connsiteX109" fmla="*/ 59531 w 1226344"/>
                <a:gd name="connsiteY109" fmla="*/ 240507 h 1202531"/>
                <a:gd name="connsiteX110" fmla="*/ 69056 w 1226344"/>
                <a:gd name="connsiteY110" fmla="*/ 309563 h 1202531"/>
                <a:gd name="connsiteX111" fmla="*/ 92869 w 1226344"/>
                <a:gd name="connsiteY111" fmla="*/ 321469 h 1202531"/>
                <a:gd name="connsiteX112" fmla="*/ 85725 w 1226344"/>
                <a:gd name="connsiteY112" fmla="*/ 369094 h 1202531"/>
                <a:gd name="connsiteX113" fmla="*/ 42862 w 1226344"/>
                <a:gd name="connsiteY113" fmla="*/ 421482 h 1202531"/>
                <a:gd name="connsiteX114" fmla="*/ 0 w 1226344"/>
                <a:gd name="connsiteY114" fmla="*/ 452438 h 1202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1226344" h="1202531">
                  <a:moveTo>
                    <a:pt x="0" y="452438"/>
                  </a:moveTo>
                  <a:lnTo>
                    <a:pt x="28575" y="526257"/>
                  </a:lnTo>
                  <a:lnTo>
                    <a:pt x="73819" y="564357"/>
                  </a:lnTo>
                  <a:lnTo>
                    <a:pt x="109537" y="657225"/>
                  </a:lnTo>
                  <a:lnTo>
                    <a:pt x="128587" y="685800"/>
                  </a:lnTo>
                  <a:lnTo>
                    <a:pt x="142875" y="666750"/>
                  </a:lnTo>
                  <a:lnTo>
                    <a:pt x="142875" y="633413"/>
                  </a:lnTo>
                  <a:lnTo>
                    <a:pt x="180975" y="666750"/>
                  </a:lnTo>
                  <a:lnTo>
                    <a:pt x="240506" y="673894"/>
                  </a:lnTo>
                  <a:lnTo>
                    <a:pt x="271462" y="702469"/>
                  </a:lnTo>
                  <a:lnTo>
                    <a:pt x="326231" y="721519"/>
                  </a:lnTo>
                  <a:lnTo>
                    <a:pt x="338137" y="762000"/>
                  </a:lnTo>
                  <a:lnTo>
                    <a:pt x="321469" y="781050"/>
                  </a:lnTo>
                  <a:lnTo>
                    <a:pt x="311944" y="807244"/>
                  </a:lnTo>
                  <a:lnTo>
                    <a:pt x="266700" y="826294"/>
                  </a:lnTo>
                  <a:lnTo>
                    <a:pt x="219075" y="900113"/>
                  </a:lnTo>
                  <a:lnTo>
                    <a:pt x="204787" y="909638"/>
                  </a:lnTo>
                  <a:lnTo>
                    <a:pt x="192881" y="973932"/>
                  </a:lnTo>
                  <a:lnTo>
                    <a:pt x="152400" y="1042988"/>
                  </a:lnTo>
                  <a:lnTo>
                    <a:pt x="157162" y="1071563"/>
                  </a:lnTo>
                  <a:lnTo>
                    <a:pt x="204787" y="1083469"/>
                  </a:lnTo>
                  <a:lnTo>
                    <a:pt x="233362" y="1133475"/>
                  </a:lnTo>
                  <a:lnTo>
                    <a:pt x="247650" y="1133475"/>
                  </a:lnTo>
                  <a:lnTo>
                    <a:pt x="266700" y="1102519"/>
                  </a:lnTo>
                  <a:lnTo>
                    <a:pt x="257175" y="1081088"/>
                  </a:lnTo>
                  <a:lnTo>
                    <a:pt x="230981" y="1076325"/>
                  </a:lnTo>
                  <a:lnTo>
                    <a:pt x="230981" y="1052513"/>
                  </a:lnTo>
                  <a:lnTo>
                    <a:pt x="228600" y="1009650"/>
                  </a:lnTo>
                  <a:lnTo>
                    <a:pt x="216694" y="976313"/>
                  </a:lnTo>
                  <a:lnTo>
                    <a:pt x="223837" y="940594"/>
                  </a:lnTo>
                  <a:lnTo>
                    <a:pt x="266700" y="900113"/>
                  </a:lnTo>
                  <a:lnTo>
                    <a:pt x="278606" y="897732"/>
                  </a:lnTo>
                  <a:lnTo>
                    <a:pt x="290512" y="938213"/>
                  </a:lnTo>
                  <a:lnTo>
                    <a:pt x="302419" y="938213"/>
                  </a:lnTo>
                  <a:lnTo>
                    <a:pt x="321469" y="962025"/>
                  </a:lnTo>
                  <a:lnTo>
                    <a:pt x="338137" y="957263"/>
                  </a:lnTo>
                  <a:lnTo>
                    <a:pt x="359569" y="942975"/>
                  </a:lnTo>
                  <a:lnTo>
                    <a:pt x="483394" y="954882"/>
                  </a:lnTo>
                  <a:lnTo>
                    <a:pt x="516731" y="947738"/>
                  </a:lnTo>
                  <a:lnTo>
                    <a:pt x="545306" y="964407"/>
                  </a:lnTo>
                  <a:lnTo>
                    <a:pt x="561975" y="978694"/>
                  </a:lnTo>
                  <a:lnTo>
                    <a:pt x="604837" y="981075"/>
                  </a:lnTo>
                  <a:lnTo>
                    <a:pt x="640556" y="1021557"/>
                  </a:lnTo>
                  <a:lnTo>
                    <a:pt x="659606" y="1019175"/>
                  </a:lnTo>
                  <a:lnTo>
                    <a:pt x="702469" y="976313"/>
                  </a:lnTo>
                  <a:lnTo>
                    <a:pt x="735806" y="1000125"/>
                  </a:lnTo>
                  <a:lnTo>
                    <a:pt x="752475" y="1023938"/>
                  </a:lnTo>
                  <a:lnTo>
                    <a:pt x="785812" y="1021557"/>
                  </a:lnTo>
                  <a:lnTo>
                    <a:pt x="819150" y="1042988"/>
                  </a:lnTo>
                  <a:lnTo>
                    <a:pt x="823912" y="1064419"/>
                  </a:lnTo>
                  <a:lnTo>
                    <a:pt x="842962" y="1066800"/>
                  </a:lnTo>
                  <a:lnTo>
                    <a:pt x="904875" y="1073944"/>
                  </a:lnTo>
                  <a:lnTo>
                    <a:pt x="933450" y="1112044"/>
                  </a:lnTo>
                  <a:lnTo>
                    <a:pt x="938212" y="1140619"/>
                  </a:lnTo>
                  <a:lnTo>
                    <a:pt x="940594" y="1152525"/>
                  </a:lnTo>
                  <a:lnTo>
                    <a:pt x="954882" y="1200150"/>
                  </a:lnTo>
                  <a:lnTo>
                    <a:pt x="990599" y="1202531"/>
                  </a:lnTo>
                  <a:lnTo>
                    <a:pt x="1042987" y="1150144"/>
                  </a:lnTo>
                  <a:lnTo>
                    <a:pt x="1071562" y="1069182"/>
                  </a:lnTo>
                  <a:lnTo>
                    <a:pt x="1062037" y="1045369"/>
                  </a:lnTo>
                  <a:lnTo>
                    <a:pt x="1059656" y="1012032"/>
                  </a:lnTo>
                  <a:lnTo>
                    <a:pt x="1066800" y="992982"/>
                  </a:lnTo>
                  <a:lnTo>
                    <a:pt x="1083469" y="973932"/>
                  </a:lnTo>
                  <a:lnTo>
                    <a:pt x="1107281" y="964407"/>
                  </a:lnTo>
                  <a:lnTo>
                    <a:pt x="1133475" y="921544"/>
                  </a:lnTo>
                  <a:lnTo>
                    <a:pt x="1150144" y="921544"/>
                  </a:lnTo>
                  <a:lnTo>
                    <a:pt x="1197769" y="940594"/>
                  </a:lnTo>
                  <a:lnTo>
                    <a:pt x="1226344" y="904875"/>
                  </a:lnTo>
                  <a:lnTo>
                    <a:pt x="1195387" y="852488"/>
                  </a:lnTo>
                  <a:lnTo>
                    <a:pt x="1159669" y="804863"/>
                  </a:lnTo>
                  <a:lnTo>
                    <a:pt x="1162050" y="762000"/>
                  </a:lnTo>
                  <a:lnTo>
                    <a:pt x="1216819" y="702469"/>
                  </a:lnTo>
                  <a:lnTo>
                    <a:pt x="1219200" y="676275"/>
                  </a:lnTo>
                  <a:lnTo>
                    <a:pt x="1181100" y="661988"/>
                  </a:lnTo>
                  <a:lnTo>
                    <a:pt x="1150144" y="635794"/>
                  </a:lnTo>
                  <a:lnTo>
                    <a:pt x="1133475" y="602457"/>
                  </a:lnTo>
                  <a:lnTo>
                    <a:pt x="1083469" y="604838"/>
                  </a:lnTo>
                  <a:lnTo>
                    <a:pt x="1033462" y="604838"/>
                  </a:lnTo>
                  <a:lnTo>
                    <a:pt x="1014412" y="583407"/>
                  </a:lnTo>
                  <a:lnTo>
                    <a:pt x="950119" y="578644"/>
                  </a:lnTo>
                  <a:lnTo>
                    <a:pt x="933450" y="561975"/>
                  </a:lnTo>
                  <a:lnTo>
                    <a:pt x="933450" y="547688"/>
                  </a:lnTo>
                  <a:lnTo>
                    <a:pt x="859631" y="511969"/>
                  </a:lnTo>
                  <a:lnTo>
                    <a:pt x="850106" y="492919"/>
                  </a:lnTo>
                  <a:lnTo>
                    <a:pt x="828675" y="476250"/>
                  </a:lnTo>
                  <a:lnTo>
                    <a:pt x="795337" y="478632"/>
                  </a:lnTo>
                  <a:lnTo>
                    <a:pt x="773906" y="471488"/>
                  </a:lnTo>
                  <a:lnTo>
                    <a:pt x="728662" y="428625"/>
                  </a:lnTo>
                  <a:lnTo>
                    <a:pt x="700087" y="421482"/>
                  </a:lnTo>
                  <a:lnTo>
                    <a:pt x="666750" y="383382"/>
                  </a:lnTo>
                  <a:lnTo>
                    <a:pt x="626269" y="369094"/>
                  </a:lnTo>
                  <a:lnTo>
                    <a:pt x="585787" y="335757"/>
                  </a:lnTo>
                  <a:lnTo>
                    <a:pt x="564356" y="311944"/>
                  </a:lnTo>
                  <a:lnTo>
                    <a:pt x="550069" y="330994"/>
                  </a:lnTo>
                  <a:lnTo>
                    <a:pt x="478631" y="328613"/>
                  </a:lnTo>
                  <a:lnTo>
                    <a:pt x="330994" y="230982"/>
                  </a:lnTo>
                  <a:lnTo>
                    <a:pt x="259556" y="254794"/>
                  </a:lnTo>
                  <a:lnTo>
                    <a:pt x="221456" y="245269"/>
                  </a:lnTo>
                  <a:lnTo>
                    <a:pt x="238125" y="150019"/>
                  </a:lnTo>
                  <a:lnTo>
                    <a:pt x="228600" y="95250"/>
                  </a:lnTo>
                  <a:lnTo>
                    <a:pt x="197644" y="78582"/>
                  </a:lnTo>
                  <a:lnTo>
                    <a:pt x="145256" y="0"/>
                  </a:lnTo>
                  <a:lnTo>
                    <a:pt x="88106" y="30957"/>
                  </a:lnTo>
                  <a:lnTo>
                    <a:pt x="83344" y="54769"/>
                  </a:lnTo>
                  <a:lnTo>
                    <a:pt x="90487" y="100013"/>
                  </a:lnTo>
                  <a:lnTo>
                    <a:pt x="71437" y="135732"/>
                  </a:lnTo>
                  <a:lnTo>
                    <a:pt x="66675" y="145257"/>
                  </a:lnTo>
                  <a:lnTo>
                    <a:pt x="97631" y="185738"/>
                  </a:lnTo>
                  <a:lnTo>
                    <a:pt x="83344" y="223838"/>
                  </a:lnTo>
                  <a:lnTo>
                    <a:pt x="59531" y="240507"/>
                  </a:lnTo>
                  <a:lnTo>
                    <a:pt x="69056" y="309563"/>
                  </a:lnTo>
                  <a:lnTo>
                    <a:pt x="92869" y="321469"/>
                  </a:lnTo>
                  <a:lnTo>
                    <a:pt x="85725" y="369094"/>
                  </a:lnTo>
                  <a:lnTo>
                    <a:pt x="42862" y="421482"/>
                  </a:lnTo>
                  <a:lnTo>
                    <a:pt x="0" y="452438"/>
                  </a:lnTo>
                  <a:close/>
                </a:path>
              </a:pathLst>
            </a:custGeom>
            <a:solidFill>
              <a:schemeClr val="bg1"/>
            </a:solidFill>
            <a:ln w="317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a:lstStyle/>
            <a:p>
              <a:pPr>
                <a:defRPr/>
              </a:pPr>
              <a:endParaRPr lang="en-GB"/>
            </a:p>
          </p:txBody>
        </p:sp>
        <p:sp>
          <p:nvSpPr>
            <p:cNvPr id="40" name="Freeform 39"/>
            <p:cNvSpPr/>
            <p:nvPr/>
          </p:nvSpPr>
          <p:spPr>
            <a:xfrm>
              <a:off x="3116660" y="1989684"/>
              <a:ext cx="1377950" cy="1289050"/>
            </a:xfrm>
            <a:custGeom>
              <a:avLst/>
              <a:gdLst>
                <a:gd name="connsiteX0" fmla="*/ 783432 w 1378744"/>
                <a:gd name="connsiteY0" fmla="*/ 0 h 1138237"/>
                <a:gd name="connsiteX1" fmla="*/ 738188 w 1378744"/>
                <a:gd name="connsiteY1" fmla="*/ 26193 h 1138237"/>
                <a:gd name="connsiteX2" fmla="*/ 685800 w 1378744"/>
                <a:gd name="connsiteY2" fmla="*/ 28575 h 1138237"/>
                <a:gd name="connsiteX3" fmla="*/ 635794 w 1378744"/>
                <a:gd name="connsiteY3" fmla="*/ 73818 h 1138237"/>
                <a:gd name="connsiteX4" fmla="*/ 633413 w 1378744"/>
                <a:gd name="connsiteY4" fmla="*/ 114300 h 1138237"/>
                <a:gd name="connsiteX5" fmla="*/ 561975 w 1378744"/>
                <a:gd name="connsiteY5" fmla="*/ 190500 h 1138237"/>
                <a:gd name="connsiteX6" fmla="*/ 519113 w 1378744"/>
                <a:gd name="connsiteY6" fmla="*/ 214312 h 1138237"/>
                <a:gd name="connsiteX7" fmla="*/ 485775 w 1378744"/>
                <a:gd name="connsiteY7" fmla="*/ 252412 h 1138237"/>
                <a:gd name="connsiteX8" fmla="*/ 461963 w 1378744"/>
                <a:gd name="connsiteY8" fmla="*/ 273843 h 1138237"/>
                <a:gd name="connsiteX9" fmla="*/ 423863 w 1378744"/>
                <a:gd name="connsiteY9" fmla="*/ 333375 h 1138237"/>
                <a:gd name="connsiteX10" fmla="*/ 378619 w 1378744"/>
                <a:gd name="connsiteY10" fmla="*/ 357187 h 1138237"/>
                <a:gd name="connsiteX11" fmla="*/ 292894 w 1378744"/>
                <a:gd name="connsiteY11" fmla="*/ 376237 h 1138237"/>
                <a:gd name="connsiteX12" fmla="*/ 264319 w 1378744"/>
                <a:gd name="connsiteY12" fmla="*/ 373856 h 1138237"/>
                <a:gd name="connsiteX13" fmla="*/ 240507 w 1378744"/>
                <a:gd name="connsiteY13" fmla="*/ 359568 h 1138237"/>
                <a:gd name="connsiteX14" fmla="*/ 226219 w 1378744"/>
                <a:gd name="connsiteY14" fmla="*/ 338137 h 1138237"/>
                <a:gd name="connsiteX15" fmla="*/ 219075 w 1378744"/>
                <a:gd name="connsiteY15" fmla="*/ 311943 h 1138237"/>
                <a:gd name="connsiteX16" fmla="*/ 204788 w 1378744"/>
                <a:gd name="connsiteY16" fmla="*/ 309562 h 1138237"/>
                <a:gd name="connsiteX17" fmla="*/ 188119 w 1378744"/>
                <a:gd name="connsiteY17" fmla="*/ 304800 h 1138237"/>
                <a:gd name="connsiteX18" fmla="*/ 173832 w 1378744"/>
                <a:gd name="connsiteY18" fmla="*/ 302418 h 1138237"/>
                <a:gd name="connsiteX19" fmla="*/ 128588 w 1378744"/>
                <a:gd name="connsiteY19" fmla="*/ 352425 h 1138237"/>
                <a:gd name="connsiteX20" fmla="*/ 97632 w 1378744"/>
                <a:gd name="connsiteY20" fmla="*/ 371475 h 1138237"/>
                <a:gd name="connsiteX21" fmla="*/ 80963 w 1378744"/>
                <a:gd name="connsiteY21" fmla="*/ 390525 h 1138237"/>
                <a:gd name="connsiteX22" fmla="*/ 66675 w 1378744"/>
                <a:gd name="connsiteY22" fmla="*/ 435768 h 1138237"/>
                <a:gd name="connsiteX23" fmla="*/ 54769 w 1378744"/>
                <a:gd name="connsiteY23" fmla="*/ 447675 h 1138237"/>
                <a:gd name="connsiteX24" fmla="*/ 9525 w 1378744"/>
                <a:gd name="connsiteY24" fmla="*/ 466725 h 1138237"/>
                <a:gd name="connsiteX25" fmla="*/ 2382 w 1378744"/>
                <a:gd name="connsiteY25" fmla="*/ 481012 h 1138237"/>
                <a:gd name="connsiteX26" fmla="*/ 4763 w 1378744"/>
                <a:gd name="connsiteY26" fmla="*/ 533400 h 1138237"/>
                <a:gd name="connsiteX27" fmla="*/ 0 w 1378744"/>
                <a:gd name="connsiteY27" fmla="*/ 545306 h 1138237"/>
                <a:gd name="connsiteX28" fmla="*/ 73819 w 1378744"/>
                <a:gd name="connsiteY28" fmla="*/ 588168 h 1138237"/>
                <a:gd name="connsiteX29" fmla="*/ 90488 w 1378744"/>
                <a:gd name="connsiteY29" fmla="*/ 628650 h 1138237"/>
                <a:gd name="connsiteX30" fmla="*/ 83344 w 1378744"/>
                <a:gd name="connsiteY30" fmla="*/ 654843 h 1138237"/>
                <a:gd name="connsiteX31" fmla="*/ 73819 w 1378744"/>
                <a:gd name="connsiteY31" fmla="*/ 697706 h 1138237"/>
                <a:gd name="connsiteX32" fmla="*/ 78582 w 1378744"/>
                <a:gd name="connsiteY32" fmla="*/ 726281 h 1138237"/>
                <a:gd name="connsiteX33" fmla="*/ 95250 w 1378744"/>
                <a:gd name="connsiteY33" fmla="*/ 738187 h 1138237"/>
                <a:gd name="connsiteX34" fmla="*/ 116682 w 1378744"/>
                <a:gd name="connsiteY34" fmla="*/ 735806 h 1138237"/>
                <a:gd name="connsiteX35" fmla="*/ 123825 w 1378744"/>
                <a:gd name="connsiteY35" fmla="*/ 762000 h 1138237"/>
                <a:gd name="connsiteX36" fmla="*/ 126207 w 1378744"/>
                <a:gd name="connsiteY36" fmla="*/ 783431 h 1138237"/>
                <a:gd name="connsiteX37" fmla="*/ 152400 w 1378744"/>
                <a:gd name="connsiteY37" fmla="*/ 812006 h 1138237"/>
                <a:gd name="connsiteX38" fmla="*/ 164307 w 1378744"/>
                <a:gd name="connsiteY38" fmla="*/ 823912 h 1138237"/>
                <a:gd name="connsiteX39" fmla="*/ 173832 w 1378744"/>
                <a:gd name="connsiteY39" fmla="*/ 850106 h 1138237"/>
                <a:gd name="connsiteX40" fmla="*/ 169069 w 1378744"/>
                <a:gd name="connsiteY40" fmla="*/ 878681 h 1138237"/>
                <a:gd name="connsiteX41" fmla="*/ 176213 w 1378744"/>
                <a:gd name="connsiteY41" fmla="*/ 897731 h 1138237"/>
                <a:gd name="connsiteX42" fmla="*/ 200025 w 1378744"/>
                <a:gd name="connsiteY42" fmla="*/ 916781 h 1138237"/>
                <a:gd name="connsiteX43" fmla="*/ 226219 w 1378744"/>
                <a:gd name="connsiteY43" fmla="*/ 916781 h 1138237"/>
                <a:gd name="connsiteX44" fmla="*/ 300038 w 1378744"/>
                <a:gd name="connsiteY44" fmla="*/ 921543 h 1138237"/>
                <a:gd name="connsiteX45" fmla="*/ 395288 w 1378744"/>
                <a:gd name="connsiteY45" fmla="*/ 952500 h 1138237"/>
                <a:gd name="connsiteX46" fmla="*/ 414338 w 1378744"/>
                <a:gd name="connsiteY46" fmla="*/ 988218 h 1138237"/>
                <a:gd name="connsiteX47" fmla="*/ 435769 w 1378744"/>
                <a:gd name="connsiteY47" fmla="*/ 992981 h 1138237"/>
                <a:gd name="connsiteX48" fmla="*/ 464344 w 1378744"/>
                <a:gd name="connsiteY48" fmla="*/ 995362 h 1138237"/>
                <a:gd name="connsiteX49" fmla="*/ 507207 w 1378744"/>
                <a:gd name="connsiteY49" fmla="*/ 1026318 h 1138237"/>
                <a:gd name="connsiteX50" fmla="*/ 521494 w 1378744"/>
                <a:gd name="connsiteY50" fmla="*/ 1069181 h 1138237"/>
                <a:gd name="connsiteX51" fmla="*/ 545307 w 1378744"/>
                <a:gd name="connsiteY51" fmla="*/ 1107281 h 1138237"/>
                <a:gd name="connsiteX52" fmla="*/ 573882 w 1378744"/>
                <a:gd name="connsiteY52" fmla="*/ 1121568 h 1138237"/>
                <a:gd name="connsiteX53" fmla="*/ 585788 w 1378744"/>
                <a:gd name="connsiteY53" fmla="*/ 1131093 h 1138237"/>
                <a:gd name="connsiteX54" fmla="*/ 814388 w 1378744"/>
                <a:gd name="connsiteY54" fmla="*/ 1138237 h 1138237"/>
                <a:gd name="connsiteX55" fmla="*/ 828675 w 1378744"/>
                <a:gd name="connsiteY55" fmla="*/ 1109662 h 1138237"/>
                <a:gd name="connsiteX56" fmla="*/ 833438 w 1378744"/>
                <a:gd name="connsiteY56" fmla="*/ 1085850 h 1138237"/>
                <a:gd name="connsiteX57" fmla="*/ 797719 w 1378744"/>
                <a:gd name="connsiteY57" fmla="*/ 1059656 h 1138237"/>
                <a:gd name="connsiteX58" fmla="*/ 790575 w 1378744"/>
                <a:gd name="connsiteY58" fmla="*/ 1038225 h 1138237"/>
                <a:gd name="connsiteX59" fmla="*/ 790575 w 1378744"/>
                <a:gd name="connsiteY59" fmla="*/ 1021556 h 1138237"/>
                <a:gd name="connsiteX60" fmla="*/ 845344 w 1378744"/>
                <a:gd name="connsiteY60" fmla="*/ 952500 h 1138237"/>
                <a:gd name="connsiteX61" fmla="*/ 845344 w 1378744"/>
                <a:gd name="connsiteY61" fmla="*/ 952500 h 1138237"/>
                <a:gd name="connsiteX62" fmla="*/ 888207 w 1378744"/>
                <a:gd name="connsiteY62" fmla="*/ 966787 h 1138237"/>
                <a:gd name="connsiteX63" fmla="*/ 907257 w 1378744"/>
                <a:gd name="connsiteY63" fmla="*/ 981075 h 1138237"/>
                <a:gd name="connsiteX64" fmla="*/ 938213 w 1378744"/>
                <a:gd name="connsiteY64" fmla="*/ 990600 h 1138237"/>
                <a:gd name="connsiteX65" fmla="*/ 964407 w 1378744"/>
                <a:gd name="connsiteY65" fmla="*/ 985837 h 1138237"/>
                <a:gd name="connsiteX66" fmla="*/ 985838 w 1378744"/>
                <a:gd name="connsiteY66" fmla="*/ 985837 h 1138237"/>
                <a:gd name="connsiteX67" fmla="*/ 995363 w 1378744"/>
                <a:gd name="connsiteY67" fmla="*/ 995362 h 1138237"/>
                <a:gd name="connsiteX68" fmla="*/ 978694 w 1378744"/>
                <a:gd name="connsiteY68" fmla="*/ 1012031 h 1138237"/>
                <a:gd name="connsiteX69" fmla="*/ 969169 w 1378744"/>
                <a:gd name="connsiteY69" fmla="*/ 1031081 h 1138237"/>
                <a:gd name="connsiteX70" fmla="*/ 954882 w 1378744"/>
                <a:gd name="connsiteY70" fmla="*/ 1054893 h 1138237"/>
                <a:gd name="connsiteX71" fmla="*/ 950119 w 1378744"/>
                <a:gd name="connsiteY71" fmla="*/ 1083468 h 1138237"/>
                <a:gd name="connsiteX72" fmla="*/ 962025 w 1378744"/>
                <a:gd name="connsiteY72" fmla="*/ 1107281 h 1138237"/>
                <a:gd name="connsiteX73" fmla="*/ 983457 w 1378744"/>
                <a:gd name="connsiteY73" fmla="*/ 1131093 h 1138237"/>
                <a:gd name="connsiteX74" fmla="*/ 1002507 w 1378744"/>
                <a:gd name="connsiteY74" fmla="*/ 1133475 h 1138237"/>
                <a:gd name="connsiteX75" fmla="*/ 1028700 w 1378744"/>
                <a:gd name="connsiteY75" fmla="*/ 1126331 h 1138237"/>
                <a:gd name="connsiteX76" fmla="*/ 1031082 w 1378744"/>
                <a:gd name="connsiteY76" fmla="*/ 1097756 h 1138237"/>
                <a:gd name="connsiteX77" fmla="*/ 1057275 w 1378744"/>
                <a:gd name="connsiteY77" fmla="*/ 1085850 h 1138237"/>
                <a:gd name="connsiteX78" fmla="*/ 1076325 w 1378744"/>
                <a:gd name="connsiteY78" fmla="*/ 1097756 h 1138237"/>
                <a:gd name="connsiteX79" fmla="*/ 1100138 w 1378744"/>
                <a:gd name="connsiteY79" fmla="*/ 1107281 h 1138237"/>
                <a:gd name="connsiteX80" fmla="*/ 1123950 w 1378744"/>
                <a:gd name="connsiteY80" fmla="*/ 1121568 h 1138237"/>
                <a:gd name="connsiteX81" fmla="*/ 1143000 w 1378744"/>
                <a:gd name="connsiteY81" fmla="*/ 1123950 h 1138237"/>
                <a:gd name="connsiteX82" fmla="*/ 1157288 w 1378744"/>
                <a:gd name="connsiteY82" fmla="*/ 1112043 h 1138237"/>
                <a:gd name="connsiteX83" fmla="*/ 1159669 w 1378744"/>
                <a:gd name="connsiteY83" fmla="*/ 1085850 h 1138237"/>
                <a:gd name="connsiteX84" fmla="*/ 1166813 w 1378744"/>
                <a:gd name="connsiteY84" fmla="*/ 1052512 h 1138237"/>
                <a:gd name="connsiteX85" fmla="*/ 1197769 w 1378744"/>
                <a:gd name="connsiteY85" fmla="*/ 1016793 h 1138237"/>
                <a:gd name="connsiteX86" fmla="*/ 1195388 w 1378744"/>
                <a:gd name="connsiteY86" fmla="*/ 954881 h 1138237"/>
                <a:gd name="connsiteX87" fmla="*/ 1209675 w 1378744"/>
                <a:gd name="connsiteY87" fmla="*/ 945356 h 1138237"/>
                <a:gd name="connsiteX88" fmla="*/ 1235869 w 1378744"/>
                <a:gd name="connsiteY88" fmla="*/ 945356 h 1138237"/>
                <a:gd name="connsiteX89" fmla="*/ 1235869 w 1378744"/>
                <a:gd name="connsiteY89" fmla="*/ 931068 h 1138237"/>
                <a:gd name="connsiteX90" fmla="*/ 1212057 w 1378744"/>
                <a:gd name="connsiteY90" fmla="*/ 912018 h 1138237"/>
                <a:gd name="connsiteX91" fmla="*/ 1195388 w 1378744"/>
                <a:gd name="connsiteY91" fmla="*/ 881062 h 1138237"/>
                <a:gd name="connsiteX92" fmla="*/ 1157288 w 1378744"/>
                <a:gd name="connsiteY92" fmla="*/ 871537 h 1138237"/>
                <a:gd name="connsiteX93" fmla="*/ 1119188 w 1378744"/>
                <a:gd name="connsiteY93" fmla="*/ 859631 h 1138237"/>
                <a:gd name="connsiteX94" fmla="*/ 1119188 w 1378744"/>
                <a:gd name="connsiteY94" fmla="*/ 831056 h 1138237"/>
                <a:gd name="connsiteX95" fmla="*/ 1135857 w 1378744"/>
                <a:gd name="connsiteY95" fmla="*/ 807243 h 1138237"/>
                <a:gd name="connsiteX96" fmla="*/ 1197769 w 1378744"/>
                <a:gd name="connsiteY96" fmla="*/ 759618 h 1138237"/>
                <a:gd name="connsiteX97" fmla="*/ 1247775 w 1378744"/>
                <a:gd name="connsiteY97" fmla="*/ 762000 h 1138237"/>
                <a:gd name="connsiteX98" fmla="*/ 1278732 w 1378744"/>
                <a:gd name="connsiteY98" fmla="*/ 762000 h 1138237"/>
                <a:gd name="connsiteX99" fmla="*/ 1271588 w 1378744"/>
                <a:gd name="connsiteY99" fmla="*/ 735806 h 1138237"/>
                <a:gd name="connsiteX100" fmla="*/ 1378744 w 1378744"/>
                <a:gd name="connsiteY100" fmla="*/ 678656 h 1138237"/>
                <a:gd name="connsiteX101" fmla="*/ 1331119 w 1378744"/>
                <a:gd name="connsiteY101" fmla="*/ 552450 h 1138237"/>
                <a:gd name="connsiteX102" fmla="*/ 1278732 w 1378744"/>
                <a:gd name="connsiteY102" fmla="*/ 514350 h 1138237"/>
                <a:gd name="connsiteX103" fmla="*/ 1252538 w 1378744"/>
                <a:gd name="connsiteY103" fmla="*/ 431006 h 1138237"/>
                <a:gd name="connsiteX104" fmla="*/ 1181100 w 1378744"/>
                <a:gd name="connsiteY104" fmla="*/ 431006 h 1138237"/>
                <a:gd name="connsiteX105" fmla="*/ 1166813 w 1378744"/>
                <a:gd name="connsiteY105" fmla="*/ 395287 h 1138237"/>
                <a:gd name="connsiteX106" fmla="*/ 1107282 w 1378744"/>
                <a:gd name="connsiteY106" fmla="*/ 421481 h 1138237"/>
                <a:gd name="connsiteX107" fmla="*/ 1054894 w 1378744"/>
                <a:gd name="connsiteY107" fmla="*/ 414337 h 1138237"/>
                <a:gd name="connsiteX108" fmla="*/ 1028700 w 1378744"/>
                <a:gd name="connsiteY108" fmla="*/ 371475 h 1138237"/>
                <a:gd name="connsiteX109" fmla="*/ 1023938 w 1378744"/>
                <a:gd name="connsiteY109" fmla="*/ 288131 h 1138237"/>
                <a:gd name="connsiteX110" fmla="*/ 1012032 w 1378744"/>
                <a:gd name="connsiteY110" fmla="*/ 269081 h 1138237"/>
                <a:gd name="connsiteX111" fmla="*/ 1012032 w 1378744"/>
                <a:gd name="connsiteY111" fmla="*/ 211931 h 1138237"/>
                <a:gd name="connsiteX112" fmla="*/ 959644 w 1378744"/>
                <a:gd name="connsiteY112" fmla="*/ 190500 h 1138237"/>
                <a:gd name="connsiteX113" fmla="*/ 914400 w 1378744"/>
                <a:gd name="connsiteY113" fmla="*/ 111918 h 1138237"/>
                <a:gd name="connsiteX114" fmla="*/ 854869 w 1378744"/>
                <a:gd name="connsiteY114" fmla="*/ 76200 h 1138237"/>
                <a:gd name="connsiteX115" fmla="*/ 873919 w 1378744"/>
                <a:gd name="connsiteY115" fmla="*/ 16668 h 1138237"/>
                <a:gd name="connsiteX116" fmla="*/ 783432 w 1378744"/>
                <a:gd name="connsiteY116" fmla="*/ 0 h 1138237"/>
                <a:gd name="connsiteX0" fmla="*/ 783432 w 1378744"/>
                <a:gd name="connsiteY0" fmla="*/ 0 h 1138237"/>
                <a:gd name="connsiteX1" fmla="*/ 738188 w 1378744"/>
                <a:gd name="connsiteY1" fmla="*/ 26193 h 1138237"/>
                <a:gd name="connsiteX2" fmla="*/ 685800 w 1378744"/>
                <a:gd name="connsiteY2" fmla="*/ 28575 h 1138237"/>
                <a:gd name="connsiteX3" fmla="*/ 635794 w 1378744"/>
                <a:gd name="connsiteY3" fmla="*/ 73818 h 1138237"/>
                <a:gd name="connsiteX4" fmla="*/ 633413 w 1378744"/>
                <a:gd name="connsiteY4" fmla="*/ 114300 h 1138237"/>
                <a:gd name="connsiteX5" fmla="*/ 561975 w 1378744"/>
                <a:gd name="connsiteY5" fmla="*/ 190500 h 1138237"/>
                <a:gd name="connsiteX6" fmla="*/ 519113 w 1378744"/>
                <a:gd name="connsiteY6" fmla="*/ 214312 h 1138237"/>
                <a:gd name="connsiteX7" fmla="*/ 485775 w 1378744"/>
                <a:gd name="connsiteY7" fmla="*/ 252412 h 1138237"/>
                <a:gd name="connsiteX8" fmla="*/ 461963 w 1378744"/>
                <a:gd name="connsiteY8" fmla="*/ 273843 h 1138237"/>
                <a:gd name="connsiteX9" fmla="*/ 423863 w 1378744"/>
                <a:gd name="connsiteY9" fmla="*/ 333375 h 1138237"/>
                <a:gd name="connsiteX10" fmla="*/ 378619 w 1378744"/>
                <a:gd name="connsiteY10" fmla="*/ 357187 h 1138237"/>
                <a:gd name="connsiteX11" fmla="*/ 292894 w 1378744"/>
                <a:gd name="connsiteY11" fmla="*/ 376237 h 1138237"/>
                <a:gd name="connsiteX12" fmla="*/ 264319 w 1378744"/>
                <a:gd name="connsiteY12" fmla="*/ 373856 h 1138237"/>
                <a:gd name="connsiteX13" fmla="*/ 240507 w 1378744"/>
                <a:gd name="connsiteY13" fmla="*/ 359568 h 1138237"/>
                <a:gd name="connsiteX14" fmla="*/ 226219 w 1378744"/>
                <a:gd name="connsiteY14" fmla="*/ 338137 h 1138237"/>
                <a:gd name="connsiteX15" fmla="*/ 219075 w 1378744"/>
                <a:gd name="connsiteY15" fmla="*/ 311943 h 1138237"/>
                <a:gd name="connsiteX16" fmla="*/ 204788 w 1378744"/>
                <a:gd name="connsiteY16" fmla="*/ 309562 h 1138237"/>
                <a:gd name="connsiteX17" fmla="*/ 188119 w 1378744"/>
                <a:gd name="connsiteY17" fmla="*/ 304800 h 1138237"/>
                <a:gd name="connsiteX18" fmla="*/ 173832 w 1378744"/>
                <a:gd name="connsiteY18" fmla="*/ 302418 h 1138237"/>
                <a:gd name="connsiteX19" fmla="*/ 128588 w 1378744"/>
                <a:gd name="connsiteY19" fmla="*/ 352425 h 1138237"/>
                <a:gd name="connsiteX20" fmla="*/ 97632 w 1378744"/>
                <a:gd name="connsiteY20" fmla="*/ 371475 h 1138237"/>
                <a:gd name="connsiteX21" fmla="*/ 80963 w 1378744"/>
                <a:gd name="connsiteY21" fmla="*/ 390525 h 1138237"/>
                <a:gd name="connsiteX22" fmla="*/ 66675 w 1378744"/>
                <a:gd name="connsiteY22" fmla="*/ 435768 h 1138237"/>
                <a:gd name="connsiteX23" fmla="*/ 54769 w 1378744"/>
                <a:gd name="connsiteY23" fmla="*/ 447675 h 1138237"/>
                <a:gd name="connsiteX24" fmla="*/ 9525 w 1378744"/>
                <a:gd name="connsiteY24" fmla="*/ 466725 h 1138237"/>
                <a:gd name="connsiteX25" fmla="*/ 2382 w 1378744"/>
                <a:gd name="connsiteY25" fmla="*/ 481012 h 1138237"/>
                <a:gd name="connsiteX26" fmla="*/ 4763 w 1378744"/>
                <a:gd name="connsiteY26" fmla="*/ 533400 h 1138237"/>
                <a:gd name="connsiteX27" fmla="*/ 0 w 1378744"/>
                <a:gd name="connsiteY27" fmla="*/ 545306 h 1138237"/>
                <a:gd name="connsiteX28" fmla="*/ 73819 w 1378744"/>
                <a:gd name="connsiteY28" fmla="*/ 588168 h 1138237"/>
                <a:gd name="connsiteX29" fmla="*/ 90488 w 1378744"/>
                <a:gd name="connsiteY29" fmla="*/ 628650 h 1138237"/>
                <a:gd name="connsiteX30" fmla="*/ 83344 w 1378744"/>
                <a:gd name="connsiteY30" fmla="*/ 654843 h 1138237"/>
                <a:gd name="connsiteX31" fmla="*/ 73819 w 1378744"/>
                <a:gd name="connsiteY31" fmla="*/ 697706 h 1138237"/>
                <a:gd name="connsiteX32" fmla="*/ 78582 w 1378744"/>
                <a:gd name="connsiteY32" fmla="*/ 726281 h 1138237"/>
                <a:gd name="connsiteX33" fmla="*/ 95250 w 1378744"/>
                <a:gd name="connsiteY33" fmla="*/ 738187 h 1138237"/>
                <a:gd name="connsiteX34" fmla="*/ 116682 w 1378744"/>
                <a:gd name="connsiteY34" fmla="*/ 735806 h 1138237"/>
                <a:gd name="connsiteX35" fmla="*/ 123825 w 1378744"/>
                <a:gd name="connsiteY35" fmla="*/ 762000 h 1138237"/>
                <a:gd name="connsiteX36" fmla="*/ 126207 w 1378744"/>
                <a:gd name="connsiteY36" fmla="*/ 783431 h 1138237"/>
                <a:gd name="connsiteX37" fmla="*/ 152400 w 1378744"/>
                <a:gd name="connsiteY37" fmla="*/ 812006 h 1138237"/>
                <a:gd name="connsiteX38" fmla="*/ 164307 w 1378744"/>
                <a:gd name="connsiteY38" fmla="*/ 823912 h 1138237"/>
                <a:gd name="connsiteX39" fmla="*/ 173832 w 1378744"/>
                <a:gd name="connsiteY39" fmla="*/ 850106 h 1138237"/>
                <a:gd name="connsiteX40" fmla="*/ 169069 w 1378744"/>
                <a:gd name="connsiteY40" fmla="*/ 878681 h 1138237"/>
                <a:gd name="connsiteX41" fmla="*/ 176213 w 1378744"/>
                <a:gd name="connsiteY41" fmla="*/ 897731 h 1138237"/>
                <a:gd name="connsiteX42" fmla="*/ 200025 w 1378744"/>
                <a:gd name="connsiteY42" fmla="*/ 916781 h 1138237"/>
                <a:gd name="connsiteX43" fmla="*/ 226219 w 1378744"/>
                <a:gd name="connsiteY43" fmla="*/ 916781 h 1138237"/>
                <a:gd name="connsiteX44" fmla="*/ 300038 w 1378744"/>
                <a:gd name="connsiteY44" fmla="*/ 921543 h 1138237"/>
                <a:gd name="connsiteX45" fmla="*/ 395288 w 1378744"/>
                <a:gd name="connsiteY45" fmla="*/ 952500 h 1138237"/>
                <a:gd name="connsiteX46" fmla="*/ 414338 w 1378744"/>
                <a:gd name="connsiteY46" fmla="*/ 988218 h 1138237"/>
                <a:gd name="connsiteX47" fmla="*/ 435769 w 1378744"/>
                <a:gd name="connsiteY47" fmla="*/ 992981 h 1138237"/>
                <a:gd name="connsiteX48" fmla="*/ 464344 w 1378744"/>
                <a:gd name="connsiteY48" fmla="*/ 995362 h 1138237"/>
                <a:gd name="connsiteX49" fmla="*/ 507207 w 1378744"/>
                <a:gd name="connsiteY49" fmla="*/ 1026318 h 1138237"/>
                <a:gd name="connsiteX50" fmla="*/ 521494 w 1378744"/>
                <a:gd name="connsiteY50" fmla="*/ 1069181 h 1138237"/>
                <a:gd name="connsiteX51" fmla="*/ 545307 w 1378744"/>
                <a:gd name="connsiteY51" fmla="*/ 1107281 h 1138237"/>
                <a:gd name="connsiteX52" fmla="*/ 573882 w 1378744"/>
                <a:gd name="connsiteY52" fmla="*/ 1121568 h 1138237"/>
                <a:gd name="connsiteX53" fmla="*/ 585788 w 1378744"/>
                <a:gd name="connsiteY53" fmla="*/ 1131093 h 1138237"/>
                <a:gd name="connsiteX54" fmla="*/ 638175 w 1378744"/>
                <a:gd name="connsiteY54" fmla="*/ 1131093 h 1138237"/>
                <a:gd name="connsiteX55" fmla="*/ 814388 w 1378744"/>
                <a:gd name="connsiteY55" fmla="*/ 1138237 h 1138237"/>
                <a:gd name="connsiteX56" fmla="*/ 828675 w 1378744"/>
                <a:gd name="connsiteY56" fmla="*/ 1109662 h 1138237"/>
                <a:gd name="connsiteX57" fmla="*/ 833438 w 1378744"/>
                <a:gd name="connsiteY57" fmla="*/ 1085850 h 1138237"/>
                <a:gd name="connsiteX58" fmla="*/ 797719 w 1378744"/>
                <a:gd name="connsiteY58" fmla="*/ 1059656 h 1138237"/>
                <a:gd name="connsiteX59" fmla="*/ 790575 w 1378744"/>
                <a:gd name="connsiteY59" fmla="*/ 1038225 h 1138237"/>
                <a:gd name="connsiteX60" fmla="*/ 790575 w 1378744"/>
                <a:gd name="connsiteY60" fmla="*/ 1021556 h 1138237"/>
                <a:gd name="connsiteX61" fmla="*/ 845344 w 1378744"/>
                <a:gd name="connsiteY61" fmla="*/ 952500 h 1138237"/>
                <a:gd name="connsiteX62" fmla="*/ 845344 w 1378744"/>
                <a:gd name="connsiteY62" fmla="*/ 952500 h 1138237"/>
                <a:gd name="connsiteX63" fmla="*/ 888207 w 1378744"/>
                <a:gd name="connsiteY63" fmla="*/ 966787 h 1138237"/>
                <a:gd name="connsiteX64" fmla="*/ 907257 w 1378744"/>
                <a:gd name="connsiteY64" fmla="*/ 981075 h 1138237"/>
                <a:gd name="connsiteX65" fmla="*/ 938213 w 1378744"/>
                <a:gd name="connsiteY65" fmla="*/ 990600 h 1138237"/>
                <a:gd name="connsiteX66" fmla="*/ 964407 w 1378744"/>
                <a:gd name="connsiteY66" fmla="*/ 985837 h 1138237"/>
                <a:gd name="connsiteX67" fmla="*/ 985838 w 1378744"/>
                <a:gd name="connsiteY67" fmla="*/ 985837 h 1138237"/>
                <a:gd name="connsiteX68" fmla="*/ 995363 w 1378744"/>
                <a:gd name="connsiteY68" fmla="*/ 995362 h 1138237"/>
                <a:gd name="connsiteX69" fmla="*/ 978694 w 1378744"/>
                <a:gd name="connsiteY69" fmla="*/ 1012031 h 1138237"/>
                <a:gd name="connsiteX70" fmla="*/ 969169 w 1378744"/>
                <a:gd name="connsiteY70" fmla="*/ 1031081 h 1138237"/>
                <a:gd name="connsiteX71" fmla="*/ 954882 w 1378744"/>
                <a:gd name="connsiteY71" fmla="*/ 1054893 h 1138237"/>
                <a:gd name="connsiteX72" fmla="*/ 950119 w 1378744"/>
                <a:gd name="connsiteY72" fmla="*/ 1083468 h 1138237"/>
                <a:gd name="connsiteX73" fmla="*/ 962025 w 1378744"/>
                <a:gd name="connsiteY73" fmla="*/ 1107281 h 1138237"/>
                <a:gd name="connsiteX74" fmla="*/ 983457 w 1378744"/>
                <a:gd name="connsiteY74" fmla="*/ 1131093 h 1138237"/>
                <a:gd name="connsiteX75" fmla="*/ 1002507 w 1378744"/>
                <a:gd name="connsiteY75" fmla="*/ 1133475 h 1138237"/>
                <a:gd name="connsiteX76" fmla="*/ 1028700 w 1378744"/>
                <a:gd name="connsiteY76" fmla="*/ 1126331 h 1138237"/>
                <a:gd name="connsiteX77" fmla="*/ 1031082 w 1378744"/>
                <a:gd name="connsiteY77" fmla="*/ 1097756 h 1138237"/>
                <a:gd name="connsiteX78" fmla="*/ 1057275 w 1378744"/>
                <a:gd name="connsiteY78" fmla="*/ 1085850 h 1138237"/>
                <a:gd name="connsiteX79" fmla="*/ 1076325 w 1378744"/>
                <a:gd name="connsiteY79" fmla="*/ 1097756 h 1138237"/>
                <a:gd name="connsiteX80" fmla="*/ 1100138 w 1378744"/>
                <a:gd name="connsiteY80" fmla="*/ 1107281 h 1138237"/>
                <a:gd name="connsiteX81" fmla="*/ 1123950 w 1378744"/>
                <a:gd name="connsiteY81" fmla="*/ 1121568 h 1138237"/>
                <a:gd name="connsiteX82" fmla="*/ 1143000 w 1378744"/>
                <a:gd name="connsiteY82" fmla="*/ 1123950 h 1138237"/>
                <a:gd name="connsiteX83" fmla="*/ 1157288 w 1378744"/>
                <a:gd name="connsiteY83" fmla="*/ 1112043 h 1138237"/>
                <a:gd name="connsiteX84" fmla="*/ 1159669 w 1378744"/>
                <a:gd name="connsiteY84" fmla="*/ 1085850 h 1138237"/>
                <a:gd name="connsiteX85" fmla="*/ 1166813 w 1378744"/>
                <a:gd name="connsiteY85" fmla="*/ 1052512 h 1138237"/>
                <a:gd name="connsiteX86" fmla="*/ 1197769 w 1378744"/>
                <a:gd name="connsiteY86" fmla="*/ 1016793 h 1138237"/>
                <a:gd name="connsiteX87" fmla="*/ 1195388 w 1378744"/>
                <a:gd name="connsiteY87" fmla="*/ 954881 h 1138237"/>
                <a:gd name="connsiteX88" fmla="*/ 1209675 w 1378744"/>
                <a:gd name="connsiteY88" fmla="*/ 945356 h 1138237"/>
                <a:gd name="connsiteX89" fmla="*/ 1235869 w 1378744"/>
                <a:gd name="connsiteY89" fmla="*/ 945356 h 1138237"/>
                <a:gd name="connsiteX90" fmla="*/ 1235869 w 1378744"/>
                <a:gd name="connsiteY90" fmla="*/ 931068 h 1138237"/>
                <a:gd name="connsiteX91" fmla="*/ 1212057 w 1378744"/>
                <a:gd name="connsiteY91" fmla="*/ 912018 h 1138237"/>
                <a:gd name="connsiteX92" fmla="*/ 1195388 w 1378744"/>
                <a:gd name="connsiteY92" fmla="*/ 881062 h 1138237"/>
                <a:gd name="connsiteX93" fmla="*/ 1157288 w 1378744"/>
                <a:gd name="connsiteY93" fmla="*/ 871537 h 1138237"/>
                <a:gd name="connsiteX94" fmla="*/ 1119188 w 1378744"/>
                <a:gd name="connsiteY94" fmla="*/ 859631 h 1138237"/>
                <a:gd name="connsiteX95" fmla="*/ 1119188 w 1378744"/>
                <a:gd name="connsiteY95" fmla="*/ 831056 h 1138237"/>
                <a:gd name="connsiteX96" fmla="*/ 1135857 w 1378744"/>
                <a:gd name="connsiteY96" fmla="*/ 807243 h 1138237"/>
                <a:gd name="connsiteX97" fmla="*/ 1197769 w 1378744"/>
                <a:gd name="connsiteY97" fmla="*/ 759618 h 1138237"/>
                <a:gd name="connsiteX98" fmla="*/ 1247775 w 1378744"/>
                <a:gd name="connsiteY98" fmla="*/ 762000 h 1138237"/>
                <a:gd name="connsiteX99" fmla="*/ 1278732 w 1378744"/>
                <a:gd name="connsiteY99" fmla="*/ 762000 h 1138237"/>
                <a:gd name="connsiteX100" fmla="*/ 1271588 w 1378744"/>
                <a:gd name="connsiteY100" fmla="*/ 735806 h 1138237"/>
                <a:gd name="connsiteX101" fmla="*/ 1378744 w 1378744"/>
                <a:gd name="connsiteY101" fmla="*/ 678656 h 1138237"/>
                <a:gd name="connsiteX102" fmla="*/ 1331119 w 1378744"/>
                <a:gd name="connsiteY102" fmla="*/ 552450 h 1138237"/>
                <a:gd name="connsiteX103" fmla="*/ 1278732 w 1378744"/>
                <a:gd name="connsiteY103" fmla="*/ 514350 h 1138237"/>
                <a:gd name="connsiteX104" fmla="*/ 1252538 w 1378744"/>
                <a:gd name="connsiteY104" fmla="*/ 431006 h 1138237"/>
                <a:gd name="connsiteX105" fmla="*/ 1181100 w 1378744"/>
                <a:gd name="connsiteY105" fmla="*/ 431006 h 1138237"/>
                <a:gd name="connsiteX106" fmla="*/ 1166813 w 1378744"/>
                <a:gd name="connsiteY106" fmla="*/ 395287 h 1138237"/>
                <a:gd name="connsiteX107" fmla="*/ 1107282 w 1378744"/>
                <a:gd name="connsiteY107" fmla="*/ 421481 h 1138237"/>
                <a:gd name="connsiteX108" fmla="*/ 1054894 w 1378744"/>
                <a:gd name="connsiteY108" fmla="*/ 414337 h 1138237"/>
                <a:gd name="connsiteX109" fmla="*/ 1028700 w 1378744"/>
                <a:gd name="connsiteY109" fmla="*/ 371475 h 1138237"/>
                <a:gd name="connsiteX110" fmla="*/ 1023938 w 1378744"/>
                <a:gd name="connsiteY110" fmla="*/ 288131 h 1138237"/>
                <a:gd name="connsiteX111" fmla="*/ 1012032 w 1378744"/>
                <a:gd name="connsiteY111" fmla="*/ 269081 h 1138237"/>
                <a:gd name="connsiteX112" fmla="*/ 1012032 w 1378744"/>
                <a:gd name="connsiteY112" fmla="*/ 211931 h 1138237"/>
                <a:gd name="connsiteX113" fmla="*/ 959644 w 1378744"/>
                <a:gd name="connsiteY113" fmla="*/ 190500 h 1138237"/>
                <a:gd name="connsiteX114" fmla="*/ 914400 w 1378744"/>
                <a:gd name="connsiteY114" fmla="*/ 111918 h 1138237"/>
                <a:gd name="connsiteX115" fmla="*/ 854869 w 1378744"/>
                <a:gd name="connsiteY115" fmla="*/ 76200 h 1138237"/>
                <a:gd name="connsiteX116" fmla="*/ 873919 w 1378744"/>
                <a:gd name="connsiteY116" fmla="*/ 16668 h 1138237"/>
                <a:gd name="connsiteX117" fmla="*/ 783432 w 1378744"/>
                <a:gd name="connsiteY117" fmla="*/ 0 h 1138237"/>
                <a:gd name="connsiteX0" fmla="*/ 783432 w 1378744"/>
                <a:gd name="connsiteY0" fmla="*/ 0 h 1181100"/>
                <a:gd name="connsiteX1" fmla="*/ 738188 w 1378744"/>
                <a:gd name="connsiteY1" fmla="*/ 26193 h 1181100"/>
                <a:gd name="connsiteX2" fmla="*/ 685800 w 1378744"/>
                <a:gd name="connsiteY2" fmla="*/ 28575 h 1181100"/>
                <a:gd name="connsiteX3" fmla="*/ 635794 w 1378744"/>
                <a:gd name="connsiteY3" fmla="*/ 73818 h 1181100"/>
                <a:gd name="connsiteX4" fmla="*/ 633413 w 1378744"/>
                <a:gd name="connsiteY4" fmla="*/ 114300 h 1181100"/>
                <a:gd name="connsiteX5" fmla="*/ 561975 w 1378744"/>
                <a:gd name="connsiteY5" fmla="*/ 190500 h 1181100"/>
                <a:gd name="connsiteX6" fmla="*/ 519113 w 1378744"/>
                <a:gd name="connsiteY6" fmla="*/ 214312 h 1181100"/>
                <a:gd name="connsiteX7" fmla="*/ 485775 w 1378744"/>
                <a:gd name="connsiteY7" fmla="*/ 252412 h 1181100"/>
                <a:gd name="connsiteX8" fmla="*/ 461963 w 1378744"/>
                <a:gd name="connsiteY8" fmla="*/ 273843 h 1181100"/>
                <a:gd name="connsiteX9" fmla="*/ 423863 w 1378744"/>
                <a:gd name="connsiteY9" fmla="*/ 333375 h 1181100"/>
                <a:gd name="connsiteX10" fmla="*/ 378619 w 1378744"/>
                <a:gd name="connsiteY10" fmla="*/ 357187 h 1181100"/>
                <a:gd name="connsiteX11" fmla="*/ 292894 w 1378744"/>
                <a:gd name="connsiteY11" fmla="*/ 376237 h 1181100"/>
                <a:gd name="connsiteX12" fmla="*/ 264319 w 1378744"/>
                <a:gd name="connsiteY12" fmla="*/ 373856 h 1181100"/>
                <a:gd name="connsiteX13" fmla="*/ 240507 w 1378744"/>
                <a:gd name="connsiteY13" fmla="*/ 359568 h 1181100"/>
                <a:gd name="connsiteX14" fmla="*/ 226219 w 1378744"/>
                <a:gd name="connsiteY14" fmla="*/ 338137 h 1181100"/>
                <a:gd name="connsiteX15" fmla="*/ 219075 w 1378744"/>
                <a:gd name="connsiteY15" fmla="*/ 311943 h 1181100"/>
                <a:gd name="connsiteX16" fmla="*/ 204788 w 1378744"/>
                <a:gd name="connsiteY16" fmla="*/ 309562 h 1181100"/>
                <a:gd name="connsiteX17" fmla="*/ 188119 w 1378744"/>
                <a:gd name="connsiteY17" fmla="*/ 304800 h 1181100"/>
                <a:gd name="connsiteX18" fmla="*/ 173832 w 1378744"/>
                <a:gd name="connsiteY18" fmla="*/ 302418 h 1181100"/>
                <a:gd name="connsiteX19" fmla="*/ 128588 w 1378744"/>
                <a:gd name="connsiteY19" fmla="*/ 352425 h 1181100"/>
                <a:gd name="connsiteX20" fmla="*/ 97632 w 1378744"/>
                <a:gd name="connsiteY20" fmla="*/ 371475 h 1181100"/>
                <a:gd name="connsiteX21" fmla="*/ 80963 w 1378744"/>
                <a:gd name="connsiteY21" fmla="*/ 390525 h 1181100"/>
                <a:gd name="connsiteX22" fmla="*/ 66675 w 1378744"/>
                <a:gd name="connsiteY22" fmla="*/ 435768 h 1181100"/>
                <a:gd name="connsiteX23" fmla="*/ 54769 w 1378744"/>
                <a:gd name="connsiteY23" fmla="*/ 447675 h 1181100"/>
                <a:gd name="connsiteX24" fmla="*/ 9525 w 1378744"/>
                <a:gd name="connsiteY24" fmla="*/ 466725 h 1181100"/>
                <a:gd name="connsiteX25" fmla="*/ 2382 w 1378744"/>
                <a:gd name="connsiteY25" fmla="*/ 481012 h 1181100"/>
                <a:gd name="connsiteX26" fmla="*/ 4763 w 1378744"/>
                <a:gd name="connsiteY26" fmla="*/ 533400 h 1181100"/>
                <a:gd name="connsiteX27" fmla="*/ 0 w 1378744"/>
                <a:gd name="connsiteY27" fmla="*/ 545306 h 1181100"/>
                <a:gd name="connsiteX28" fmla="*/ 73819 w 1378744"/>
                <a:gd name="connsiteY28" fmla="*/ 588168 h 1181100"/>
                <a:gd name="connsiteX29" fmla="*/ 90488 w 1378744"/>
                <a:gd name="connsiteY29" fmla="*/ 628650 h 1181100"/>
                <a:gd name="connsiteX30" fmla="*/ 83344 w 1378744"/>
                <a:gd name="connsiteY30" fmla="*/ 654843 h 1181100"/>
                <a:gd name="connsiteX31" fmla="*/ 73819 w 1378744"/>
                <a:gd name="connsiteY31" fmla="*/ 697706 h 1181100"/>
                <a:gd name="connsiteX32" fmla="*/ 78582 w 1378744"/>
                <a:gd name="connsiteY32" fmla="*/ 726281 h 1181100"/>
                <a:gd name="connsiteX33" fmla="*/ 95250 w 1378744"/>
                <a:gd name="connsiteY33" fmla="*/ 738187 h 1181100"/>
                <a:gd name="connsiteX34" fmla="*/ 116682 w 1378744"/>
                <a:gd name="connsiteY34" fmla="*/ 735806 h 1181100"/>
                <a:gd name="connsiteX35" fmla="*/ 123825 w 1378744"/>
                <a:gd name="connsiteY35" fmla="*/ 762000 h 1181100"/>
                <a:gd name="connsiteX36" fmla="*/ 126207 w 1378744"/>
                <a:gd name="connsiteY36" fmla="*/ 783431 h 1181100"/>
                <a:gd name="connsiteX37" fmla="*/ 152400 w 1378744"/>
                <a:gd name="connsiteY37" fmla="*/ 812006 h 1181100"/>
                <a:gd name="connsiteX38" fmla="*/ 164307 w 1378744"/>
                <a:gd name="connsiteY38" fmla="*/ 823912 h 1181100"/>
                <a:gd name="connsiteX39" fmla="*/ 173832 w 1378744"/>
                <a:gd name="connsiteY39" fmla="*/ 850106 h 1181100"/>
                <a:gd name="connsiteX40" fmla="*/ 169069 w 1378744"/>
                <a:gd name="connsiteY40" fmla="*/ 878681 h 1181100"/>
                <a:gd name="connsiteX41" fmla="*/ 176213 w 1378744"/>
                <a:gd name="connsiteY41" fmla="*/ 897731 h 1181100"/>
                <a:gd name="connsiteX42" fmla="*/ 200025 w 1378744"/>
                <a:gd name="connsiteY42" fmla="*/ 916781 h 1181100"/>
                <a:gd name="connsiteX43" fmla="*/ 226219 w 1378744"/>
                <a:gd name="connsiteY43" fmla="*/ 916781 h 1181100"/>
                <a:gd name="connsiteX44" fmla="*/ 300038 w 1378744"/>
                <a:gd name="connsiteY44" fmla="*/ 921543 h 1181100"/>
                <a:gd name="connsiteX45" fmla="*/ 395288 w 1378744"/>
                <a:gd name="connsiteY45" fmla="*/ 952500 h 1181100"/>
                <a:gd name="connsiteX46" fmla="*/ 414338 w 1378744"/>
                <a:gd name="connsiteY46" fmla="*/ 988218 h 1181100"/>
                <a:gd name="connsiteX47" fmla="*/ 435769 w 1378744"/>
                <a:gd name="connsiteY47" fmla="*/ 992981 h 1181100"/>
                <a:gd name="connsiteX48" fmla="*/ 464344 w 1378744"/>
                <a:gd name="connsiteY48" fmla="*/ 995362 h 1181100"/>
                <a:gd name="connsiteX49" fmla="*/ 507207 w 1378744"/>
                <a:gd name="connsiteY49" fmla="*/ 1026318 h 1181100"/>
                <a:gd name="connsiteX50" fmla="*/ 521494 w 1378744"/>
                <a:gd name="connsiteY50" fmla="*/ 1069181 h 1181100"/>
                <a:gd name="connsiteX51" fmla="*/ 545307 w 1378744"/>
                <a:gd name="connsiteY51" fmla="*/ 1107281 h 1181100"/>
                <a:gd name="connsiteX52" fmla="*/ 573882 w 1378744"/>
                <a:gd name="connsiteY52" fmla="*/ 1121568 h 1181100"/>
                <a:gd name="connsiteX53" fmla="*/ 585788 w 1378744"/>
                <a:gd name="connsiteY53" fmla="*/ 1131093 h 1181100"/>
                <a:gd name="connsiteX54" fmla="*/ 597694 w 1378744"/>
                <a:gd name="connsiteY54" fmla="*/ 1181100 h 1181100"/>
                <a:gd name="connsiteX55" fmla="*/ 814388 w 1378744"/>
                <a:gd name="connsiteY55" fmla="*/ 1138237 h 1181100"/>
                <a:gd name="connsiteX56" fmla="*/ 828675 w 1378744"/>
                <a:gd name="connsiteY56" fmla="*/ 1109662 h 1181100"/>
                <a:gd name="connsiteX57" fmla="*/ 833438 w 1378744"/>
                <a:gd name="connsiteY57" fmla="*/ 1085850 h 1181100"/>
                <a:gd name="connsiteX58" fmla="*/ 797719 w 1378744"/>
                <a:gd name="connsiteY58" fmla="*/ 1059656 h 1181100"/>
                <a:gd name="connsiteX59" fmla="*/ 790575 w 1378744"/>
                <a:gd name="connsiteY59" fmla="*/ 1038225 h 1181100"/>
                <a:gd name="connsiteX60" fmla="*/ 790575 w 1378744"/>
                <a:gd name="connsiteY60" fmla="*/ 1021556 h 1181100"/>
                <a:gd name="connsiteX61" fmla="*/ 845344 w 1378744"/>
                <a:gd name="connsiteY61" fmla="*/ 952500 h 1181100"/>
                <a:gd name="connsiteX62" fmla="*/ 845344 w 1378744"/>
                <a:gd name="connsiteY62" fmla="*/ 952500 h 1181100"/>
                <a:gd name="connsiteX63" fmla="*/ 888207 w 1378744"/>
                <a:gd name="connsiteY63" fmla="*/ 966787 h 1181100"/>
                <a:gd name="connsiteX64" fmla="*/ 907257 w 1378744"/>
                <a:gd name="connsiteY64" fmla="*/ 981075 h 1181100"/>
                <a:gd name="connsiteX65" fmla="*/ 938213 w 1378744"/>
                <a:gd name="connsiteY65" fmla="*/ 990600 h 1181100"/>
                <a:gd name="connsiteX66" fmla="*/ 964407 w 1378744"/>
                <a:gd name="connsiteY66" fmla="*/ 985837 h 1181100"/>
                <a:gd name="connsiteX67" fmla="*/ 985838 w 1378744"/>
                <a:gd name="connsiteY67" fmla="*/ 985837 h 1181100"/>
                <a:gd name="connsiteX68" fmla="*/ 995363 w 1378744"/>
                <a:gd name="connsiteY68" fmla="*/ 995362 h 1181100"/>
                <a:gd name="connsiteX69" fmla="*/ 978694 w 1378744"/>
                <a:gd name="connsiteY69" fmla="*/ 1012031 h 1181100"/>
                <a:gd name="connsiteX70" fmla="*/ 969169 w 1378744"/>
                <a:gd name="connsiteY70" fmla="*/ 1031081 h 1181100"/>
                <a:gd name="connsiteX71" fmla="*/ 954882 w 1378744"/>
                <a:gd name="connsiteY71" fmla="*/ 1054893 h 1181100"/>
                <a:gd name="connsiteX72" fmla="*/ 950119 w 1378744"/>
                <a:gd name="connsiteY72" fmla="*/ 1083468 h 1181100"/>
                <a:gd name="connsiteX73" fmla="*/ 962025 w 1378744"/>
                <a:gd name="connsiteY73" fmla="*/ 1107281 h 1181100"/>
                <a:gd name="connsiteX74" fmla="*/ 983457 w 1378744"/>
                <a:gd name="connsiteY74" fmla="*/ 1131093 h 1181100"/>
                <a:gd name="connsiteX75" fmla="*/ 1002507 w 1378744"/>
                <a:gd name="connsiteY75" fmla="*/ 1133475 h 1181100"/>
                <a:gd name="connsiteX76" fmla="*/ 1028700 w 1378744"/>
                <a:gd name="connsiteY76" fmla="*/ 1126331 h 1181100"/>
                <a:gd name="connsiteX77" fmla="*/ 1031082 w 1378744"/>
                <a:gd name="connsiteY77" fmla="*/ 1097756 h 1181100"/>
                <a:gd name="connsiteX78" fmla="*/ 1057275 w 1378744"/>
                <a:gd name="connsiteY78" fmla="*/ 1085850 h 1181100"/>
                <a:gd name="connsiteX79" fmla="*/ 1076325 w 1378744"/>
                <a:gd name="connsiteY79" fmla="*/ 1097756 h 1181100"/>
                <a:gd name="connsiteX80" fmla="*/ 1100138 w 1378744"/>
                <a:gd name="connsiteY80" fmla="*/ 1107281 h 1181100"/>
                <a:gd name="connsiteX81" fmla="*/ 1123950 w 1378744"/>
                <a:gd name="connsiteY81" fmla="*/ 1121568 h 1181100"/>
                <a:gd name="connsiteX82" fmla="*/ 1143000 w 1378744"/>
                <a:gd name="connsiteY82" fmla="*/ 1123950 h 1181100"/>
                <a:gd name="connsiteX83" fmla="*/ 1157288 w 1378744"/>
                <a:gd name="connsiteY83" fmla="*/ 1112043 h 1181100"/>
                <a:gd name="connsiteX84" fmla="*/ 1159669 w 1378744"/>
                <a:gd name="connsiteY84" fmla="*/ 1085850 h 1181100"/>
                <a:gd name="connsiteX85" fmla="*/ 1166813 w 1378744"/>
                <a:gd name="connsiteY85" fmla="*/ 1052512 h 1181100"/>
                <a:gd name="connsiteX86" fmla="*/ 1197769 w 1378744"/>
                <a:gd name="connsiteY86" fmla="*/ 1016793 h 1181100"/>
                <a:gd name="connsiteX87" fmla="*/ 1195388 w 1378744"/>
                <a:gd name="connsiteY87" fmla="*/ 954881 h 1181100"/>
                <a:gd name="connsiteX88" fmla="*/ 1209675 w 1378744"/>
                <a:gd name="connsiteY88" fmla="*/ 945356 h 1181100"/>
                <a:gd name="connsiteX89" fmla="*/ 1235869 w 1378744"/>
                <a:gd name="connsiteY89" fmla="*/ 945356 h 1181100"/>
                <a:gd name="connsiteX90" fmla="*/ 1235869 w 1378744"/>
                <a:gd name="connsiteY90" fmla="*/ 931068 h 1181100"/>
                <a:gd name="connsiteX91" fmla="*/ 1212057 w 1378744"/>
                <a:gd name="connsiteY91" fmla="*/ 912018 h 1181100"/>
                <a:gd name="connsiteX92" fmla="*/ 1195388 w 1378744"/>
                <a:gd name="connsiteY92" fmla="*/ 881062 h 1181100"/>
                <a:gd name="connsiteX93" fmla="*/ 1157288 w 1378744"/>
                <a:gd name="connsiteY93" fmla="*/ 871537 h 1181100"/>
                <a:gd name="connsiteX94" fmla="*/ 1119188 w 1378744"/>
                <a:gd name="connsiteY94" fmla="*/ 859631 h 1181100"/>
                <a:gd name="connsiteX95" fmla="*/ 1119188 w 1378744"/>
                <a:gd name="connsiteY95" fmla="*/ 831056 h 1181100"/>
                <a:gd name="connsiteX96" fmla="*/ 1135857 w 1378744"/>
                <a:gd name="connsiteY96" fmla="*/ 807243 h 1181100"/>
                <a:gd name="connsiteX97" fmla="*/ 1197769 w 1378744"/>
                <a:gd name="connsiteY97" fmla="*/ 759618 h 1181100"/>
                <a:gd name="connsiteX98" fmla="*/ 1247775 w 1378744"/>
                <a:gd name="connsiteY98" fmla="*/ 762000 h 1181100"/>
                <a:gd name="connsiteX99" fmla="*/ 1278732 w 1378744"/>
                <a:gd name="connsiteY99" fmla="*/ 762000 h 1181100"/>
                <a:gd name="connsiteX100" fmla="*/ 1271588 w 1378744"/>
                <a:gd name="connsiteY100" fmla="*/ 735806 h 1181100"/>
                <a:gd name="connsiteX101" fmla="*/ 1378744 w 1378744"/>
                <a:gd name="connsiteY101" fmla="*/ 678656 h 1181100"/>
                <a:gd name="connsiteX102" fmla="*/ 1331119 w 1378744"/>
                <a:gd name="connsiteY102" fmla="*/ 552450 h 1181100"/>
                <a:gd name="connsiteX103" fmla="*/ 1278732 w 1378744"/>
                <a:gd name="connsiteY103" fmla="*/ 514350 h 1181100"/>
                <a:gd name="connsiteX104" fmla="*/ 1252538 w 1378744"/>
                <a:gd name="connsiteY104" fmla="*/ 431006 h 1181100"/>
                <a:gd name="connsiteX105" fmla="*/ 1181100 w 1378744"/>
                <a:gd name="connsiteY105" fmla="*/ 431006 h 1181100"/>
                <a:gd name="connsiteX106" fmla="*/ 1166813 w 1378744"/>
                <a:gd name="connsiteY106" fmla="*/ 395287 h 1181100"/>
                <a:gd name="connsiteX107" fmla="*/ 1107282 w 1378744"/>
                <a:gd name="connsiteY107" fmla="*/ 421481 h 1181100"/>
                <a:gd name="connsiteX108" fmla="*/ 1054894 w 1378744"/>
                <a:gd name="connsiteY108" fmla="*/ 414337 h 1181100"/>
                <a:gd name="connsiteX109" fmla="*/ 1028700 w 1378744"/>
                <a:gd name="connsiteY109" fmla="*/ 371475 h 1181100"/>
                <a:gd name="connsiteX110" fmla="*/ 1023938 w 1378744"/>
                <a:gd name="connsiteY110" fmla="*/ 288131 h 1181100"/>
                <a:gd name="connsiteX111" fmla="*/ 1012032 w 1378744"/>
                <a:gd name="connsiteY111" fmla="*/ 269081 h 1181100"/>
                <a:gd name="connsiteX112" fmla="*/ 1012032 w 1378744"/>
                <a:gd name="connsiteY112" fmla="*/ 211931 h 1181100"/>
                <a:gd name="connsiteX113" fmla="*/ 959644 w 1378744"/>
                <a:gd name="connsiteY113" fmla="*/ 190500 h 1181100"/>
                <a:gd name="connsiteX114" fmla="*/ 914400 w 1378744"/>
                <a:gd name="connsiteY114" fmla="*/ 111918 h 1181100"/>
                <a:gd name="connsiteX115" fmla="*/ 854869 w 1378744"/>
                <a:gd name="connsiteY115" fmla="*/ 76200 h 1181100"/>
                <a:gd name="connsiteX116" fmla="*/ 873919 w 1378744"/>
                <a:gd name="connsiteY116" fmla="*/ 16668 h 1181100"/>
                <a:gd name="connsiteX117" fmla="*/ 783432 w 1378744"/>
                <a:gd name="connsiteY117" fmla="*/ 0 h 1181100"/>
                <a:gd name="connsiteX0" fmla="*/ 783432 w 1378744"/>
                <a:gd name="connsiteY0" fmla="*/ 0 h 1181100"/>
                <a:gd name="connsiteX1" fmla="*/ 738188 w 1378744"/>
                <a:gd name="connsiteY1" fmla="*/ 26193 h 1181100"/>
                <a:gd name="connsiteX2" fmla="*/ 685800 w 1378744"/>
                <a:gd name="connsiteY2" fmla="*/ 28575 h 1181100"/>
                <a:gd name="connsiteX3" fmla="*/ 635794 w 1378744"/>
                <a:gd name="connsiteY3" fmla="*/ 73818 h 1181100"/>
                <a:gd name="connsiteX4" fmla="*/ 633413 w 1378744"/>
                <a:gd name="connsiteY4" fmla="*/ 114300 h 1181100"/>
                <a:gd name="connsiteX5" fmla="*/ 561975 w 1378744"/>
                <a:gd name="connsiteY5" fmla="*/ 190500 h 1181100"/>
                <a:gd name="connsiteX6" fmla="*/ 519113 w 1378744"/>
                <a:gd name="connsiteY6" fmla="*/ 214312 h 1181100"/>
                <a:gd name="connsiteX7" fmla="*/ 485775 w 1378744"/>
                <a:gd name="connsiteY7" fmla="*/ 252412 h 1181100"/>
                <a:gd name="connsiteX8" fmla="*/ 461963 w 1378744"/>
                <a:gd name="connsiteY8" fmla="*/ 273843 h 1181100"/>
                <a:gd name="connsiteX9" fmla="*/ 423863 w 1378744"/>
                <a:gd name="connsiteY9" fmla="*/ 333375 h 1181100"/>
                <a:gd name="connsiteX10" fmla="*/ 378619 w 1378744"/>
                <a:gd name="connsiteY10" fmla="*/ 357187 h 1181100"/>
                <a:gd name="connsiteX11" fmla="*/ 292894 w 1378744"/>
                <a:gd name="connsiteY11" fmla="*/ 376237 h 1181100"/>
                <a:gd name="connsiteX12" fmla="*/ 264319 w 1378744"/>
                <a:gd name="connsiteY12" fmla="*/ 373856 h 1181100"/>
                <a:gd name="connsiteX13" fmla="*/ 240507 w 1378744"/>
                <a:gd name="connsiteY13" fmla="*/ 359568 h 1181100"/>
                <a:gd name="connsiteX14" fmla="*/ 226219 w 1378744"/>
                <a:gd name="connsiteY14" fmla="*/ 338137 h 1181100"/>
                <a:gd name="connsiteX15" fmla="*/ 219075 w 1378744"/>
                <a:gd name="connsiteY15" fmla="*/ 311943 h 1181100"/>
                <a:gd name="connsiteX16" fmla="*/ 204788 w 1378744"/>
                <a:gd name="connsiteY16" fmla="*/ 309562 h 1181100"/>
                <a:gd name="connsiteX17" fmla="*/ 188119 w 1378744"/>
                <a:gd name="connsiteY17" fmla="*/ 304800 h 1181100"/>
                <a:gd name="connsiteX18" fmla="*/ 173832 w 1378744"/>
                <a:gd name="connsiteY18" fmla="*/ 302418 h 1181100"/>
                <a:gd name="connsiteX19" fmla="*/ 128588 w 1378744"/>
                <a:gd name="connsiteY19" fmla="*/ 352425 h 1181100"/>
                <a:gd name="connsiteX20" fmla="*/ 97632 w 1378744"/>
                <a:gd name="connsiteY20" fmla="*/ 371475 h 1181100"/>
                <a:gd name="connsiteX21" fmla="*/ 80963 w 1378744"/>
                <a:gd name="connsiteY21" fmla="*/ 390525 h 1181100"/>
                <a:gd name="connsiteX22" fmla="*/ 66675 w 1378744"/>
                <a:gd name="connsiteY22" fmla="*/ 435768 h 1181100"/>
                <a:gd name="connsiteX23" fmla="*/ 54769 w 1378744"/>
                <a:gd name="connsiteY23" fmla="*/ 447675 h 1181100"/>
                <a:gd name="connsiteX24" fmla="*/ 9525 w 1378744"/>
                <a:gd name="connsiteY24" fmla="*/ 466725 h 1181100"/>
                <a:gd name="connsiteX25" fmla="*/ 2382 w 1378744"/>
                <a:gd name="connsiteY25" fmla="*/ 481012 h 1181100"/>
                <a:gd name="connsiteX26" fmla="*/ 4763 w 1378744"/>
                <a:gd name="connsiteY26" fmla="*/ 533400 h 1181100"/>
                <a:gd name="connsiteX27" fmla="*/ 0 w 1378744"/>
                <a:gd name="connsiteY27" fmla="*/ 545306 h 1181100"/>
                <a:gd name="connsiteX28" fmla="*/ 73819 w 1378744"/>
                <a:gd name="connsiteY28" fmla="*/ 588168 h 1181100"/>
                <a:gd name="connsiteX29" fmla="*/ 90488 w 1378744"/>
                <a:gd name="connsiteY29" fmla="*/ 628650 h 1181100"/>
                <a:gd name="connsiteX30" fmla="*/ 83344 w 1378744"/>
                <a:gd name="connsiteY30" fmla="*/ 654843 h 1181100"/>
                <a:gd name="connsiteX31" fmla="*/ 73819 w 1378744"/>
                <a:gd name="connsiteY31" fmla="*/ 697706 h 1181100"/>
                <a:gd name="connsiteX32" fmla="*/ 78582 w 1378744"/>
                <a:gd name="connsiteY32" fmla="*/ 726281 h 1181100"/>
                <a:gd name="connsiteX33" fmla="*/ 95250 w 1378744"/>
                <a:gd name="connsiteY33" fmla="*/ 738187 h 1181100"/>
                <a:gd name="connsiteX34" fmla="*/ 116682 w 1378744"/>
                <a:gd name="connsiteY34" fmla="*/ 735806 h 1181100"/>
                <a:gd name="connsiteX35" fmla="*/ 123825 w 1378744"/>
                <a:gd name="connsiteY35" fmla="*/ 762000 h 1181100"/>
                <a:gd name="connsiteX36" fmla="*/ 126207 w 1378744"/>
                <a:gd name="connsiteY36" fmla="*/ 783431 h 1181100"/>
                <a:gd name="connsiteX37" fmla="*/ 152400 w 1378744"/>
                <a:gd name="connsiteY37" fmla="*/ 812006 h 1181100"/>
                <a:gd name="connsiteX38" fmla="*/ 164307 w 1378744"/>
                <a:gd name="connsiteY38" fmla="*/ 823912 h 1181100"/>
                <a:gd name="connsiteX39" fmla="*/ 173832 w 1378744"/>
                <a:gd name="connsiteY39" fmla="*/ 850106 h 1181100"/>
                <a:gd name="connsiteX40" fmla="*/ 169069 w 1378744"/>
                <a:gd name="connsiteY40" fmla="*/ 878681 h 1181100"/>
                <a:gd name="connsiteX41" fmla="*/ 176213 w 1378744"/>
                <a:gd name="connsiteY41" fmla="*/ 897731 h 1181100"/>
                <a:gd name="connsiteX42" fmla="*/ 200025 w 1378744"/>
                <a:gd name="connsiteY42" fmla="*/ 916781 h 1181100"/>
                <a:gd name="connsiteX43" fmla="*/ 226219 w 1378744"/>
                <a:gd name="connsiteY43" fmla="*/ 916781 h 1181100"/>
                <a:gd name="connsiteX44" fmla="*/ 300038 w 1378744"/>
                <a:gd name="connsiteY44" fmla="*/ 921543 h 1181100"/>
                <a:gd name="connsiteX45" fmla="*/ 395288 w 1378744"/>
                <a:gd name="connsiteY45" fmla="*/ 952500 h 1181100"/>
                <a:gd name="connsiteX46" fmla="*/ 414338 w 1378744"/>
                <a:gd name="connsiteY46" fmla="*/ 988218 h 1181100"/>
                <a:gd name="connsiteX47" fmla="*/ 435769 w 1378744"/>
                <a:gd name="connsiteY47" fmla="*/ 992981 h 1181100"/>
                <a:gd name="connsiteX48" fmla="*/ 464344 w 1378744"/>
                <a:gd name="connsiteY48" fmla="*/ 995362 h 1181100"/>
                <a:gd name="connsiteX49" fmla="*/ 507207 w 1378744"/>
                <a:gd name="connsiteY49" fmla="*/ 1026318 h 1181100"/>
                <a:gd name="connsiteX50" fmla="*/ 521494 w 1378744"/>
                <a:gd name="connsiteY50" fmla="*/ 1069181 h 1181100"/>
                <a:gd name="connsiteX51" fmla="*/ 545307 w 1378744"/>
                <a:gd name="connsiteY51" fmla="*/ 1107281 h 1181100"/>
                <a:gd name="connsiteX52" fmla="*/ 573882 w 1378744"/>
                <a:gd name="connsiteY52" fmla="*/ 1121568 h 1181100"/>
                <a:gd name="connsiteX53" fmla="*/ 585788 w 1378744"/>
                <a:gd name="connsiteY53" fmla="*/ 1131093 h 1181100"/>
                <a:gd name="connsiteX54" fmla="*/ 597694 w 1378744"/>
                <a:gd name="connsiteY54" fmla="*/ 1181100 h 1181100"/>
                <a:gd name="connsiteX55" fmla="*/ 626269 w 1378744"/>
                <a:gd name="connsiteY55" fmla="*/ 1171574 h 1181100"/>
                <a:gd name="connsiteX56" fmla="*/ 814388 w 1378744"/>
                <a:gd name="connsiteY56" fmla="*/ 1138237 h 1181100"/>
                <a:gd name="connsiteX57" fmla="*/ 828675 w 1378744"/>
                <a:gd name="connsiteY57" fmla="*/ 1109662 h 1181100"/>
                <a:gd name="connsiteX58" fmla="*/ 833438 w 1378744"/>
                <a:gd name="connsiteY58" fmla="*/ 1085850 h 1181100"/>
                <a:gd name="connsiteX59" fmla="*/ 797719 w 1378744"/>
                <a:gd name="connsiteY59" fmla="*/ 1059656 h 1181100"/>
                <a:gd name="connsiteX60" fmla="*/ 790575 w 1378744"/>
                <a:gd name="connsiteY60" fmla="*/ 1038225 h 1181100"/>
                <a:gd name="connsiteX61" fmla="*/ 790575 w 1378744"/>
                <a:gd name="connsiteY61" fmla="*/ 1021556 h 1181100"/>
                <a:gd name="connsiteX62" fmla="*/ 845344 w 1378744"/>
                <a:gd name="connsiteY62" fmla="*/ 952500 h 1181100"/>
                <a:gd name="connsiteX63" fmla="*/ 845344 w 1378744"/>
                <a:gd name="connsiteY63" fmla="*/ 952500 h 1181100"/>
                <a:gd name="connsiteX64" fmla="*/ 888207 w 1378744"/>
                <a:gd name="connsiteY64" fmla="*/ 966787 h 1181100"/>
                <a:gd name="connsiteX65" fmla="*/ 907257 w 1378744"/>
                <a:gd name="connsiteY65" fmla="*/ 981075 h 1181100"/>
                <a:gd name="connsiteX66" fmla="*/ 938213 w 1378744"/>
                <a:gd name="connsiteY66" fmla="*/ 990600 h 1181100"/>
                <a:gd name="connsiteX67" fmla="*/ 964407 w 1378744"/>
                <a:gd name="connsiteY67" fmla="*/ 985837 h 1181100"/>
                <a:gd name="connsiteX68" fmla="*/ 985838 w 1378744"/>
                <a:gd name="connsiteY68" fmla="*/ 985837 h 1181100"/>
                <a:gd name="connsiteX69" fmla="*/ 995363 w 1378744"/>
                <a:gd name="connsiteY69" fmla="*/ 995362 h 1181100"/>
                <a:gd name="connsiteX70" fmla="*/ 978694 w 1378744"/>
                <a:gd name="connsiteY70" fmla="*/ 1012031 h 1181100"/>
                <a:gd name="connsiteX71" fmla="*/ 969169 w 1378744"/>
                <a:gd name="connsiteY71" fmla="*/ 1031081 h 1181100"/>
                <a:gd name="connsiteX72" fmla="*/ 954882 w 1378744"/>
                <a:gd name="connsiteY72" fmla="*/ 1054893 h 1181100"/>
                <a:gd name="connsiteX73" fmla="*/ 950119 w 1378744"/>
                <a:gd name="connsiteY73" fmla="*/ 1083468 h 1181100"/>
                <a:gd name="connsiteX74" fmla="*/ 962025 w 1378744"/>
                <a:gd name="connsiteY74" fmla="*/ 1107281 h 1181100"/>
                <a:gd name="connsiteX75" fmla="*/ 983457 w 1378744"/>
                <a:gd name="connsiteY75" fmla="*/ 1131093 h 1181100"/>
                <a:gd name="connsiteX76" fmla="*/ 1002507 w 1378744"/>
                <a:gd name="connsiteY76" fmla="*/ 1133475 h 1181100"/>
                <a:gd name="connsiteX77" fmla="*/ 1028700 w 1378744"/>
                <a:gd name="connsiteY77" fmla="*/ 1126331 h 1181100"/>
                <a:gd name="connsiteX78" fmla="*/ 1031082 w 1378744"/>
                <a:gd name="connsiteY78" fmla="*/ 1097756 h 1181100"/>
                <a:gd name="connsiteX79" fmla="*/ 1057275 w 1378744"/>
                <a:gd name="connsiteY79" fmla="*/ 1085850 h 1181100"/>
                <a:gd name="connsiteX80" fmla="*/ 1076325 w 1378744"/>
                <a:gd name="connsiteY80" fmla="*/ 1097756 h 1181100"/>
                <a:gd name="connsiteX81" fmla="*/ 1100138 w 1378744"/>
                <a:gd name="connsiteY81" fmla="*/ 1107281 h 1181100"/>
                <a:gd name="connsiteX82" fmla="*/ 1123950 w 1378744"/>
                <a:gd name="connsiteY82" fmla="*/ 1121568 h 1181100"/>
                <a:gd name="connsiteX83" fmla="*/ 1143000 w 1378744"/>
                <a:gd name="connsiteY83" fmla="*/ 1123950 h 1181100"/>
                <a:gd name="connsiteX84" fmla="*/ 1157288 w 1378744"/>
                <a:gd name="connsiteY84" fmla="*/ 1112043 h 1181100"/>
                <a:gd name="connsiteX85" fmla="*/ 1159669 w 1378744"/>
                <a:gd name="connsiteY85" fmla="*/ 1085850 h 1181100"/>
                <a:gd name="connsiteX86" fmla="*/ 1166813 w 1378744"/>
                <a:gd name="connsiteY86" fmla="*/ 1052512 h 1181100"/>
                <a:gd name="connsiteX87" fmla="*/ 1197769 w 1378744"/>
                <a:gd name="connsiteY87" fmla="*/ 1016793 h 1181100"/>
                <a:gd name="connsiteX88" fmla="*/ 1195388 w 1378744"/>
                <a:gd name="connsiteY88" fmla="*/ 954881 h 1181100"/>
                <a:gd name="connsiteX89" fmla="*/ 1209675 w 1378744"/>
                <a:gd name="connsiteY89" fmla="*/ 945356 h 1181100"/>
                <a:gd name="connsiteX90" fmla="*/ 1235869 w 1378744"/>
                <a:gd name="connsiteY90" fmla="*/ 945356 h 1181100"/>
                <a:gd name="connsiteX91" fmla="*/ 1235869 w 1378744"/>
                <a:gd name="connsiteY91" fmla="*/ 931068 h 1181100"/>
                <a:gd name="connsiteX92" fmla="*/ 1212057 w 1378744"/>
                <a:gd name="connsiteY92" fmla="*/ 912018 h 1181100"/>
                <a:gd name="connsiteX93" fmla="*/ 1195388 w 1378744"/>
                <a:gd name="connsiteY93" fmla="*/ 881062 h 1181100"/>
                <a:gd name="connsiteX94" fmla="*/ 1157288 w 1378744"/>
                <a:gd name="connsiteY94" fmla="*/ 871537 h 1181100"/>
                <a:gd name="connsiteX95" fmla="*/ 1119188 w 1378744"/>
                <a:gd name="connsiteY95" fmla="*/ 859631 h 1181100"/>
                <a:gd name="connsiteX96" fmla="*/ 1119188 w 1378744"/>
                <a:gd name="connsiteY96" fmla="*/ 831056 h 1181100"/>
                <a:gd name="connsiteX97" fmla="*/ 1135857 w 1378744"/>
                <a:gd name="connsiteY97" fmla="*/ 807243 h 1181100"/>
                <a:gd name="connsiteX98" fmla="*/ 1197769 w 1378744"/>
                <a:gd name="connsiteY98" fmla="*/ 759618 h 1181100"/>
                <a:gd name="connsiteX99" fmla="*/ 1247775 w 1378744"/>
                <a:gd name="connsiteY99" fmla="*/ 762000 h 1181100"/>
                <a:gd name="connsiteX100" fmla="*/ 1278732 w 1378744"/>
                <a:gd name="connsiteY100" fmla="*/ 762000 h 1181100"/>
                <a:gd name="connsiteX101" fmla="*/ 1271588 w 1378744"/>
                <a:gd name="connsiteY101" fmla="*/ 735806 h 1181100"/>
                <a:gd name="connsiteX102" fmla="*/ 1378744 w 1378744"/>
                <a:gd name="connsiteY102" fmla="*/ 678656 h 1181100"/>
                <a:gd name="connsiteX103" fmla="*/ 1331119 w 1378744"/>
                <a:gd name="connsiteY103" fmla="*/ 552450 h 1181100"/>
                <a:gd name="connsiteX104" fmla="*/ 1278732 w 1378744"/>
                <a:gd name="connsiteY104" fmla="*/ 514350 h 1181100"/>
                <a:gd name="connsiteX105" fmla="*/ 1252538 w 1378744"/>
                <a:gd name="connsiteY105" fmla="*/ 431006 h 1181100"/>
                <a:gd name="connsiteX106" fmla="*/ 1181100 w 1378744"/>
                <a:gd name="connsiteY106" fmla="*/ 431006 h 1181100"/>
                <a:gd name="connsiteX107" fmla="*/ 1166813 w 1378744"/>
                <a:gd name="connsiteY107" fmla="*/ 395287 h 1181100"/>
                <a:gd name="connsiteX108" fmla="*/ 1107282 w 1378744"/>
                <a:gd name="connsiteY108" fmla="*/ 421481 h 1181100"/>
                <a:gd name="connsiteX109" fmla="*/ 1054894 w 1378744"/>
                <a:gd name="connsiteY109" fmla="*/ 414337 h 1181100"/>
                <a:gd name="connsiteX110" fmla="*/ 1028700 w 1378744"/>
                <a:gd name="connsiteY110" fmla="*/ 371475 h 1181100"/>
                <a:gd name="connsiteX111" fmla="*/ 1023938 w 1378744"/>
                <a:gd name="connsiteY111" fmla="*/ 288131 h 1181100"/>
                <a:gd name="connsiteX112" fmla="*/ 1012032 w 1378744"/>
                <a:gd name="connsiteY112" fmla="*/ 269081 h 1181100"/>
                <a:gd name="connsiteX113" fmla="*/ 1012032 w 1378744"/>
                <a:gd name="connsiteY113" fmla="*/ 211931 h 1181100"/>
                <a:gd name="connsiteX114" fmla="*/ 959644 w 1378744"/>
                <a:gd name="connsiteY114" fmla="*/ 190500 h 1181100"/>
                <a:gd name="connsiteX115" fmla="*/ 914400 w 1378744"/>
                <a:gd name="connsiteY115" fmla="*/ 111918 h 1181100"/>
                <a:gd name="connsiteX116" fmla="*/ 854869 w 1378744"/>
                <a:gd name="connsiteY116" fmla="*/ 76200 h 1181100"/>
                <a:gd name="connsiteX117" fmla="*/ 873919 w 1378744"/>
                <a:gd name="connsiteY117" fmla="*/ 16668 h 1181100"/>
                <a:gd name="connsiteX118" fmla="*/ 783432 w 1378744"/>
                <a:gd name="connsiteY118" fmla="*/ 0 h 1181100"/>
                <a:gd name="connsiteX0" fmla="*/ 783432 w 1378744"/>
                <a:gd name="connsiteY0" fmla="*/ 0 h 1250156"/>
                <a:gd name="connsiteX1" fmla="*/ 738188 w 1378744"/>
                <a:gd name="connsiteY1" fmla="*/ 26193 h 1250156"/>
                <a:gd name="connsiteX2" fmla="*/ 685800 w 1378744"/>
                <a:gd name="connsiteY2" fmla="*/ 28575 h 1250156"/>
                <a:gd name="connsiteX3" fmla="*/ 635794 w 1378744"/>
                <a:gd name="connsiteY3" fmla="*/ 73818 h 1250156"/>
                <a:gd name="connsiteX4" fmla="*/ 633413 w 1378744"/>
                <a:gd name="connsiteY4" fmla="*/ 114300 h 1250156"/>
                <a:gd name="connsiteX5" fmla="*/ 561975 w 1378744"/>
                <a:gd name="connsiteY5" fmla="*/ 190500 h 1250156"/>
                <a:gd name="connsiteX6" fmla="*/ 519113 w 1378744"/>
                <a:gd name="connsiteY6" fmla="*/ 214312 h 1250156"/>
                <a:gd name="connsiteX7" fmla="*/ 485775 w 1378744"/>
                <a:gd name="connsiteY7" fmla="*/ 252412 h 1250156"/>
                <a:gd name="connsiteX8" fmla="*/ 461963 w 1378744"/>
                <a:gd name="connsiteY8" fmla="*/ 273843 h 1250156"/>
                <a:gd name="connsiteX9" fmla="*/ 423863 w 1378744"/>
                <a:gd name="connsiteY9" fmla="*/ 333375 h 1250156"/>
                <a:gd name="connsiteX10" fmla="*/ 378619 w 1378744"/>
                <a:gd name="connsiteY10" fmla="*/ 357187 h 1250156"/>
                <a:gd name="connsiteX11" fmla="*/ 292894 w 1378744"/>
                <a:gd name="connsiteY11" fmla="*/ 376237 h 1250156"/>
                <a:gd name="connsiteX12" fmla="*/ 264319 w 1378744"/>
                <a:gd name="connsiteY12" fmla="*/ 373856 h 1250156"/>
                <a:gd name="connsiteX13" fmla="*/ 240507 w 1378744"/>
                <a:gd name="connsiteY13" fmla="*/ 359568 h 1250156"/>
                <a:gd name="connsiteX14" fmla="*/ 226219 w 1378744"/>
                <a:gd name="connsiteY14" fmla="*/ 338137 h 1250156"/>
                <a:gd name="connsiteX15" fmla="*/ 219075 w 1378744"/>
                <a:gd name="connsiteY15" fmla="*/ 311943 h 1250156"/>
                <a:gd name="connsiteX16" fmla="*/ 204788 w 1378744"/>
                <a:gd name="connsiteY16" fmla="*/ 309562 h 1250156"/>
                <a:gd name="connsiteX17" fmla="*/ 188119 w 1378744"/>
                <a:gd name="connsiteY17" fmla="*/ 304800 h 1250156"/>
                <a:gd name="connsiteX18" fmla="*/ 173832 w 1378744"/>
                <a:gd name="connsiteY18" fmla="*/ 302418 h 1250156"/>
                <a:gd name="connsiteX19" fmla="*/ 128588 w 1378744"/>
                <a:gd name="connsiteY19" fmla="*/ 352425 h 1250156"/>
                <a:gd name="connsiteX20" fmla="*/ 97632 w 1378744"/>
                <a:gd name="connsiteY20" fmla="*/ 371475 h 1250156"/>
                <a:gd name="connsiteX21" fmla="*/ 80963 w 1378744"/>
                <a:gd name="connsiteY21" fmla="*/ 390525 h 1250156"/>
                <a:gd name="connsiteX22" fmla="*/ 66675 w 1378744"/>
                <a:gd name="connsiteY22" fmla="*/ 435768 h 1250156"/>
                <a:gd name="connsiteX23" fmla="*/ 54769 w 1378744"/>
                <a:gd name="connsiteY23" fmla="*/ 447675 h 1250156"/>
                <a:gd name="connsiteX24" fmla="*/ 9525 w 1378744"/>
                <a:gd name="connsiteY24" fmla="*/ 466725 h 1250156"/>
                <a:gd name="connsiteX25" fmla="*/ 2382 w 1378744"/>
                <a:gd name="connsiteY25" fmla="*/ 481012 h 1250156"/>
                <a:gd name="connsiteX26" fmla="*/ 4763 w 1378744"/>
                <a:gd name="connsiteY26" fmla="*/ 533400 h 1250156"/>
                <a:gd name="connsiteX27" fmla="*/ 0 w 1378744"/>
                <a:gd name="connsiteY27" fmla="*/ 545306 h 1250156"/>
                <a:gd name="connsiteX28" fmla="*/ 73819 w 1378744"/>
                <a:gd name="connsiteY28" fmla="*/ 588168 h 1250156"/>
                <a:gd name="connsiteX29" fmla="*/ 90488 w 1378744"/>
                <a:gd name="connsiteY29" fmla="*/ 628650 h 1250156"/>
                <a:gd name="connsiteX30" fmla="*/ 83344 w 1378744"/>
                <a:gd name="connsiteY30" fmla="*/ 654843 h 1250156"/>
                <a:gd name="connsiteX31" fmla="*/ 73819 w 1378744"/>
                <a:gd name="connsiteY31" fmla="*/ 697706 h 1250156"/>
                <a:gd name="connsiteX32" fmla="*/ 78582 w 1378744"/>
                <a:gd name="connsiteY32" fmla="*/ 726281 h 1250156"/>
                <a:gd name="connsiteX33" fmla="*/ 95250 w 1378744"/>
                <a:gd name="connsiteY33" fmla="*/ 738187 h 1250156"/>
                <a:gd name="connsiteX34" fmla="*/ 116682 w 1378744"/>
                <a:gd name="connsiteY34" fmla="*/ 735806 h 1250156"/>
                <a:gd name="connsiteX35" fmla="*/ 123825 w 1378744"/>
                <a:gd name="connsiteY35" fmla="*/ 762000 h 1250156"/>
                <a:gd name="connsiteX36" fmla="*/ 126207 w 1378744"/>
                <a:gd name="connsiteY36" fmla="*/ 783431 h 1250156"/>
                <a:gd name="connsiteX37" fmla="*/ 152400 w 1378744"/>
                <a:gd name="connsiteY37" fmla="*/ 812006 h 1250156"/>
                <a:gd name="connsiteX38" fmla="*/ 164307 w 1378744"/>
                <a:gd name="connsiteY38" fmla="*/ 823912 h 1250156"/>
                <a:gd name="connsiteX39" fmla="*/ 173832 w 1378744"/>
                <a:gd name="connsiteY39" fmla="*/ 850106 h 1250156"/>
                <a:gd name="connsiteX40" fmla="*/ 169069 w 1378744"/>
                <a:gd name="connsiteY40" fmla="*/ 878681 h 1250156"/>
                <a:gd name="connsiteX41" fmla="*/ 176213 w 1378744"/>
                <a:gd name="connsiteY41" fmla="*/ 897731 h 1250156"/>
                <a:gd name="connsiteX42" fmla="*/ 200025 w 1378744"/>
                <a:gd name="connsiteY42" fmla="*/ 916781 h 1250156"/>
                <a:gd name="connsiteX43" fmla="*/ 226219 w 1378744"/>
                <a:gd name="connsiteY43" fmla="*/ 916781 h 1250156"/>
                <a:gd name="connsiteX44" fmla="*/ 300038 w 1378744"/>
                <a:gd name="connsiteY44" fmla="*/ 921543 h 1250156"/>
                <a:gd name="connsiteX45" fmla="*/ 395288 w 1378744"/>
                <a:gd name="connsiteY45" fmla="*/ 952500 h 1250156"/>
                <a:gd name="connsiteX46" fmla="*/ 414338 w 1378744"/>
                <a:gd name="connsiteY46" fmla="*/ 988218 h 1250156"/>
                <a:gd name="connsiteX47" fmla="*/ 435769 w 1378744"/>
                <a:gd name="connsiteY47" fmla="*/ 992981 h 1250156"/>
                <a:gd name="connsiteX48" fmla="*/ 464344 w 1378744"/>
                <a:gd name="connsiteY48" fmla="*/ 995362 h 1250156"/>
                <a:gd name="connsiteX49" fmla="*/ 507207 w 1378744"/>
                <a:gd name="connsiteY49" fmla="*/ 1026318 h 1250156"/>
                <a:gd name="connsiteX50" fmla="*/ 521494 w 1378744"/>
                <a:gd name="connsiteY50" fmla="*/ 1069181 h 1250156"/>
                <a:gd name="connsiteX51" fmla="*/ 545307 w 1378744"/>
                <a:gd name="connsiteY51" fmla="*/ 1107281 h 1250156"/>
                <a:gd name="connsiteX52" fmla="*/ 573882 w 1378744"/>
                <a:gd name="connsiteY52" fmla="*/ 1121568 h 1250156"/>
                <a:gd name="connsiteX53" fmla="*/ 585788 w 1378744"/>
                <a:gd name="connsiteY53" fmla="*/ 1131093 h 1250156"/>
                <a:gd name="connsiteX54" fmla="*/ 597694 w 1378744"/>
                <a:gd name="connsiteY54" fmla="*/ 1181100 h 1250156"/>
                <a:gd name="connsiteX55" fmla="*/ 633413 w 1378744"/>
                <a:gd name="connsiteY55" fmla="*/ 1250156 h 1250156"/>
                <a:gd name="connsiteX56" fmla="*/ 814388 w 1378744"/>
                <a:gd name="connsiteY56" fmla="*/ 1138237 h 1250156"/>
                <a:gd name="connsiteX57" fmla="*/ 828675 w 1378744"/>
                <a:gd name="connsiteY57" fmla="*/ 1109662 h 1250156"/>
                <a:gd name="connsiteX58" fmla="*/ 833438 w 1378744"/>
                <a:gd name="connsiteY58" fmla="*/ 1085850 h 1250156"/>
                <a:gd name="connsiteX59" fmla="*/ 797719 w 1378744"/>
                <a:gd name="connsiteY59" fmla="*/ 1059656 h 1250156"/>
                <a:gd name="connsiteX60" fmla="*/ 790575 w 1378744"/>
                <a:gd name="connsiteY60" fmla="*/ 1038225 h 1250156"/>
                <a:gd name="connsiteX61" fmla="*/ 790575 w 1378744"/>
                <a:gd name="connsiteY61" fmla="*/ 1021556 h 1250156"/>
                <a:gd name="connsiteX62" fmla="*/ 845344 w 1378744"/>
                <a:gd name="connsiteY62" fmla="*/ 952500 h 1250156"/>
                <a:gd name="connsiteX63" fmla="*/ 845344 w 1378744"/>
                <a:gd name="connsiteY63" fmla="*/ 952500 h 1250156"/>
                <a:gd name="connsiteX64" fmla="*/ 888207 w 1378744"/>
                <a:gd name="connsiteY64" fmla="*/ 966787 h 1250156"/>
                <a:gd name="connsiteX65" fmla="*/ 907257 w 1378744"/>
                <a:gd name="connsiteY65" fmla="*/ 981075 h 1250156"/>
                <a:gd name="connsiteX66" fmla="*/ 938213 w 1378744"/>
                <a:gd name="connsiteY66" fmla="*/ 990600 h 1250156"/>
                <a:gd name="connsiteX67" fmla="*/ 964407 w 1378744"/>
                <a:gd name="connsiteY67" fmla="*/ 985837 h 1250156"/>
                <a:gd name="connsiteX68" fmla="*/ 985838 w 1378744"/>
                <a:gd name="connsiteY68" fmla="*/ 985837 h 1250156"/>
                <a:gd name="connsiteX69" fmla="*/ 995363 w 1378744"/>
                <a:gd name="connsiteY69" fmla="*/ 995362 h 1250156"/>
                <a:gd name="connsiteX70" fmla="*/ 978694 w 1378744"/>
                <a:gd name="connsiteY70" fmla="*/ 1012031 h 1250156"/>
                <a:gd name="connsiteX71" fmla="*/ 969169 w 1378744"/>
                <a:gd name="connsiteY71" fmla="*/ 1031081 h 1250156"/>
                <a:gd name="connsiteX72" fmla="*/ 954882 w 1378744"/>
                <a:gd name="connsiteY72" fmla="*/ 1054893 h 1250156"/>
                <a:gd name="connsiteX73" fmla="*/ 950119 w 1378744"/>
                <a:gd name="connsiteY73" fmla="*/ 1083468 h 1250156"/>
                <a:gd name="connsiteX74" fmla="*/ 962025 w 1378744"/>
                <a:gd name="connsiteY74" fmla="*/ 1107281 h 1250156"/>
                <a:gd name="connsiteX75" fmla="*/ 983457 w 1378744"/>
                <a:gd name="connsiteY75" fmla="*/ 1131093 h 1250156"/>
                <a:gd name="connsiteX76" fmla="*/ 1002507 w 1378744"/>
                <a:gd name="connsiteY76" fmla="*/ 1133475 h 1250156"/>
                <a:gd name="connsiteX77" fmla="*/ 1028700 w 1378744"/>
                <a:gd name="connsiteY77" fmla="*/ 1126331 h 1250156"/>
                <a:gd name="connsiteX78" fmla="*/ 1031082 w 1378744"/>
                <a:gd name="connsiteY78" fmla="*/ 1097756 h 1250156"/>
                <a:gd name="connsiteX79" fmla="*/ 1057275 w 1378744"/>
                <a:gd name="connsiteY79" fmla="*/ 1085850 h 1250156"/>
                <a:gd name="connsiteX80" fmla="*/ 1076325 w 1378744"/>
                <a:gd name="connsiteY80" fmla="*/ 1097756 h 1250156"/>
                <a:gd name="connsiteX81" fmla="*/ 1100138 w 1378744"/>
                <a:gd name="connsiteY81" fmla="*/ 1107281 h 1250156"/>
                <a:gd name="connsiteX82" fmla="*/ 1123950 w 1378744"/>
                <a:gd name="connsiteY82" fmla="*/ 1121568 h 1250156"/>
                <a:gd name="connsiteX83" fmla="*/ 1143000 w 1378744"/>
                <a:gd name="connsiteY83" fmla="*/ 1123950 h 1250156"/>
                <a:gd name="connsiteX84" fmla="*/ 1157288 w 1378744"/>
                <a:gd name="connsiteY84" fmla="*/ 1112043 h 1250156"/>
                <a:gd name="connsiteX85" fmla="*/ 1159669 w 1378744"/>
                <a:gd name="connsiteY85" fmla="*/ 1085850 h 1250156"/>
                <a:gd name="connsiteX86" fmla="*/ 1166813 w 1378744"/>
                <a:gd name="connsiteY86" fmla="*/ 1052512 h 1250156"/>
                <a:gd name="connsiteX87" fmla="*/ 1197769 w 1378744"/>
                <a:gd name="connsiteY87" fmla="*/ 1016793 h 1250156"/>
                <a:gd name="connsiteX88" fmla="*/ 1195388 w 1378744"/>
                <a:gd name="connsiteY88" fmla="*/ 954881 h 1250156"/>
                <a:gd name="connsiteX89" fmla="*/ 1209675 w 1378744"/>
                <a:gd name="connsiteY89" fmla="*/ 945356 h 1250156"/>
                <a:gd name="connsiteX90" fmla="*/ 1235869 w 1378744"/>
                <a:gd name="connsiteY90" fmla="*/ 945356 h 1250156"/>
                <a:gd name="connsiteX91" fmla="*/ 1235869 w 1378744"/>
                <a:gd name="connsiteY91" fmla="*/ 931068 h 1250156"/>
                <a:gd name="connsiteX92" fmla="*/ 1212057 w 1378744"/>
                <a:gd name="connsiteY92" fmla="*/ 912018 h 1250156"/>
                <a:gd name="connsiteX93" fmla="*/ 1195388 w 1378744"/>
                <a:gd name="connsiteY93" fmla="*/ 881062 h 1250156"/>
                <a:gd name="connsiteX94" fmla="*/ 1157288 w 1378744"/>
                <a:gd name="connsiteY94" fmla="*/ 871537 h 1250156"/>
                <a:gd name="connsiteX95" fmla="*/ 1119188 w 1378744"/>
                <a:gd name="connsiteY95" fmla="*/ 859631 h 1250156"/>
                <a:gd name="connsiteX96" fmla="*/ 1119188 w 1378744"/>
                <a:gd name="connsiteY96" fmla="*/ 831056 h 1250156"/>
                <a:gd name="connsiteX97" fmla="*/ 1135857 w 1378744"/>
                <a:gd name="connsiteY97" fmla="*/ 807243 h 1250156"/>
                <a:gd name="connsiteX98" fmla="*/ 1197769 w 1378744"/>
                <a:gd name="connsiteY98" fmla="*/ 759618 h 1250156"/>
                <a:gd name="connsiteX99" fmla="*/ 1247775 w 1378744"/>
                <a:gd name="connsiteY99" fmla="*/ 762000 h 1250156"/>
                <a:gd name="connsiteX100" fmla="*/ 1278732 w 1378744"/>
                <a:gd name="connsiteY100" fmla="*/ 762000 h 1250156"/>
                <a:gd name="connsiteX101" fmla="*/ 1271588 w 1378744"/>
                <a:gd name="connsiteY101" fmla="*/ 735806 h 1250156"/>
                <a:gd name="connsiteX102" fmla="*/ 1378744 w 1378744"/>
                <a:gd name="connsiteY102" fmla="*/ 678656 h 1250156"/>
                <a:gd name="connsiteX103" fmla="*/ 1331119 w 1378744"/>
                <a:gd name="connsiteY103" fmla="*/ 552450 h 1250156"/>
                <a:gd name="connsiteX104" fmla="*/ 1278732 w 1378744"/>
                <a:gd name="connsiteY104" fmla="*/ 514350 h 1250156"/>
                <a:gd name="connsiteX105" fmla="*/ 1252538 w 1378744"/>
                <a:gd name="connsiteY105" fmla="*/ 431006 h 1250156"/>
                <a:gd name="connsiteX106" fmla="*/ 1181100 w 1378744"/>
                <a:gd name="connsiteY106" fmla="*/ 431006 h 1250156"/>
                <a:gd name="connsiteX107" fmla="*/ 1166813 w 1378744"/>
                <a:gd name="connsiteY107" fmla="*/ 395287 h 1250156"/>
                <a:gd name="connsiteX108" fmla="*/ 1107282 w 1378744"/>
                <a:gd name="connsiteY108" fmla="*/ 421481 h 1250156"/>
                <a:gd name="connsiteX109" fmla="*/ 1054894 w 1378744"/>
                <a:gd name="connsiteY109" fmla="*/ 414337 h 1250156"/>
                <a:gd name="connsiteX110" fmla="*/ 1028700 w 1378744"/>
                <a:gd name="connsiteY110" fmla="*/ 371475 h 1250156"/>
                <a:gd name="connsiteX111" fmla="*/ 1023938 w 1378744"/>
                <a:gd name="connsiteY111" fmla="*/ 288131 h 1250156"/>
                <a:gd name="connsiteX112" fmla="*/ 1012032 w 1378744"/>
                <a:gd name="connsiteY112" fmla="*/ 269081 h 1250156"/>
                <a:gd name="connsiteX113" fmla="*/ 1012032 w 1378744"/>
                <a:gd name="connsiteY113" fmla="*/ 211931 h 1250156"/>
                <a:gd name="connsiteX114" fmla="*/ 959644 w 1378744"/>
                <a:gd name="connsiteY114" fmla="*/ 190500 h 1250156"/>
                <a:gd name="connsiteX115" fmla="*/ 914400 w 1378744"/>
                <a:gd name="connsiteY115" fmla="*/ 111918 h 1250156"/>
                <a:gd name="connsiteX116" fmla="*/ 854869 w 1378744"/>
                <a:gd name="connsiteY116" fmla="*/ 76200 h 1250156"/>
                <a:gd name="connsiteX117" fmla="*/ 873919 w 1378744"/>
                <a:gd name="connsiteY117" fmla="*/ 16668 h 1250156"/>
                <a:gd name="connsiteX118" fmla="*/ 783432 w 1378744"/>
                <a:gd name="connsiteY118" fmla="*/ 0 h 1250156"/>
                <a:gd name="connsiteX0" fmla="*/ 783432 w 1378744"/>
                <a:gd name="connsiteY0" fmla="*/ 0 h 1250156"/>
                <a:gd name="connsiteX1" fmla="*/ 738188 w 1378744"/>
                <a:gd name="connsiteY1" fmla="*/ 26193 h 1250156"/>
                <a:gd name="connsiteX2" fmla="*/ 685800 w 1378744"/>
                <a:gd name="connsiteY2" fmla="*/ 28575 h 1250156"/>
                <a:gd name="connsiteX3" fmla="*/ 635794 w 1378744"/>
                <a:gd name="connsiteY3" fmla="*/ 73818 h 1250156"/>
                <a:gd name="connsiteX4" fmla="*/ 633413 w 1378744"/>
                <a:gd name="connsiteY4" fmla="*/ 114300 h 1250156"/>
                <a:gd name="connsiteX5" fmla="*/ 561975 w 1378744"/>
                <a:gd name="connsiteY5" fmla="*/ 190500 h 1250156"/>
                <a:gd name="connsiteX6" fmla="*/ 519113 w 1378744"/>
                <a:gd name="connsiteY6" fmla="*/ 214312 h 1250156"/>
                <a:gd name="connsiteX7" fmla="*/ 485775 w 1378744"/>
                <a:gd name="connsiteY7" fmla="*/ 252412 h 1250156"/>
                <a:gd name="connsiteX8" fmla="*/ 461963 w 1378744"/>
                <a:gd name="connsiteY8" fmla="*/ 273843 h 1250156"/>
                <a:gd name="connsiteX9" fmla="*/ 423863 w 1378744"/>
                <a:gd name="connsiteY9" fmla="*/ 333375 h 1250156"/>
                <a:gd name="connsiteX10" fmla="*/ 378619 w 1378744"/>
                <a:gd name="connsiteY10" fmla="*/ 357187 h 1250156"/>
                <a:gd name="connsiteX11" fmla="*/ 292894 w 1378744"/>
                <a:gd name="connsiteY11" fmla="*/ 376237 h 1250156"/>
                <a:gd name="connsiteX12" fmla="*/ 264319 w 1378744"/>
                <a:gd name="connsiteY12" fmla="*/ 373856 h 1250156"/>
                <a:gd name="connsiteX13" fmla="*/ 240507 w 1378744"/>
                <a:gd name="connsiteY13" fmla="*/ 359568 h 1250156"/>
                <a:gd name="connsiteX14" fmla="*/ 226219 w 1378744"/>
                <a:gd name="connsiteY14" fmla="*/ 338137 h 1250156"/>
                <a:gd name="connsiteX15" fmla="*/ 219075 w 1378744"/>
                <a:gd name="connsiteY15" fmla="*/ 311943 h 1250156"/>
                <a:gd name="connsiteX16" fmla="*/ 204788 w 1378744"/>
                <a:gd name="connsiteY16" fmla="*/ 309562 h 1250156"/>
                <a:gd name="connsiteX17" fmla="*/ 188119 w 1378744"/>
                <a:gd name="connsiteY17" fmla="*/ 304800 h 1250156"/>
                <a:gd name="connsiteX18" fmla="*/ 173832 w 1378744"/>
                <a:gd name="connsiteY18" fmla="*/ 302418 h 1250156"/>
                <a:gd name="connsiteX19" fmla="*/ 128588 w 1378744"/>
                <a:gd name="connsiteY19" fmla="*/ 352425 h 1250156"/>
                <a:gd name="connsiteX20" fmla="*/ 97632 w 1378744"/>
                <a:gd name="connsiteY20" fmla="*/ 371475 h 1250156"/>
                <a:gd name="connsiteX21" fmla="*/ 80963 w 1378744"/>
                <a:gd name="connsiteY21" fmla="*/ 390525 h 1250156"/>
                <a:gd name="connsiteX22" fmla="*/ 66675 w 1378744"/>
                <a:gd name="connsiteY22" fmla="*/ 435768 h 1250156"/>
                <a:gd name="connsiteX23" fmla="*/ 54769 w 1378744"/>
                <a:gd name="connsiteY23" fmla="*/ 447675 h 1250156"/>
                <a:gd name="connsiteX24" fmla="*/ 9525 w 1378744"/>
                <a:gd name="connsiteY24" fmla="*/ 466725 h 1250156"/>
                <a:gd name="connsiteX25" fmla="*/ 2382 w 1378744"/>
                <a:gd name="connsiteY25" fmla="*/ 481012 h 1250156"/>
                <a:gd name="connsiteX26" fmla="*/ 4763 w 1378744"/>
                <a:gd name="connsiteY26" fmla="*/ 533400 h 1250156"/>
                <a:gd name="connsiteX27" fmla="*/ 0 w 1378744"/>
                <a:gd name="connsiteY27" fmla="*/ 545306 h 1250156"/>
                <a:gd name="connsiteX28" fmla="*/ 73819 w 1378744"/>
                <a:gd name="connsiteY28" fmla="*/ 588168 h 1250156"/>
                <a:gd name="connsiteX29" fmla="*/ 90488 w 1378744"/>
                <a:gd name="connsiteY29" fmla="*/ 628650 h 1250156"/>
                <a:gd name="connsiteX30" fmla="*/ 83344 w 1378744"/>
                <a:gd name="connsiteY30" fmla="*/ 654843 h 1250156"/>
                <a:gd name="connsiteX31" fmla="*/ 73819 w 1378744"/>
                <a:gd name="connsiteY31" fmla="*/ 697706 h 1250156"/>
                <a:gd name="connsiteX32" fmla="*/ 78582 w 1378744"/>
                <a:gd name="connsiteY32" fmla="*/ 726281 h 1250156"/>
                <a:gd name="connsiteX33" fmla="*/ 95250 w 1378744"/>
                <a:gd name="connsiteY33" fmla="*/ 738187 h 1250156"/>
                <a:gd name="connsiteX34" fmla="*/ 116682 w 1378744"/>
                <a:gd name="connsiteY34" fmla="*/ 735806 h 1250156"/>
                <a:gd name="connsiteX35" fmla="*/ 123825 w 1378744"/>
                <a:gd name="connsiteY35" fmla="*/ 762000 h 1250156"/>
                <a:gd name="connsiteX36" fmla="*/ 126207 w 1378744"/>
                <a:gd name="connsiteY36" fmla="*/ 783431 h 1250156"/>
                <a:gd name="connsiteX37" fmla="*/ 152400 w 1378744"/>
                <a:gd name="connsiteY37" fmla="*/ 812006 h 1250156"/>
                <a:gd name="connsiteX38" fmla="*/ 164307 w 1378744"/>
                <a:gd name="connsiteY38" fmla="*/ 823912 h 1250156"/>
                <a:gd name="connsiteX39" fmla="*/ 173832 w 1378744"/>
                <a:gd name="connsiteY39" fmla="*/ 850106 h 1250156"/>
                <a:gd name="connsiteX40" fmla="*/ 169069 w 1378744"/>
                <a:gd name="connsiteY40" fmla="*/ 878681 h 1250156"/>
                <a:gd name="connsiteX41" fmla="*/ 176213 w 1378744"/>
                <a:gd name="connsiteY41" fmla="*/ 897731 h 1250156"/>
                <a:gd name="connsiteX42" fmla="*/ 200025 w 1378744"/>
                <a:gd name="connsiteY42" fmla="*/ 916781 h 1250156"/>
                <a:gd name="connsiteX43" fmla="*/ 226219 w 1378744"/>
                <a:gd name="connsiteY43" fmla="*/ 916781 h 1250156"/>
                <a:gd name="connsiteX44" fmla="*/ 300038 w 1378744"/>
                <a:gd name="connsiteY44" fmla="*/ 921543 h 1250156"/>
                <a:gd name="connsiteX45" fmla="*/ 395288 w 1378744"/>
                <a:gd name="connsiteY45" fmla="*/ 952500 h 1250156"/>
                <a:gd name="connsiteX46" fmla="*/ 414338 w 1378744"/>
                <a:gd name="connsiteY46" fmla="*/ 988218 h 1250156"/>
                <a:gd name="connsiteX47" fmla="*/ 435769 w 1378744"/>
                <a:gd name="connsiteY47" fmla="*/ 992981 h 1250156"/>
                <a:gd name="connsiteX48" fmla="*/ 464344 w 1378744"/>
                <a:gd name="connsiteY48" fmla="*/ 995362 h 1250156"/>
                <a:gd name="connsiteX49" fmla="*/ 507207 w 1378744"/>
                <a:gd name="connsiteY49" fmla="*/ 1026318 h 1250156"/>
                <a:gd name="connsiteX50" fmla="*/ 521494 w 1378744"/>
                <a:gd name="connsiteY50" fmla="*/ 1069181 h 1250156"/>
                <a:gd name="connsiteX51" fmla="*/ 545307 w 1378744"/>
                <a:gd name="connsiteY51" fmla="*/ 1107281 h 1250156"/>
                <a:gd name="connsiteX52" fmla="*/ 573882 w 1378744"/>
                <a:gd name="connsiteY52" fmla="*/ 1121568 h 1250156"/>
                <a:gd name="connsiteX53" fmla="*/ 585788 w 1378744"/>
                <a:gd name="connsiteY53" fmla="*/ 1131093 h 1250156"/>
                <a:gd name="connsiteX54" fmla="*/ 597694 w 1378744"/>
                <a:gd name="connsiteY54" fmla="*/ 1181100 h 1250156"/>
                <a:gd name="connsiteX55" fmla="*/ 633413 w 1378744"/>
                <a:gd name="connsiteY55" fmla="*/ 1250156 h 1250156"/>
                <a:gd name="connsiteX56" fmla="*/ 681038 w 1378744"/>
                <a:gd name="connsiteY56" fmla="*/ 1216817 h 1250156"/>
                <a:gd name="connsiteX57" fmla="*/ 814388 w 1378744"/>
                <a:gd name="connsiteY57" fmla="*/ 1138237 h 1250156"/>
                <a:gd name="connsiteX58" fmla="*/ 828675 w 1378744"/>
                <a:gd name="connsiteY58" fmla="*/ 1109662 h 1250156"/>
                <a:gd name="connsiteX59" fmla="*/ 833438 w 1378744"/>
                <a:gd name="connsiteY59" fmla="*/ 1085850 h 1250156"/>
                <a:gd name="connsiteX60" fmla="*/ 797719 w 1378744"/>
                <a:gd name="connsiteY60" fmla="*/ 1059656 h 1250156"/>
                <a:gd name="connsiteX61" fmla="*/ 790575 w 1378744"/>
                <a:gd name="connsiteY61" fmla="*/ 1038225 h 1250156"/>
                <a:gd name="connsiteX62" fmla="*/ 790575 w 1378744"/>
                <a:gd name="connsiteY62" fmla="*/ 1021556 h 1250156"/>
                <a:gd name="connsiteX63" fmla="*/ 845344 w 1378744"/>
                <a:gd name="connsiteY63" fmla="*/ 952500 h 1250156"/>
                <a:gd name="connsiteX64" fmla="*/ 845344 w 1378744"/>
                <a:gd name="connsiteY64" fmla="*/ 952500 h 1250156"/>
                <a:gd name="connsiteX65" fmla="*/ 888207 w 1378744"/>
                <a:gd name="connsiteY65" fmla="*/ 966787 h 1250156"/>
                <a:gd name="connsiteX66" fmla="*/ 907257 w 1378744"/>
                <a:gd name="connsiteY66" fmla="*/ 981075 h 1250156"/>
                <a:gd name="connsiteX67" fmla="*/ 938213 w 1378744"/>
                <a:gd name="connsiteY67" fmla="*/ 990600 h 1250156"/>
                <a:gd name="connsiteX68" fmla="*/ 964407 w 1378744"/>
                <a:gd name="connsiteY68" fmla="*/ 985837 h 1250156"/>
                <a:gd name="connsiteX69" fmla="*/ 985838 w 1378744"/>
                <a:gd name="connsiteY69" fmla="*/ 985837 h 1250156"/>
                <a:gd name="connsiteX70" fmla="*/ 995363 w 1378744"/>
                <a:gd name="connsiteY70" fmla="*/ 995362 h 1250156"/>
                <a:gd name="connsiteX71" fmla="*/ 978694 w 1378744"/>
                <a:gd name="connsiteY71" fmla="*/ 1012031 h 1250156"/>
                <a:gd name="connsiteX72" fmla="*/ 969169 w 1378744"/>
                <a:gd name="connsiteY72" fmla="*/ 1031081 h 1250156"/>
                <a:gd name="connsiteX73" fmla="*/ 954882 w 1378744"/>
                <a:gd name="connsiteY73" fmla="*/ 1054893 h 1250156"/>
                <a:gd name="connsiteX74" fmla="*/ 950119 w 1378744"/>
                <a:gd name="connsiteY74" fmla="*/ 1083468 h 1250156"/>
                <a:gd name="connsiteX75" fmla="*/ 962025 w 1378744"/>
                <a:gd name="connsiteY75" fmla="*/ 1107281 h 1250156"/>
                <a:gd name="connsiteX76" fmla="*/ 983457 w 1378744"/>
                <a:gd name="connsiteY76" fmla="*/ 1131093 h 1250156"/>
                <a:gd name="connsiteX77" fmla="*/ 1002507 w 1378744"/>
                <a:gd name="connsiteY77" fmla="*/ 1133475 h 1250156"/>
                <a:gd name="connsiteX78" fmla="*/ 1028700 w 1378744"/>
                <a:gd name="connsiteY78" fmla="*/ 1126331 h 1250156"/>
                <a:gd name="connsiteX79" fmla="*/ 1031082 w 1378744"/>
                <a:gd name="connsiteY79" fmla="*/ 1097756 h 1250156"/>
                <a:gd name="connsiteX80" fmla="*/ 1057275 w 1378744"/>
                <a:gd name="connsiteY80" fmla="*/ 1085850 h 1250156"/>
                <a:gd name="connsiteX81" fmla="*/ 1076325 w 1378744"/>
                <a:gd name="connsiteY81" fmla="*/ 1097756 h 1250156"/>
                <a:gd name="connsiteX82" fmla="*/ 1100138 w 1378744"/>
                <a:gd name="connsiteY82" fmla="*/ 1107281 h 1250156"/>
                <a:gd name="connsiteX83" fmla="*/ 1123950 w 1378744"/>
                <a:gd name="connsiteY83" fmla="*/ 1121568 h 1250156"/>
                <a:gd name="connsiteX84" fmla="*/ 1143000 w 1378744"/>
                <a:gd name="connsiteY84" fmla="*/ 1123950 h 1250156"/>
                <a:gd name="connsiteX85" fmla="*/ 1157288 w 1378744"/>
                <a:gd name="connsiteY85" fmla="*/ 1112043 h 1250156"/>
                <a:gd name="connsiteX86" fmla="*/ 1159669 w 1378744"/>
                <a:gd name="connsiteY86" fmla="*/ 1085850 h 1250156"/>
                <a:gd name="connsiteX87" fmla="*/ 1166813 w 1378744"/>
                <a:gd name="connsiteY87" fmla="*/ 1052512 h 1250156"/>
                <a:gd name="connsiteX88" fmla="*/ 1197769 w 1378744"/>
                <a:gd name="connsiteY88" fmla="*/ 1016793 h 1250156"/>
                <a:gd name="connsiteX89" fmla="*/ 1195388 w 1378744"/>
                <a:gd name="connsiteY89" fmla="*/ 954881 h 1250156"/>
                <a:gd name="connsiteX90" fmla="*/ 1209675 w 1378744"/>
                <a:gd name="connsiteY90" fmla="*/ 945356 h 1250156"/>
                <a:gd name="connsiteX91" fmla="*/ 1235869 w 1378744"/>
                <a:gd name="connsiteY91" fmla="*/ 945356 h 1250156"/>
                <a:gd name="connsiteX92" fmla="*/ 1235869 w 1378744"/>
                <a:gd name="connsiteY92" fmla="*/ 931068 h 1250156"/>
                <a:gd name="connsiteX93" fmla="*/ 1212057 w 1378744"/>
                <a:gd name="connsiteY93" fmla="*/ 912018 h 1250156"/>
                <a:gd name="connsiteX94" fmla="*/ 1195388 w 1378744"/>
                <a:gd name="connsiteY94" fmla="*/ 881062 h 1250156"/>
                <a:gd name="connsiteX95" fmla="*/ 1157288 w 1378744"/>
                <a:gd name="connsiteY95" fmla="*/ 871537 h 1250156"/>
                <a:gd name="connsiteX96" fmla="*/ 1119188 w 1378744"/>
                <a:gd name="connsiteY96" fmla="*/ 859631 h 1250156"/>
                <a:gd name="connsiteX97" fmla="*/ 1119188 w 1378744"/>
                <a:gd name="connsiteY97" fmla="*/ 831056 h 1250156"/>
                <a:gd name="connsiteX98" fmla="*/ 1135857 w 1378744"/>
                <a:gd name="connsiteY98" fmla="*/ 807243 h 1250156"/>
                <a:gd name="connsiteX99" fmla="*/ 1197769 w 1378744"/>
                <a:gd name="connsiteY99" fmla="*/ 759618 h 1250156"/>
                <a:gd name="connsiteX100" fmla="*/ 1247775 w 1378744"/>
                <a:gd name="connsiteY100" fmla="*/ 762000 h 1250156"/>
                <a:gd name="connsiteX101" fmla="*/ 1278732 w 1378744"/>
                <a:gd name="connsiteY101" fmla="*/ 762000 h 1250156"/>
                <a:gd name="connsiteX102" fmla="*/ 1271588 w 1378744"/>
                <a:gd name="connsiteY102" fmla="*/ 735806 h 1250156"/>
                <a:gd name="connsiteX103" fmla="*/ 1378744 w 1378744"/>
                <a:gd name="connsiteY103" fmla="*/ 678656 h 1250156"/>
                <a:gd name="connsiteX104" fmla="*/ 1331119 w 1378744"/>
                <a:gd name="connsiteY104" fmla="*/ 552450 h 1250156"/>
                <a:gd name="connsiteX105" fmla="*/ 1278732 w 1378744"/>
                <a:gd name="connsiteY105" fmla="*/ 514350 h 1250156"/>
                <a:gd name="connsiteX106" fmla="*/ 1252538 w 1378744"/>
                <a:gd name="connsiteY106" fmla="*/ 431006 h 1250156"/>
                <a:gd name="connsiteX107" fmla="*/ 1181100 w 1378744"/>
                <a:gd name="connsiteY107" fmla="*/ 431006 h 1250156"/>
                <a:gd name="connsiteX108" fmla="*/ 1166813 w 1378744"/>
                <a:gd name="connsiteY108" fmla="*/ 395287 h 1250156"/>
                <a:gd name="connsiteX109" fmla="*/ 1107282 w 1378744"/>
                <a:gd name="connsiteY109" fmla="*/ 421481 h 1250156"/>
                <a:gd name="connsiteX110" fmla="*/ 1054894 w 1378744"/>
                <a:gd name="connsiteY110" fmla="*/ 414337 h 1250156"/>
                <a:gd name="connsiteX111" fmla="*/ 1028700 w 1378744"/>
                <a:gd name="connsiteY111" fmla="*/ 371475 h 1250156"/>
                <a:gd name="connsiteX112" fmla="*/ 1023938 w 1378744"/>
                <a:gd name="connsiteY112" fmla="*/ 288131 h 1250156"/>
                <a:gd name="connsiteX113" fmla="*/ 1012032 w 1378744"/>
                <a:gd name="connsiteY113" fmla="*/ 269081 h 1250156"/>
                <a:gd name="connsiteX114" fmla="*/ 1012032 w 1378744"/>
                <a:gd name="connsiteY114" fmla="*/ 211931 h 1250156"/>
                <a:gd name="connsiteX115" fmla="*/ 959644 w 1378744"/>
                <a:gd name="connsiteY115" fmla="*/ 190500 h 1250156"/>
                <a:gd name="connsiteX116" fmla="*/ 914400 w 1378744"/>
                <a:gd name="connsiteY116" fmla="*/ 111918 h 1250156"/>
                <a:gd name="connsiteX117" fmla="*/ 854869 w 1378744"/>
                <a:gd name="connsiteY117" fmla="*/ 76200 h 1250156"/>
                <a:gd name="connsiteX118" fmla="*/ 873919 w 1378744"/>
                <a:gd name="connsiteY118" fmla="*/ 16668 h 1250156"/>
                <a:gd name="connsiteX119" fmla="*/ 783432 w 1378744"/>
                <a:gd name="connsiteY119" fmla="*/ 0 h 1250156"/>
                <a:gd name="connsiteX0" fmla="*/ 783432 w 1378744"/>
                <a:gd name="connsiteY0" fmla="*/ 0 h 1278730"/>
                <a:gd name="connsiteX1" fmla="*/ 738188 w 1378744"/>
                <a:gd name="connsiteY1" fmla="*/ 26193 h 1278730"/>
                <a:gd name="connsiteX2" fmla="*/ 685800 w 1378744"/>
                <a:gd name="connsiteY2" fmla="*/ 28575 h 1278730"/>
                <a:gd name="connsiteX3" fmla="*/ 635794 w 1378744"/>
                <a:gd name="connsiteY3" fmla="*/ 73818 h 1278730"/>
                <a:gd name="connsiteX4" fmla="*/ 633413 w 1378744"/>
                <a:gd name="connsiteY4" fmla="*/ 114300 h 1278730"/>
                <a:gd name="connsiteX5" fmla="*/ 561975 w 1378744"/>
                <a:gd name="connsiteY5" fmla="*/ 190500 h 1278730"/>
                <a:gd name="connsiteX6" fmla="*/ 519113 w 1378744"/>
                <a:gd name="connsiteY6" fmla="*/ 214312 h 1278730"/>
                <a:gd name="connsiteX7" fmla="*/ 485775 w 1378744"/>
                <a:gd name="connsiteY7" fmla="*/ 252412 h 1278730"/>
                <a:gd name="connsiteX8" fmla="*/ 461963 w 1378744"/>
                <a:gd name="connsiteY8" fmla="*/ 273843 h 1278730"/>
                <a:gd name="connsiteX9" fmla="*/ 423863 w 1378744"/>
                <a:gd name="connsiteY9" fmla="*/ 333375 h 1278730"/>
                <a:gd name="connsiteX10" fmla="*/ 378619 w 1378744"/>
                <a:gd name="connsiteY10" fmla="*/ 357187 h 1278730"/>
                <a:gd name="connsiteX11" fmla="*/ 292894 w 1378744"/>
                <a:gd name="connsiteY11" fmla="*/ 376237 h 1278730"/>
                <a:gd name="connsiteX12" fmla="*/ 264319 w 1378744"/>
                <a:gd name="connsiteY12" fmla="*/ 373856 h 1278730"/>
                <a:gd name="connsiteX13" fmla="*/ 240507 w 1378744"/>
                <a:gd name="connsiteY13" fmla="*/ 359568 h 1278730"/>
                <a:gd name="connsiteX14" fmla="*/ 226219 w 1378744"/>
                <a:gd name="connsiteY14" fmla="*/ 338137 h 1278730"/>
                <a:gd name="connsiteX15" fmla="*/ 219075 w 1378744"/>
                <a:gd name="connsiteY15" fmla="*/ 311943 h 1278730"/>
                <a:gd name="connsiteX16" fmla="*/ 204788 w 1378744"/>
                <a:gd name="connsiteY16" fmla="*/ 309562 h 1278730"/>
                <a:gd name="connsiteX17" fmla="*/ 188119 w 1378744"/>
                <a:gd name="connsiteY17" fmla="*/ 304800 h 1278730"/>
                <a:gd name="connsiteX18" fmla="*/ 173832 w 1378744"/>
                <a:gd name="connsiteY18" fmla="*/ 302418 h 1278730"/>
                <a:gd name="connsiteX19" fmla="*/ 128588 w 1378744"/>
                <a:gd name="connsiteY19" fmla="*/ 352425 h 1278730"/>
                <a:gd name="connsiteX20" fmla="*/ 97632 w 1378744"/>
                <a:gd name="connsiteY20" fmla="*/ 371475 h 1278730"/>
                <a:gd name="connsiteX21" fmla="*/ 80963 w 1378744"/>
                <a:gd name="connsiteY21" fmla="*/ 390525 h 1278730"/>
                <a:gd name="connsiteX22" fmla="*/ 66675 w 1378744"/>
                <a:gd name="connsiteY22" fmla="*/ 435768 h 1278730"/>
                <a:gd name="connsiteX23" fmla="*/ 54769 w 1378744"/>
                <a:gd name="connsiteY23" fmla="*/ 447675 h 1278730"/>
                <a:gd name="connsiteX24" fmla="*/ 9525 w 1378744"/>
                <a:gd name="connsiteY24" fmla="*/ 466725 h 1278730"/>
                <a:gd name="connsiteX25" fmla="*/ 2382 w 1378744"/>
                <a:gd name="connsiteY25" fmla="*/ 481012 h 1278730"/>
                <a:gd name="connsiteX26" fmla="*/ 4763 w 1378744"/>
                <a:gd name="connsiteY26" fmla="*/ 533400 h 1278730"/>
                <a:gd name="connsiteX27" fmla="*/ 0 w 1378744"/>
                <a:gd name="connsiteY27" fmla="*/ 545306 h 1278730"/>
                <a:gd name="connsiteX28" fmla="*/ 73819 w 1378744"/>
                <a:gd name="connsiteY28" fmla="*/ 588168 h 1278730"/>
                <a:gd name="connsiteX29" fmla="*/ 90488 w 1378744"/>
                <a:gd name="connsiteY29" fmla="*/ 628650 h 1278730"/>
                <a:gd name="connsiteX30" fmla="*/ 83344 w 1378744"/>
                <a:gd name="connsiteY30" fmla="*/ 654843 h 1278730"/>
                <a:gd name="connsiteX31" fmla="*/ 73819 w 1378744"/>
                <a:gd name="connsiteY31" fmla="*/ 697706 h 1278730"/>
                <a:gd name="connsiteX32" fmla="*/ 78582 w 1378744"/>
                <a:gd name="connsiteY32" fmla="*/ 726281 h 1278730"/>
                <a:gd name="connsiteX33" fmla="*/ 95250 w 1378744"/>
                <a:gd name="connsiteY33" fmla="*/ 738187 h 1278730"/>
                <a:gd name="connsiteX34" fmla="*/ 116682 w 1378744"/>
                <a:gd name="connsiteY34" fmla="*/ 735806 h 1278730"/>
                <a:gd name="connsiteX35" fmla="*/ 123825 w 1378744"/>
                <a:gd name="connsiteY35" fmla="*/ 762000 h 1278730"/>
                <a:gd name="connsiteX36" fmla="*/ 126207 w 1378744"/>
                <a:gd name="connsiteY36" fmla="*/ 783431 h 1278730"/>
                <a:gd name="connsiteX37" fmla="*/ 152400 w 1378744"/>
                <a:gd name="connsiteY37" fmla="*/ 812006 h 1278730"/>
                <a:gd name="connsiteX38" fmla="*/ 164307 w 1378744"/>
                <a:gd name="connsiteY38" fmla="*/ 823912 h 1278730"/>
                <a:gd name="connsiteX39" fmla="*/ 173832 w 1378744"/>
                <a:gd name="connsiteY39" fmla="*/ 850106 h 1278730"/>
                <a:gd name="connsiteX40" fmla="*/ 169069 w 1378744"/>
                <a:gd name="connsiteY40" fmla="*/ 878681 h 1278730"/>
                <a:gd name="connsiteX41" fmla="*/ 176213 w 1378744"/>
                <a:gd name="connsiteY41" fmla="*/ 897731 h 1278730"/>
                <a:gd name="connsiteX42" fmla="*/ 200025 w 1378744"/>
                <a:gd name="connsiteY42" fmla="*/ 916781 h 1278730"/>
                <a:gd name="connsiteX43" fmla="*/ 226219 w 1378744"/>
                <a:gd name="connsiteY43" fmla="*/ 916781 h 1278730"/>
                <a:gd name="connsiteX44" fmla="*/ 300038 w 1378744"/>
                <a:gd name="connsiteY44" fmla="*/ 921543 h 1278730"/>
                <a:gd name="connsiteX45" fmla="*/ 395288 w 1378744"/>
                <a:gd name="connsiteY45" fmla="*/ 952500 h 1278730"/>
                <a:gd name="connsiteX46" fmla="*/ 414338 w 1378744"/>
                <a:gd name="connsiteY46" fmla="*/ 988218 h 1278730"/>
                <a:gd name="connsiteX47" fmla="*/ 435769 w 1378744"/>
                <a:gd name="connsiteY47" fmla="*/ 992981 h 1278730"/>
                <a:gd name="connsiteX48" fmla="*/ 464344 w 1378744"/>
                <a:gd name="connsiteY48" fmla="*/ 995362 h 1278730"/>
                <a:gd name="connsiteX49" fmla="*/ 507207 w 1378744"/>
                <a:gd name="connsiteY49" fmla="*/ 1026318 h 1278730"/>
                <a:gd name="connsiteX50" fmla="*/ 521494 w 1378744"/>
                <a:gd name="connsiteY50" fmla="*/ 1069181 h 1278730"/>
                <a:gd name="connsiteX51" fmla="*/ 545307 w 1378744"/>
                <a:gd name="connsiteY51" fmla="*/ 1107281 h 1278730"/>
                <a:gd name="connsiteX52" fmla="*/ 573882 w 1378744"/>
                <a:gd name="connsiteY52" fmla="*/ 1121568 h 1278730"/>
                <a:gd name="connsiteX53" fmla="*/ 585788 w 1378744"/>
                <a:gd name="connsiteY53" fmla="*/ 1131093 h 1278730"/>
                <a:gd name="connsiteX54" fmla="*/ 597694 w 1378744"/>
                <a:gd name="connsiteY54" fmla="*/ 1181100 h 1278730"/>
                <a:gd name="connsiteX55" fmla="*/ 633413 w 1378744"/>
                <a:gd name="connsiteY55" fmla="*/ 1250156 h 1278730"/>
                <a:gd name="connsiteX56" fmla="*/ 692944 w 1378744"/>
                <a:gd name="connsiteY56" fmla="*/ 1278730 h 1278730"/>
                <a:gd name="connsiteX57" fmla="*/ 814388 w 1378744"/>
                <a:gd name="connsiteY57" fmla="*/ 1138237 h 1278730"/>
                <a:gd name="connsiteX58" fmla="*/ 828675 w 1378744"/>
                <a:gd name="connsiteY58" fmla="*/ 1109662 h 1278730"/>
                <a:gd name="connsiteX59" fmla="*/ 833438 w 1378744"/>
                <a:gd name="connsiteY59" fmla="*/ 1085850 h 1278730"/>
                <a:gd name="connsiteX60" fmla="*/ 797719 w 1378744"/>
                <a:gd name="connsiteY60" fmla="*/ 1059656 h 1278730"/>
                <a:gd name="connsiteX61" fmla="*/ 790575 w 1378744"/>
                <a:gd name="connsiteY61" fmla="*/ 1038225 h 1278730"/>
                <a:gd name="connsiteX62" fmla="*/ 790575 w 1378744"/>
                <a:gd name="connsiteY62" fmla="*/ 1021556 h 1278730"/>
                <a:gd name="connsiteX63" fmla="*/ 845344 w 1378744"/>
                <a:gd name="connsiteY63" fmla="*/ 952500 h 1278730"/>
                <a:gd name="connsiteX64" fmla="*/ 845344 w 1378744"/>
                <a:gd name="connsiteY64" fmla="*/ 952500 h 1278730"/>
                <a:gd name="connsiteX65" fmla="*/ 888207 w 1378744"/>
                <a:gd name="connsiteY65" fmla="*/ 966787 h 1278730"/>
                <a:gd name="connsiteX66" fmla="*/ 907257 w 1378744"/>
                <a:gd name="connsiteY66" fmla="*/ 981075 h 1278730"/>
                <a:gd name="connsiteX67" fmla="*/ 938213 w 1378744"/>
                <a:gd name="connsiteY67" fmla="*/ 990600 h 1278730"/>
                <a:gd name="connsiteX68" fmla="*/ 964407 w 1378744"/>
                <a:gd name="connsiteY68" fmla="*/ 985837 h 1278730"/>
                <a:gd name="connsiteX69" fmla="*/ 985838 w 1378744"/>
                <a:gd name="connsiteY69" fmla="*/ 985837 h 1278730"/>
                <a:gd name="connsiteX70" fmla="*/ 995363 w 1378744"/>
                <a:gd name="connsiteY70" fmla="*/ 995362 h 1278730"/>
                <a:gd name="connsiteX71" fmla="*/ 978694 w 1378744"/>
                <a:gd name="connsiteY71" fmla="*/ 1012031 h 1278730"/>
                <a:gd name="connsiteX72" fmla="*/ 969169 w 1378744"/>
                <a:gd name="connsiteY72" fmla="*/ 1031081 h 1278730"/>
                <a:gd name="connsiteX73" fmla="*/ 954882 w 1378744"/>
                <a:gd name="connsiteY73" fmla="*/ 1054893 h 1278730"/>
                <a:gd name="connsiteX74" fmla="*/ 950119 w 1378744"/>
                <a:gd name="connsiteY74" fmla="*/ 1083468 h 1278730"/>
                <a:gd name="connsiteX75" fmla="*/ 962025 w 1378744"/>
                <a:gd name="connsiteY75" fmla="*/ 1107281 h 1278730"/>
                <a:gd name="connsiteX76" fmla="*/ 983457 w 1378744"/>
                <a:gd name="connsiteY76" fmla="*/ 1131093 h 1278730"/>
                <a:gd name="connsiteX77" fmla="*/ 1002507 w 1378744"/>
                <a:gd name="connsiteY77" fmla="*/ 1133475 h 1278730"/>
                <a:gd name="connsiteX78" fmla="*/ 1028700 w 1378744"/>
                <a:gd name="connsiteY78" fmla="*/ 1126331 h 1278730"/>
                <a:gd name="connsiteX79" fmla="*/ 1031082 w 1378744"/>
                <a:gd name="connsiteY79" fmla="*/ 1097756 h 1278730"/>
                <a:gd name="connsiteX80" fmla="*/ 1057275 w 1378744"/>
                <a:gd name="connsiteY80" fmla="*/ 1085850 h 1278730"/>
                <a:gd name="connsiteX81" fmla="*/ 1076325 w 1378744"/>
                <a:gd name="connsiteY81" fmla="*/ 1097756 h 1278730"/>
                <a:gd name="connsiteX82" fmla="*/ 1100138 w 1378744"/>
                <a:gd name="connsiteY82" fmla="*/ 1107281 h 1278730"/>
                <a:gd name="connsiteX83" fmla="*/ 1123950 w 1378744"/>
                <a:gd name="connsiteY83" fmla="*/ 1121568 h 1278730"/>
                <a:gd name="connsiteX84" fmla="*/ 1143000 w 1378744"/>
                <a:gd name="connsiteY84" fmla="*/ 1123950 h 1278730"/>
                <a:gd name="connsiteX85" fmla="*/ 1157288 w 1378744"/>
                <a:gd name="connsiteY85" fmla="*/ 1112043 h 1278730"/>
                <a:gd name="connsiteX86" fmla="*/ 1159669 w 1378744"/>
                <a:gd name="connsiteY86" fmla="*/ 1085850 h 1278730"/>
                <a:gd name="connsiteX87" fmla="*/ 1166813 w 1378744"/>
                <a:gd name="connsiteY87" fmla="*/ 1052512 h 1278730"/>
                <a:gd name="connsiteX88" fmla="*/ 1197769 w 1378744"/>
                <a:gd name="connsiteY88" fmla="*/ 1016793 h 1278730"/>
                <a:gd name="connsiteX89" fmla="*/ 1195388 w 1378744"/>
                <a:gd name="connsiteY89" fmla="*/ 954881 h 1278730"/>
                <a:gd name="connsiteX90" fmla="*/ 1209675 w 1378744"/>
                <a:gd name="connsiteY90" fmla="*/ 945356 h 1278730"/>
                <a:gd name="connsiteX91" fmla="*/ 1235869 w 1378744"/>
                <a:gd name="connsiteY91" fmla="*/ 945356 h 1278730"/>
                <a:gd name="connsiteX92" fmla="*/ 1235869 w 1378744"/>
                <a:gd name="connsiteY92" fmla="*/ 931068 h 1278730"/>
                <a:gd name="connsiteX93" fmla="*/ 1212057 w 1378744"/>
                <a:gd name="connsiteY93" fmla="*/ 912018 h 1278730"/>
                <a:gd name="connsiteX94" fmla="*/ 1195388 w 1378744"/>
                <a:gd name="connsiteY94" fmla="*/ 881062 h 1278730"/>
                <a:gd name="connsiteX95" fmla="*/ 1157288 w 1378744"/>
                <a:gd name="connsiteY95" fmla="*/ 871537 h 1278730"/>
                <a:gd name="connsiteX96" fmla="*/ 1119188 w 1378744"/>
                <a:gd name="connsiteY96" fmla="*/ 859631 h 1278730"/>
                <a:gd name="connsiteX97" fmla="*/ 1119188 w 1378744"/>
                <a:gd name="connsiteY97" fmla="*/ 831056 h 1278730"/>
                <a:gd name="connsiteX98" fmla="*/ 1135857 w 1378744"/>
                <a:gd name="connsiteY98" fmla="*/ 807243 h 1278730"/>
                <a:gd name="connsiteX99" fmla="*/ 1197769 w 1378744"/>
                <a:gd name="connsiteY99" fmla="*/ 759618 h 1278730"/>
                <a:gd name="connsiteX100" fmla="*/ 1247775 w 1378744"/>
                <a:gd name="connsiteY100" fmla="*/ 762000 h 1278730"/>
                <a:gd name="connsiteX101" fmla="*/ 1278732 w 1378744"/>
                <a:gd name="connsiteY101" fmla="*/ 762000 h 1278730"/>
                <a:gd name="connsiteX102" fmla="*/ 1271588 w 1378744"/>
                <a:gd name="connsiteY102" fmla="*/ 735806 h 1278730"/>
                <a:gd name="connsiteX103" fmla="*/ 1378744 w 1378744"/>
                <a:gd name="connsiteY103" fmla="*/ 678656 h 1278730"/>
                <a:gd name="connsiteX104" fmla="*/ 1331119 w 1378744"/>
                <a:gd name="connsiteY104" fmla="*/ 552450 h 1278730"/>
                <a:gd name="connsiteX105" fmla="*/ 1278732 w 1378744"/>
                <a:gd name="connsiteY105" fmla="*/ 514350 h 1278730"/>
                <a:gd name="connsiteX106" fmla="*/ 1252538 w 1378744"/>
                <a:gd name="connsiteY106" fmla="*/ 431006 h 1278730"/>
                <a:gd name="connsiteX107" fmla="*/ 1181100 w 1378744"/>
                <a:gd name="connsiteY107" fmla="*/ 431006 h 1278730"/>
                <a:gd name="connsiteX108" fmla="*/ 1166813 w 1378744"/>
                <a:gd name="connsiteY108" fmla="*/ 395287 h 1278730"/>
                <a:gd name="connsiteX109" fmla="*/ 1107282 w 1378744"/>
                <a:gd name="connsiteY109" fmla="*/ 421481 h 1278730"/>
                <a:gd name="connsiteX110" fmla="*/ 1054894 w 1378744"/>
                <a:gd name="connsiteY110" fmla="*/ 414337 h 1278730"/>
                <a:gd name="connsiteX111" fmla="*/ 1028700 w 1378744"/>
                <a:gd name="connsiteY111" fmla="*/ 371475 h 1278730"/>
                <a:gd name="connsiteX112" fmla="*/ 1023938 w 1378744"/>
                <a:gd name="connsiteY112" fmla="*/ 288131 h 1278730"/>
                <a:gd name="connsiteX113" fmla="*/ 1012032 w 1378744"/>
                <a:gd name="connsiteY113" fmla="*/ 269081 h 1278730"/>
                <a:gd name="connsiteX114" fmla="*/ 1012032 w 1378744"/>
                <a:gd name="connsiteY114" fmla="*/ 211931 h 1278730"/>
                <a:gd name="connsiteX115" fmla="*/ 959644 w 1378744"/>
                <a:gd name="connsiteY115" fmla="*/ 190500 h 1278730"/>
                <a:gd name="connsiteX116" fmla="*/ 914400 w 1378744"/>
                <a:gd name="connsiteY116" fmla="*/ 111918 h 1278730"/>
                <a:gd name="connsiteX117" fmla="*/ 854869 w 1378744"/>
                <a:gd name="connsiteY117" fmla="*/ 76200 h 1278730"/>
                <a:gd name="connsiteX118" fmla="*/ 873919 w 1378744"/>
                <a:gd name="connsiteY118" fmla="*/ 16668 h 1278730"/>
                <a:gd name="connsiteX119" fmla="*/ 783432 w 1378744"/>
                <a:gd name="connsiteY119" fmla="*/ 0 h 1278730"/>
                <a:gd name="connsiteX0" fmla="*/ 783432 w 1378744"/>
                <a:gd name="connsiteY0" fmla="*/ 0 h 1278730"/>
                <a:gd name="connsiteX1" fmla="*/ 738188 w 1378744"/>
                <a:gd name="connsiteY1" fmla="*/ 26193 h 1278730"/>
                <a:gd name="connsiteX2" fmla="*/ 685800 w 1378744"/>
                <a:gd name="connsiteY2" fmla="*/ 28575 h 1278730"/>
                <a:gd name="connsiteX3" fmla="*/ 635794 w 1378744"/>
                <a:gd name="connsiteY3" fmla="*/ 73818 h 1278730"/>
                <a:gd name="connsiteX4" fmla="*/ 633413 w 1378744"/>
                <a:gd name="connsiteY4" fmla="*/ 114300 h 1278730"/>
                <a:gd name="connsiteX5" fmla="*/ 561975 w 1378744"/>
                <a:gd name="connsiteY5" fmla="*/ 190500 h 1278730"/>
                <a:gd name="connsiteX6" fmla="*/ 519113 w 1378744"/>
                <a:gd name="connsiteY6" fmla="*/ 214312 h 1278730"/>
                <a:gd name="connsiteX7" fmla="*/ 485775 w 1378744"/>
                <a:gd name="connsiteY7" fmla="*/ 252412 h 1278730"/>
                <a:gd name="connsiteX8" fmla="*/ 461963 w 1378744"/>
                <a:gd name="connsiteY8" fmla="*/ 273843 h 1278730"/>
                <a:gd name="connsiteX9" fmla="*/ 423863 w 1378744"/>
                <a:gd name="connsiteY9" fmla="*/ 333375 h 1278730"/>
                <a:gd name="connsiteX10" fmla="*/ 378619 w 1378744"/>
                <a:gd name="connsiteY10" fmla="*/ 357187 h 1278730"/>
                <a:gd name="connsiteX11" fmla="*/ 292894 w 1378744"/>
                <a:gd name="connsiteY11" fmla="*/ 376237 h 1278730"/>
                <a:gd name="connsiteX12" fmla="*/ 264319 w 1378744"/>
                <a:gd name="connsiteY12" fmla="*/ 373856 h 1278730"/>
                <a:gd name="connsiteX13" fmla="*/ 240507 w 1378744"/>
                <a:gd name="connsiteY13" fmla="*/ 359568 h 1278730"/>
                <a:gd name="connsiteX14" fmla="*/ 226219 w 1378744"/>
                <a:gd name="connsiteY14" fmla="*/ 338137 h 1278730"/>
                <a:gd name="connsiteX15" fmla="*/ 219075 w 1378744"/>
                <a:gd name="connsiteY15" fmla="*/ 311943 h 1278730"/>
                <a:gd name="connsiteX16" fmla="*/ 204788 w 1378744"/>
                <a:gd name="connsiteY16" fmla="*/ 309562 h 1278730"/>
                <a:gd name="connsiteX17" fmla="*/ 188119 w 1378744"/>
                <a:gd name="connsiteY17" fmla="*/ 304800 h 1278730"/>
                <a:gd name="connsiteX18" fmla="*/ 173832 w 1378744"/>
                <a:gd name="connsiteY18" fmla="*/ 302418 h 1278730"/>
                <a:gd name="connsiteX19" fmla="*/ 128588 w 1378744"/>
                <a:gd name="connsiteY19" fmla="*/ 352425 h 1278730"/>
                <a:gd name="connsiteX20" fmla="*/ 97632 w 1378744"/>
                <a:gd name="connsiteY20" fmla="*/ 371475 h 1278730"/>
                <a:gd name="connsiteX21" fmla="*/ 80963 w 1378744"/>
                <a:gd name="connsiteY21" fmla="*/ 390525 h 1278730"/>
                <a:gd name="connsiteX22" fmla="*/ 66675 w 1378744"/>
                <a:gd name="connsiteY22" fmla="*/ 435768 h 1278730"/>
                <a:gd name="connsiteX23" fmla="*/ 54769 w 1378744"/>
                <a:gd name="connsiteY23" fmla="*/ 447675 h 1278730"/>
                <a:gd name="connsiteX24" fmla="*/ 9525 w 1378744"/>
                <a:gd name="connsiteY24" fmla="*/ 466725 h 1278730"/>
                <a:gd name="connsiteX25" fmla="*/ 2382 w 1378744"/>
                <a:gd name="connsiteY25" fmla="*/ 481012 h 1278730"/>
                <a:gd name="connsiteX26" fmla="*/ 4763 w 1378744"/>
                <a:gd name="connsiteY26" fmla="*/ 533400 h 1278730"/>
                <a:gd name="connsiteX27" fmla="*/ 0 w 1378744"/>
                <a:gd name="connsiteY27" fmla="*/ 545306 h 1278730"/>
                <a:gd name="connsiteX28" fmla="*/ 73819 w 1378744"/>
                <a:gd name="connsiteY28" fmla="*/ 588168 h 1278730"/>
                <a:gd name="connsiteX29" fmla="*/ 90488 w 1378744"/>
                <a:gd name="connsiteY29" fmla="*/ 628650 h 1278730"/>
                <a:gd name="connsiteX30" fmla="*/ 83344 w 1378744"/>
                <a:gd name="connsiteY30" fmla="*/ 654843 h 1278730"/>
                <a:gd name="connsiteX31" fmla="*/ 73819 w 1378744"/>
                <a:gd name="connsiteY31" fmla="*/ 697706 h 1278730"/>
                <a:gd name="connsiteX32" fmla="*/ 78582 w 1378744"/>
                <a:gd name="connsiteY32" fmla="*/ 726281 h 1278730"/>
                <a:gd name="connsiteX33" fmla="*/ 95250 w 1378744"/>
                <a:gd name="connsiteY33" fmla="*/ 738187 h 1278730"/>
                <a:gd name="connsiteX34" fmla="*/ 116682 w 1378744"/>
                <a:gd name="connsiteY34" fmla="*/ 735806 h 1278730"/>
                <a:gd name="connsiteX35" fmla="*/ 123825 w 1378744"/>
                <a:gd name="connsiteY35" fmla="*/ 762000 h 1278730"/>
                <a:gd name="connsiteX36" fmla="*/ 126207 w 1378744"/>
                <a:gd name="connsiteY36" fmla="*/ 783431 h 1278730"/>
                <a:gd name="connsiteX37" fmla="*/ 152400 w 1378744"/>
                <a:gd name="connsiteY37" fmla="*/ 812006 h 1278730"/>
                <a:gd name="connsiteX38" fmla="*/ 164307 w 1378744"/>
                <a:gd name="connsiteY38" fmla="*/ 823912 h 1278730"/>
                <a:gd name="connsiteX39" fmla="*/ 173832 w 1378744"/>
                <a:gd name="connsiteY39" fmla="*/ 850106 h 1278730"/>
                <a:gd name="connsiteX40" fmla="*/ 169069 w 1378744"/>
                <a:gd name="connsiteY40" fmla="*/ 878681 h 1278730"/>
                <a:gd name="connsiteX41" fmla="*/ 176213 w 1378744"/>
                <a:gd name="connsiteY41" fmla="*/ 897731 h 1278730"/>
                <a:gd name="connsiteX42" fmla="*/ 200025 w 1378744"/>
                <a:gd name="connsiteY42" fmla="*/ 916781 h 1278730"/>
                <a:gd name="connsiteX43" fmla="*/ 226219 w 1378744"/>
                <a:gd name="connsiteY43" fmla="*/ 916781 h 1278730"/>
                <a:gd name="connsiteX44" fmla="*/ 300038 w 1378744"/>
                <a:gd name="connsiteY44" fmla="*/ 921543 h 1278730"/>
                <a:gd name="connsiteX45" fmla="*/ 395288 w 1378744"/>
                <a:gd name="connsiteY45" fmla="*/ 952500 h 1278730"/>
                <a:gd name="connsiteX46" fmla="*/ 414338 w 1378744"/>
                <a:gd name="connsiteY46" fmla="*/ 988218 h 1278730"/>
                <a:gd name="connsiteX47" fmla="*/ 435769 w 1378744"/>
                <a:gd name="connsiteY47" fmla="*/ 992981 h 1278730"/>
                <a:gd name="connsiteX48" fmla="*/ 464344 w 1378744"/>
                <a:gd name="connsiteY48" fmla="*/ 995362 h 1278730"/>
                <a:gd name="connsiteX49" fmla="*/ 507207 w 1378744"/>
                <a:gd name="connsiteY49" fmla="*/ 1026318 h 1278730"/>
                <a:gd name="connsiteX50" fmla="*/ 521494 w 1378744"/>
                <a:gd name="connsiteY50" fmla="*/ 1069181 h 1278730"/>
                <a:gd name="connsiteX51" fmla="*/ 545307 w 1378744"/>
                <a:gd name="connsiteY51" fmla="*/ 1107281 h 1278730"/>
                <a:gd name="connsiteX52" fmla="*/ 573882 w 1378744"/>
                <a:gd name="connsiteY52" fmla="*/ 1121568 h 1278730"/>
                <a:gd name="connsiteX53" fmla="*/ 585788 w 1378744"/>
                <a:gd name="connsiteY53" fmla="*/ 1131093 h 1278730"/>
                <a:gd name="connsiteX54" fmla="*/ 597694 w 1378744"/>
                <a:gd name="connsiteY54" fmla="*/ 1181100 h 1278730"/>
                <a:gd name="connsiteX55" fmla="*/ 633413 w 1378744"/>
                <a:gd name="connsiteY55" fmla="*/ 1250156 h 1278730"/>
                <a:gd name="connsiteX56" fmla="*/ 692944 w 1378744"/>
                <a:gd name="connsiteY56" fmla="*/ 1278730 h 1278730"/>
                <a:gd name="connsiteX57" fmla="*/ 721519 w 1378744"/>
                <a:gd name="connsiteY57" fmla="*/ 1245392 h 1278730"/>
                <a:gd name="connsiteX58" fmla="*/ 814388 w 1378744"/>
                <a:gd name="connsiteY58" fmla="*/ 1138237 h 1278730"/>
                <a:gd name="connsiteX59" fmla="*/ 828675 w 1378744"/>
                <a:gd name="connsiteY59" fmla="*/ 1109662 h 1278730"/>
                <a:gd name="connsiteX60" fmla="*/ 833438 w 1378744"/>
                <a:gd name="connsiteY60" fmla="*/ 1085850 h 1278730"/>
                <a:gd name="connsiteX61" fmla="*/ 797719 w 1378744"/>
                <a:gd name="connsiteY61" fmla="*/ 1059656 h 1278730"/>
                <a:gd name="connsiteX62" fmla="*/ 790575 w 1378744"/>
                <a:gd name="connsiteY62" fmla="*/ 1038225 h 1278730"/>
                <a:gd name="connsiteX63" fmla="*/ 790575 w 1378744"/>
                <a:gd name="connsiteY63" fmla="*/ 1021556 h 1278730"/>
                <a:gd name="connsiteX64" fmla="*/ 845344 w 1378744"/>
                <a:gd name="connsiteY64" fmla="*/ 952500 h 1278730"/>
                <a:gd name="connsiteX65" fmla="*/ 845344 w 1378744"/>
                <a:gd name="connsiteY65" fmla="*/ 952500 h 1278730"/>
                <a:gd name="connsiteX66" fmla="*/ 888207 w 1378744"/>
                <a:gd name="connsiteY66" fmla="*/ 966787 h 1278730"/>
                <a:gd name="connsiteX67" fmla="*/ 907257 w 1378744"/>
                <a:gd name="connsiteY67" fmla="*/ 981075 h 1278730"/>
                <a:gd name="connsiteX68" fmla="*/ 938213 w 1378744"/>
                <a:gd name="connsiteY68" fmla="*/ 990600 h 1278730"/>
                <a:gd name="connsiteX69" fmla="*/ 964407 w 1378744"/>
                <a:gd name="connsiteY69" fmla="*/ 985837 h 1278730"/>
                <a:gd name="connsiteX70" fmla="*/ 985838 w 1378744"/>
                <a:gd name="connsiteY70" fmla="*/ 985837 h 1278730"/>
                <a:gd name="connsiteX71" fmla="*/ 995363 w 1378744"/>
                <a:gd name="connsiteY71" fmla="*/ 995362 h 1278730"/>
                <a:gd name="connsiteX72" fmla="*/ 978694 w 1378744"/>
                <a:gd name="connsiteY72" fmla="*/ 1012031 h 1278730"/>
                <a:gd name="connsiteX73" fmla="*/ 969169 w 1378744"/>
                <a:gd name="connsiteY73" fmla="*/ 1031081 h 1278730"/>
                <a:gd name="connsiteX74" fmla="*/ 954882 w 1378744"/>
                <a:gd name="connsiteY74" fmla="*/ 1054893 h 1278730"/>
                <a:gd name="connsiteX75" fmla="*/ 950119 w 1378744"/>
                <a:gd name="connsiteY75" fmla="*/ 1083468 h 1278730"/>
                <a:gd name="connsiteX76" fmla="*/ 962025 w 1378744"/>
                <a:gd name="connsiteY76" fmla="*/ 1107281 h 1278730"/>
                <a:gd name="connsiteX77" fmla="*/ 983457 w 1378744"/>
                <a:gd name="connsiteY77" fmla="*/ 1131093 h 1278730"/>
                <a:gd name="connsiteX78" fmla="*/ 1002507 w 1378744"/>
                <a:gd name="connsiteY78" fmla="*/ 1133475 h 1278730"/>
                <a:gd name="connsiteX79" fmla="*/ 1028700 w 1378744"/>
                <a:gd name="connsiteY79" fmla="*/ 1126331 h 1278730"/>
                <a:gd name="connsiteX80" fmla="*/ 1031082 w 1378744"/>
                <a:gd name="connsiteY80" fmla="*/ 1097756 h 1278730"/>
                <a:gd name="connsiteX81" fmla="*/ 1057275 w 1378744"/>
                <a:gd name="connsiteY81" fmla="*/ 1085850 h 1278730"/>
                <a:gd name="connsiteX82" fmla="*/ 1076325 w 1378744"/>
                <a:gd name="connsiteY82" fmla="*/ 1097756 h 1278730"/>
                <a:gd name="connsiteX83" fmla="*/ 1100138 w 1378744"/>
                <a:gd name="connsiteY83" fmla="*/ 1107281 h 1278730"/>
                <a:gd name="connsiteX84" fmla="*/ 1123950 w 1378744"/>
                <a:gd name="connsiteY84" fmla="*/ 1121568 h 1278730"/>
                <a:gd name="connsiteX85" fmla="*/ 1143000 w 1378744"/>
                <a:gd name="connsiteY85" fmla="*/ 1123950 h 1278730"/>
                <a:gd name="connsiteX86" fmla="*/ 1157288 w 1378744"/>
                <a:gd name="connsiteY86" fmla="*/ 1112043 h 1278730"/>
                <a:gd name="connsiteX87" fmla="*/ 1159669 w 1378744"/>
                <a:gd name="connsiteY87" fmla="*/ 1085850 h 1278730"/>
                <a:gd name="connsiteX88" fmla="*/ 1166813 w 1378744"/>
                <a:gd name="connsiteY88" fmla="*/ 1052512 h 1278730"/>
                <a:gd name="connsiteX89" fmla="*/ 1197769 w 1378744"/>
                <a:gd name="connsiteY89" fmla="*/ 1016793 h 1278730"/>
                <a:gd name="connsiteX90" fmla="*/ 1195388 w 1378744"/>
                <a:gd name="connsiteY90" fmla="*/ 954881 h 1278730"/>
                <a:gd name="connsiteX91" fmla="*/ 1209675 w 1378744"/>
                <a:gd name="connsiteY91" fmla="*/ 945356 h 1278730"/>
                <a:gd name="connsiteX92" fmla="*/ 1235869 w 1378744"/>
                <a:gd name="connsiteY92" fmla="*/ 945356 h 1278730"/>
                <a:gd name="connsiteX93" fmla="*/ 1235869 w 1378744"/>
                <a:gd name="connsiteY93" fmla="*/ 931068 h 1278730"/>
                <a:gd name="connsiteX94" fmla="*/ 1212057 w 1378744"/>
                <a:gd name="connsiteY94" fmla="*/ 912018 h 1278730"/>
                <a:gd name="connsiteX95" fmla="*/ 1195388 w 1378744"/>
                <a:gd name="connsiteY95" fmla="*/ 881062 h 1278730"/>
                <a:gd name="connsiteX96" fmla="*/ 1157288 w 1378744"/>
                <a:gd name="connsiteY96" fmla="*/ 871537 h 1278730"/>
                <a:gd name="connsiteX97" fmla="*/ 1119188 w 1378744"/>
                <a:gd name="connsiteY97" fmla="*/ 859631 h 1278730"/>
                <a:gd name="connsiteX98" fmla="*/ 1119188 w 1378744"/>
                <a:gd name="connsiteY98" fmla="*/ 831056 h 1278730"/>
                <a:gd name="connsiteX99" fmla="*/ 1135857 w 1378744"/>
                <a:gd name="connsiteY99" fmla="*/ 807243 h 1278730"/>
                <a:gd name="connsiteX100" fmla="*/ 1197769 w 1378744"/>
                <a:gd name="connsiteY100" fmla="*/ 759618 h 1278730"/>
                <a:gd name="connsiteX101" fmla="*/ 1247775 w 1378744"/>
                <a:gd name="connsiteY101" fmla="*/ 762000 h 1278730"/>
                <a:gd name="connsiteX102" fmla="*/ 1278732 w 1378744"/>
                <a:gd name="connsiteY102" fmla="*/ 762000 h 1278730"/>
                <a:gd name="connsiteX103" fmla="*/ 1271588 w 1378744"/>
                <a:gd name="connsiteY103" fmla="*/ 735806 h 1278730"/>
                <a:gd name="connsiteX104" fmla="*/ 1378744 w 1378744"/>
                <a:gd name="connsiteY104" fmla="*/ 678656 h 1278730"/>
                <a:gd name="connsiteX105" fmla="*/ 1331119 w 1378744"/>
                <a:gd name="connsiteY105" fmla="*/ 552450 h 1278730"/>
                <a:gd name="connsiteX106" fmla="*/ 1278732 w 1378744"/>
                <a:gd name="connsiteY106" fmla="*/ 514350 h 1278730"/>
                <a:gd name="connsiteX107" fmla="*/ 1252538 w 1378744"/>
                <a:gd name="connsiteY107" fmla="*/ 431006 h 1278730"/>
                <a:gd name="connsiteX108" fmla="*/ 1181100 w 1378744"/>
                <a:gd name="connsiteY108" fmla="*/ 431006 h 1278730"/>
                <a:gd name="connsiteX109" fmla="*/ 1166813 w 1378744"/>
                <a:gd name="connsiteY109" fmla="*/ 395287 h 1278730"/>
                <a:gd name="connsiteX110" fmla="*/ 1107282 w 1378744"/>
                <a:gd name="connsiteY110" fmla="*/ 421481 h 1278730"/>
                <a:gd name="connsiteX111" fmla="*/ 1054894 w 1378744"/>
                <a:gd name="connsiteY111" fmla="*/ 414337 h 1278730"/>
                <a:gd name="connsiteX112" fmla="*/ 1028700 w 1378744"/>
                <a:gd name="connsiteY112" fmla="*/ 371475 h 1278730"/>
                <a:gd name="connsiteX113" fmla="*/ 1023938 w 1378744"/>
                <a:gd name="connsiteY113" fmla="*/ 288131 h 1278730"/>
                <a:gd name="connsiteX114" fmla="*/ 1012032 w 1378744"/>
                <a:gd name="connsiteY114" fmla="*/ 269081 h 1278730"/>
                <a:gd name="connsiteX115" fmla="*/ 1012032 w 1378744"/>
                <a:gd name="connsiteY115" fmla="*/ 211931 h 1278730"/>
                <a:gd name="connsiteX116" fmla="*/ 959644 w 1378744"/>
                <a:gd name="connsiteY116" fmla="*/ 190500 h 1278730"/>
                <a:gd name="connsiteX117" fmla="*/ 914400 w 1378744"/>
                <a:gd name="connsiteY117" fmla="*/ 111918 h 1278730"/>
                <a:gd name="connsiteX118" fmla="*/ 854869 w 1378744"/>
                <a:gd name="connsiteY118" fmla="*/ 76200 h 1278730"/>
                <a:gd name="connsiteX119" fmla="*/ 873919 w 1378744"/>
                <a:gd name="connsiteY119" fmla="*/ 16668 h 1278730"/>
                <a:gd name="connsiteX120" fmla="*/ 783432 w 1378744"/>
                <a:gd name="connsiteY120" fmla="*/ 0 h 1278730"/>
                <a:gd name="connsiteX0" fmla="*/ 783432 w 1378744"/>
                <a:gd name="connsiteY0" fmla="*/ 0 h 1288255"/>
                <a:gd name="connsiteX1" fmla="*/ 738188 w 1378744"/>
                <a:gd name="connsiteY1" fmla="*/ 26193 h 1288255"/>
                <a:gd name="connsiteX2" fmla="*/ 685800 w 1378744"/>
                <a:gd name="connsiteY2" fmla="*/ 28575 h 1288255"/>
                <a:gd name="connsiteX3" fmla="*/ 635794 w 1378744"/>
                <a:gd name="connsiteY3" fmla="*/ 73818 h 1288255"/>
                <a:gd name="connsiteX4" fmla="*/ 633413 w 1378744"/>
                <a:gd name="connsiteY4" fmla="*/ 114300 h 1288255"/>
                <a:gd name="connsiteX5" fmla="*/ 561975 w 1378744"/>
                <a:gd name="connsiteY5" fmla="*/ 190500 h 1288255"/>
                <a:gd name="connsiteX6" fmla="*/ 519113 w 1378744"/>
                <a:gd name="connsiteY6" fmla="*/ 214312 h 1288255"/>
                <a:gd name="connsiteX7" fmla="*/ 485775 w 1378744"/>
                <a:gd name="connsiteY7" fmla="*/ 252412 h 1288255"/>
                <a:gd name="connsiteX8" fmla="*/ 461963 w 1378744"/>
                <a:gd name="connsiteY8" fmla="*/ 273843 h 1288255"/>
                <a:gd name="connsiteX9" fmla="*/ 423863 w 1378744"/>
                <a:gd name="connsiteY9" fmla="*/ 333375 h 1288255"/>
                <a:gd name="connsiteX10" fmla="*/ 378619 w 1378744"/>
                <a:gd name="connsiteY10" fmla="*/ 357187 h 1288255"/>
                <a:gd name="connsiteX11" fmla="*/ 292894 w 1378744"/>
                <a:gd name="connsiteY11" fmla="*/ 376237 h 1288255"/>
                <a:gd name="connsiteX12" fmla="*/ 264319 w 1378744"/>
                <a:gd name="connsiteY12" fmla="*/ 373856 h 1288255"/>
                <a:gd name="connsiteX13" fmla="*/ 240507 w 1378744"/>
                <a:gd name="connsiteY13" fmla="*/ 359568 h 1288255"/>
                <a:gd name="connsiteX14" fmla="*/ 226219 w 1378744"/>
                <a:gd name="connsiteY14" fmla="*/ 338137 h 1288255"/>
                <a:gd name="connsiteX15" fmla="*/ 219075 w 1378744"/>
                <a:gd name="connsiteY15" fmla="*/ 311943 h 1288255"/>
                <a:gd name="connsiteX16" fmla="*/ 204788 w 1378744"/>
                <a:gd name="connsiteY16" fmla="*/ 309562 h 1288255"/>
                <a:gd name="connsiteX17" fmla="*/ 188119 w 1378744"/>
                <a:gd name="connsiteY17" fmla="*/ 304800 h 1288255"/>
                <a:gd name="connsiteX18" fmla="*/ 173832 w 1378744"/>
                <a:gd name="connsiteY18" fmla="*/ 302418 h 1288255"/>
                <a:gd name="connsiteX19" fmla="*/ 128588 w 1378744"/>
                <a:gd name="connsiteY19" fmla="*/ 352425 h 1288255"/>
                <a:gd name="connsiteX20" fmla="*/ 97632 w 1378744"/>
                <a:gd name="connsiteY20" fmla="*/ 371475 h 1288255"/>
                <a:gd name="connsiteX21" fmla="*/ 80963 w 1378744"/>
                <a:gd name="connsiteY21" fmla="*/ 390525 h 1288255"/>
                <a:gd name="connsiteX22" fmla="*/ 66675 w 1378744"/>
                <a:gd name="connsiteY22" fmla="*/ 435768 h 1288255"/>
                <a:gd name="connsiteX23" fmla="*/ 54769 w 1378744"/>
                <a:gd name="connsiteY23" fmla="*/ 447675 h 1288255"/>
                <a:gd name="connsiteX24" fmla="*/ 9525 w 1378744"/>
                <a:gd name="connsiteY24" fmla="*/ 466725 h 1288255"/>
                <a:gd name="connsiteX25" fmla="*/ 2382 w 1378744"/>
                <a:gd name="connsiteY25" fmla="*/ 481012 h 1288255"/>
                <a:gd name="connsiteX26" fmla="*/ 4763 w 1378744"/>
                <a:gd name="connsiteY26" fmla="*/ 533400 h 1288255"/>
                <a:gd name="connsiteX27" fmla="*/ 0 w 1378744"/>
                <a:gd name="connsiteY27" fmla="*/ 545306 h 1288255"/>
                <a:gd name="connsiteX28" fmla="*/ 73819 w 1378744"/>
                <a:gd name="connsiteY28" fmla="*/ 588168 h 1288255"/>
                <a:gd name="connsiteX29" fmla="*/ 90488 w 1378744"/>
                <a:gd name="connsiteY29" fmla="*/ 628650 h 1288255"/>
                <a:gd name="connsiteX30" fmla="*/ 83344 w 1378744"/>
                <a:gd name="connsiteY30" fmla="*/ 654843 h 1288255"/>
                <a:gd name="connsiteX31" fmla="*/ 73819 w 1378744"/>
                <a:gd name="connsiteY31" fmla="*/ 697706 h 1288255"/>
                <a:gd name="connsiteX32" fmla="*/ 78582 w 1378744"/>
                <a:gd name="connsiteY32" fmla="*/ 726281 h 1288255"/>
                <a:gd name="connsiteX33" fmla="*/ 95250 w 1378744"/>
                <a:gd name="connsiteY33" fmla="*/ 738187 h 1288255"/>
                <a:gd name="connsiteX34" fmla="*/ 116682 w 1378744"/>
                <a:gd name="connsiteY34" fmla="*/ 735806 h 1288255"/>
                <a:gd name="connsiteX35" fmla="*/ 123825 w 1378744"/>
                <a:gd name="connsiteY35" fmla="*/ 762000 h 1288255"/>
                <a:gd name="connsiteX36" fmla="*/ 126207 w 1378744"/>
                <a:gd name="connsiteY36" fmla="*/ 783431 h 1288255"/>
                <a:gd name="connsiteX37" fmla="*/ 152400 w 1378744"/>
                <a:gd name="connsiteY37" fmla="*/ 812006 h 1288255"/>
                <a:gd name="connsiteX38" fmla="*/ 164307 w 1378744"/>
                <a:gd name="connsiteY38" fmla="*/ 823912 h 1288255"/>
                <a:gd name="connsiteX39" fmla="*/ 173832 w 1378744"/>
                <a:gd name="connsiteY39" fmla="*/ 850106 h 1288255"/>
                <a:gd name="connsiteX40" fmla="*/ 169069 w 1378744"/>
                <a:gd name="connsiteY40" fmla="*/ 878681 h 1288255"/>
                <a:gd name="connsiteX41" fmla="*/ 176213 w 1378744"/>
                <a:gd name="connsiteY41" fmla="*/ 897731 h 1288255"/>
                <a:gd name="connsiteX42" fmla="*/ 200025 w 1378744"/>
                <a:gd name="connsiteY42" fmla="*/ 916781 h 1288255"/>
                <a:gd name="connsiteX43" fmla="*/ 226219 w 1378744"/>
                <a:gd name="connsiteY43" fmla="*/ 916781 h 1288255"/>
                <a:gd name="connsiteX44" fmla="*/ 300038 w 1378744"/>
                <a:gd name="connsiteY44" fmla="*/ 921543 h 1288255"/>
                <a:gd name="connsiteX45" fmla="*/ 395288 w 1378744"/>
                <a:gd name="connsiteY45" fmla="*/ 952500 h 1288255"/>
                <a:gd name="connsiteX46" fmla="*/ 414338 w 1378744"/>
                <a:gd name="connsiteY46" fmla="*/ 988218 h 1288255"/>
                <a:gd name="connsiteX47" fmla="*/ 435769 w 1378744"/>
                <a:gd name="connsiteY47" fmla="*/ 992981 h 1288255"/>
                <a:gd name="connsiteX48" fmla="*/ 464344 w 1378744"/>
                <a:gd name="connsiteY48" fmla="*/ 995362 h 1288255"/>
                <a:gd name="connsiteX49" fmla="*/ 507207 w 1378744"/>
                <a:gd name="connsiteY49" fmla="*/ 1026318 h 1288255"/>
                <a:gd name="connsiteX50" fmla="*/ 521494 w 1378744"/>
                <a:gd name="connsiteY50" fmla="*/ 1069181 h 1288255"/>
                <a:gd name="connsiteX51" fmla="*/ 545307 w 1378744"/>
                <a:gd name="connsiteY51" fmla="*/ 1107281 h 1288255"/>
                <a:gd name="connsiteX52" fmla="*/ 573882 w 1378744"/>
                <a:gd name="connsiteY52" fmla="*/ 1121568 h 1288255"/>
                <a:gd name="connsiteX53" fmla="*/ 585788 w 1378744"/>
                <a:gd name="connsiteY53" fmla="*/ 1131093 h 1288255"/>
                <a:gd name="connsiteX54" fmla="*/ 597694 w 1378744"/>
                <a:gd name="connsiteY54" fmla="*/ 1181100 h 1288255"/>
                <a:gd name="connsiteX55" fmla="*/ 633413 w 1378744"/>
                <a:gd name="connsiteY55" fmla="*/ 1250156 h 1288255"/>
                <a:gd name="connsiteX56" fmla="*/ 692944 w 1378744"/>
                <a:gd name="connsiteY56" fmla="*/ 1278730 h 1288255"/>
                <a:gd name="connsiteX57" fmla="*/ 728663 w 1378744"/>
                <a:gd name="connsiteY57" fmla="*/ 1288255 h 1288255"/>
                <a:gd name="connsiteX58" fmla="*/ 814388 w 1378744"/>
                <a:gd name="connsiteY58" fmla="*/ 1138237 h 1288255"/>
                <a:gd name="connsiteX59" fmla="*/ 828675 w 1378744"/>
                <a:gd name="connsiteY59" fmla="*/ 1109662 h 1288255"/>
                <a:gd name="connsiteX60" fmla="*/ 833438 w 1378744"/>
                <a:gd name="connsiteY60" fmla="*/ 1085850 h 1288255"/>
                <a:gd name="connsiteX61" fmla="*/ 797719 w 1378744"/>
                <a:gd name="connsiteY61" fmla="*/ 1059656 h 1288255"/>
                <a:gd name="connsiteX62" fmla="*/ 790575 w 1378744"/>
                <a:gd name="connsiteY62" fmla="*/ 1038225 h 1288255"/>
                <a:gd name="connsiteX63" fmla="*/ 790575 w 1378744"/>
                <a:gd name="connsiteY63" fmla="*/ 1021556 h 1288255"/>
                <a:gd name="connsiteX64" fmla="*/ 845344 w 1378744"/>
                <a:gd name="connsiteY64" fmla="*/ 952500 h 1288255"/>
                <a:gd name="connsiteX65" fmla="*/ 845344 w 1378744"/>
                <a:gd name="connsiteY65" fmla="*/ 952500 h 1288255"/>
                <a:gd name="connsiteX66" fmla="*/ 888207 w 1378744"/>
                <a:gd name="connsiteY66" fmla="*/ 966787 h 1288255"/>
                <a:gd name="connsiteX67" fmla="*/ 907257 w 1378744"/>
                <a:gd name="connsiteY67" fmla="*/ 981075 h 1288255"/>
                <a:gd name="connsiteX68" fmla="*/ 938213 w 1378744"/>
                <a:gd name="connsiteY68" fmla="*/ 990600 h 1288255"/>
                <a:gd name="connsiteX69" fmla="*/ 964407 w 1378744"/>
                <a:gd name="connsiteY69" fmla="*/ 985837 h 1288255"/>
                <a:gd name="connsiteX70" fmla="*/ 985838 w 1378744"/>
                <a:gd name="connsiteY70" fmla="*/ 985837 h 1288255"/>
                <a:gd name="connsiteX71" fmla="*/ 995363 w 1378744"/>
                <a:gd name="connsiteY71" fmla="*/ 995362 h 1288255"/>
                <a:gd name="connsiteX72" fmla="*/ 978694 w 1378744"/>
                <a:gd name="connsiteY72" fmla="*/ 1012031 h 1288255"/>
                <a:gd name="connsiteX73" fmla="*/ 969169 w 1378744"/>
                <a:gd name="connsiteY73" fmla="*/ 1031081 h 1288255"/>
                <a:gd name="connsiteX74" fmla="*/ 954882 w 1378744"/>
                <a:gd name="connsiteY74" fmla="*/ 1054893 h 1288255"/>
                <a:gd name="connsiteX75" fmla="*/ 950119 w 1378744"/>
                <a:gd name="connsiteY75" fmla="*/ 1083468 h 1288255"/>
                <a:gd name="connsiteX76" fmla="*/ 962025 w 1378744"/>
                <a:gd name="connsiteY76" fmla="*/ 1107281 h 1288255"/>
                <a:gd name="connsiteX77" fmla="*/ 983457 w 1378744"/>
                <a:gd name="connsiteY77" fmla="*/ 1131093 h 1288255"/>
                <a:gd name="connsiteX78" fmla="*/ 1002507 w 1378744"/>
                <a:gd name="connsiteY78" fmla="*/ 1133475 h 1288255"/>
                <a:gd name="connsiteX79" fmla="*/ 1028700 w 1378744"/>
                <a:gd name="connsiteY79" fmla="*/ 1126331 h 1288255"/>
                <a:gd name="connsiteX80" fmla="*/ 1031082 w 1378744"/>
                <a:gd name="connsiteY80" fmla="*/ 1097756 h 1288255"/>
                <a:gd name="connsiteX81" fmla="*/ 1057275 w 1378744"/>
                <a:gd name="connsiteY81" fmla="*/ 1085850 h 1288255"/>
                <a:gd name="connsiteX82" fmla="*/ 1076325 w 1378744"/>
                <a:gd name="connsiteY82" fmla="*/ 1097756 h 1288255"/>
                <a:gd name="connsiteX83" fmla="*/ 1100138 w 1378744"/>
                <a:gd name="connsiteY83" fmla="*/ 1107281 h 1288255"/>
                <a:gd name="connsiteX84" fmla="*/ 1123950 w 1378744"/>
                <a:gd name="connsiteY84" fmla="*/ 1121568 h 1288255"/>
                <a:gd name="connsiteX85" fmla="*/ 1143000 w 1378744"/>
                <a:gd name="connsiteY85" fmla="*/ 1123950 h 1288255"/>
                <a:gd name="connsiteX86" fmla="*/ 1157288 w 1378744"/>
                <a:gd name="connsiteY86" fmla="*/ 1112043 h 1288255"/>
                <a:gd name="connsiteX87" fmla="*/ 1159669 w 1378744"/>
                <a:gd name="connsiteY87" fmla="*/ 1085850 h 1288255"/>
                <a:gd name="connsiteX88" fmla="*/ 1166813 w 1378744"/>
                <a:gd name="connsiteY88" fmla="*/ 1052512 h 1288255"/>
                <a:gd name="connsiteX89" fmla="*/ 1197769 w 1378744"/>
                <a:gd name="connsiteY89" fmla="*/ 1016793 h 1288255"/>
                <a:gd name="connsiteX90" fmla="*/ 1195388 w 1378744"/>
                <a:gd name="connsiteY90" fmla="*/ 954881 h 1288255"/>
                <a:gd name="connsiteX91" fmla="*/ 1209675 w 1378744"/>
                <a:gd name="connsiteY91" fmla="*/ 945356 h 1288255"/>
                <a:gd name="connsiteX92" fmla="*/ 1235869 w 1378744"/>
                <a:gd name="connsiteY92" fmla="*/ 945356 h 1288255"/>
                <a:gd name="connsiteX93" fmla="*/ 1235869 w 1378744"/>
                <a:gd name="connsiteY93" fmla="*/ 931068 h 1288255"/>
                <a:gd name="connsiteX94" fmla="*/ 1212057 w 1378744"/>
                <a:gd name="connsiteY94" fmla="*/ 912018 h 1288255"/>
                <a:gd name="connsiteX95" fmla="*/ 1195388 w 1378744"/>
                <a:gd name="connsiteY95" fmla="*/ 881062 h 1288255"/>
                <a:gd name="connsiteX96" fmla="*/ 1157288 w 1378744"/>
                <a:gd name="connsiteY96" fmla="*/ 871537 h 1288255"/>
                <a:gd name="connsiteX97" fmla="*/ 1119188 w 1378744"/>
                <a:gd name="connsiteY97" fmla="*/ 859631 h 1288255"/>
                <a:gd name="connsiteX98" fmla="*/ 1119188 w 1378744"/>
                <a:gd name="connsiteY98" fmla="*/ 831056 h 1288255"/>
                <a:gd name="connsiteX99" fmla="*/ 1135857 w 1378744"/>
                <a:gd name="connsiteY99" fmla="*/ 807243 h 1288255"/>
                <a:gd name="connsiteX100" fmla="*/ 1197769 w 1378744"/>
                <a:gd name="connsiteY100" fmla="*/ 759618 h 1288255"/>
                <a:gd name="connsiteX101" fmla="*/ 1247775 w 1378744"/>
                <a:gd name="connsiteY101" fmla="*/ 762000 h 1288255"/>
                <a:gd name="connsiteX102" fmla="*/ 1278732 w 1378744"/>
                <a:gd name="connsiteY102" fmla="*/ 762000 h 1288255"/>
                <a:gd name="connsiteX103" fmla="*/ 1271588 w 1378744"/>
                <a:gd name="connsiteY103" fmla="*/ 735806 h 1288255"/>
                <a:gd name="connsiteX104" fmla="*/ 1378744 w 1378744"/>
                <a:gd name="connsiteY104" fmla="*/ 678656 h 1288255"/>
                <a:gd name="connsiteX105" fmla="*/ 1331119 w 1378744"/>
                <a:gd name="connsiteY105" fmla="*/ 552450 h 1288255"/>
                <a:gd name="connsiteX106" fmla="*/ 1278732 w 1378744"/>
                <a:gd name="connsiteY106" fmla="*/ 514350 h 1288255"/>
                <a:gd name="connsiteX107" fmla="*/ 1252538 w 1378744"/>
                <a:gd name="connsiteY107" fmla="*/ 431006 h 1288255"/>
                <a:gd name="connsiteX108" fmla="*/ 1181100 w 1378744"/>
                <a:gd name="connsiteY108" fmla="*/ 431006 h 1288255"/>
                <a:gd name="connsiteX109" fmla="*/ 1166813 w 1378744"/>
                <a:gd name="connsiteY109" fmla="*/ 395287 h 1288255"/>
                <a:gd name="connsiteX110" fmla="*/ 1107282 w 1378744"/>
                <a:gd name="connsiteY110" fmla="*/ 421481 h 1288255"/>
                <a:gd name="connsiteX111" fmla="*/ 1054894 w 1378744"/>
                <a:gd name="connsiteY111" fmla="*/ 414337 h 1288255"/>
                <a:gd name="connsiteX112" fmla="*/ 1028700 w 1378744"/>
                <a:gd name="connsiteY112" fmla="*/ 371475 h 1288255"/>
                <a:gd name="connsiteX113" fmla="*/ 1023938 w 1378744"/>
                <a:gd name="connsiteY113" fmla="*/ 288131 h 1288255"/>
                <a:gd name="connsiteX114" fmla="*/ 1012032 w 1378744"/>
                <a:gd name="connsiteY114" fmla="*/ 269081 h 1288255"/>
                <a:gd name="connsiteX115" fmla="*/ 1012032 w 1378744"/>
                <a:gd name="connsiteY115" fmla="*/ 211931 h 1288255"/>
                <a:gd name="connsiteX116" fmla="*/ 959644 w 1378744"/>
                <a:gd name="connsiteY116" fmla="*/ 190500 h 1288255"/>
                <a:gd name="connsiteX117" fmla="*/ 914400 w 1378744"/>
                <a:gd name="connsiteY117" fmla="*/ 111918 h 1288255"/>
                <a:gd name="connsiteX118" fmla="*/ 854869 w 1378744"/>
                <a:gd name="connsiteY118" fmla="*/ 76200 h 1288255"/>
                <a:gd name="connsiteX119" fmla="*/ 873919 w 1378744"/>
                <a:gd name="connsiteY119" fmla="*/ 16668 h 1288255"/>
                <a:gd name="connsiteX120" fmla="*/ 783432 w 1378744"/>
                <a:gd name="connsiteY120" fmla="*/ 0 h 1288255"/>
                <a:gd name="connsiteX0" fmla="*/ 783432 w 1378744"/>
                <a:gd name="connsiteY0" fmla="*/ 0 h 1288255"/>
                <a:gd name="connsiteX1" fmla="*/ 738188 w 1378744"/>
                <a:gd name="connsiteY1" fmla="*/ 26193 h 1288255"/>
                <a:gd name="connsiteX2" fmla="*/ 685800 w 1378744"/>
                <a:gd name="connsiteY2" fmla="*/ 28575 h 1288255"/>
                <a:gd name="connsiteX3" fmla="*/ 635794 w 1378744"/>
                <a:gd name="connsiteY3" fmla="*/ 73818 h 1288255"/>
                <a:gd name="connsiteX4" fmla="*/ 633413 w 1378744"/>
                <a:gd name="connsiteY4" fmla="*/ 114300 h 1288255"/>
                <a:gd name="connsiteX5" fmla="*/ 561975 w 1378744"/>
                <a:gd name="connsiteY5" fmla="*/ 190500 h 1288255"/>
                <a:gd name="connsiteX6" fmla="*/ 519113 w 1378744"/>
                <a:gd name="connsiteY6" fmla="*/ 214312 h 1288255"/>
                <a:gd name="connsiteX7" fmla="*/ 485775 w 1378744"/>
                <a:gd name="connsiteY7" fmla="*/ 252412 h 1288255"/>
                <a:gd name="connsiteX8" fmla="*/ 461963 w 1378744"/>
                <a:gd name="connsiteY8" fmla="*/ 273843 h 1288255"/>
                <a:gd name="connsiteX9" fmla="*/ 423863 w 1378744"/>
                <a:gd name="connsiteY9" fmla="*/ 333375 h 1288255"/>
                <a:gd name="connsiteX10" fmla="*/ 378619 w 1378744"/>
                <a:gd name="connsiteY10" fmla="*/ 357187 h 1288255"/>
                <a:gd name="connsiteX11" fmla="*/ 292894 w 1378744"/>
                <a:gd name="connsiteY11" fmla="*/ 376237 h 1288255"/>
                <a:gd name="connsiteX12" fmla="*/ 264319 w 1378744"/>
                <a:gd name="connsiteY12" fmla="*/ 373856 h 1288255"/>
                <a:gd name="connsiteX13" fmla="*/ 240507 w 1378744"/>
                <a:gd name="connsiteY13" fmla="*/ 359568 h 1288255"/>
                <a:gd name="connsiteX14" fmla="*/ 226219 w 1378744"/>
                <a:gd name="connsiteY14" fmla="*/ 338137 h 1288255"/>
                <a:gd name="connsiteX15" fmla="*/ 219075 w 1378744"/>
                <a:gd name="connsiteY15" fmla="*/ 311943 h 1288255"/>
                <a:gd name="connsiteX16" fmla="*/ 204788 w 1378744"/>
                <a:gd name="connsiteY16" fmla="*/ 309562 h 1288255"/>
                <a:gd name="connsiteX17" fmla="*/ 188119 w 1378744"/>
                <a:gd name="connsiteY17" fmla="*/ 304800 h 1288255"/>
                <a:gd name="connsiteX18" fmla="*/ 173832 w 1378744"/>
                <a:gd name="connsiteY18" fmla="*/ 302418 h 1288255"/>
                <a:gd name="connsiteX19" fmla="*/ 128588 w 1378744"/>
                <a:gd name="connsiteY19" fmla="*/ 352425 h 1288255"/>
                <a:gd name="connsiteX20" fmla="*/ 97632 w 1378744"/>
                <a:gd name="connsiteY20" fmla="*/ 371475 h 1288255"/>
                <a:gd name="connsiteX21" fmla="*/ 80963 w 1378744"/>
                <a:gd name="connsiteY21" fmla="*/ 390525 h 1288255"/>
                <a:gd name="connsiteX22" fmla="*/ 66675 w 1378744"/>
                <a:gd name="connsiteY22" fmla="*/ 435768 h 1288255"/>
                <a:gd name="connsiteX23" fmla="*/ 54769 w 1378744"/>
                <a:gd name="connsiteY23" fmla="*/ 447675 h 1288255"/>
                <a:gd name="connsiteX24" fmla="*/ 9525 w 1378744"/>
                <a:gd name="connsiteY24" fmla="*/ 466725 h 1288255"/>
                <a:gd name="connsiteX25" fmla="*/ 2382 w 1378744"/>
                <a:gd name="connsiteY25" fmla="*/ 481012 h 1288255"/>
                <a:gd name="connsiteX26" fmla="*/ 4763 w 1378744"/>
                <a:gd name="connsiteY26" fmla="*/ 533400 h 1288255"/>
                <a:gd name="connsiteX27" fmla="*/ 0 w 1378744"/>
                <a:gd name="connsiteY27" fmla="*/ 545306 h 1288255"/>
                <a:gd name="connsiteX28" fmla="*/ 73819 w 1378744"/>
                <a:gd name="connsiteY28" fmla="*/ 588168 h 1288255"/>
                <a:gd name="connsiteX29" fmla="*/ 90488 w 1378744"/>
                <a:gd name="connsiteY29" fmla="*/ 628650 h 1288255"/>
                <a:gd name="connsiteX30" fmla="*/ 83344 w 1378744"/>
                <a:gd name="connsiteY30" fmla="*/ 654843 h 1288255"/>
                <a:gd name="connsiteX31" fmla="*/ 73819 w 1378744"/>
                <a:gd name="connsiteY31" fmla="*/ 697706 h 1288255"/>
                <a:gd name="connsiteX32" fmla="*/ 78582 w 1378744"/>
                <a:gd name="connsiteY32" fmla="*/ 726281 h 1288255"/>
                <a:gd name="connsiteX33" fmla="*/ 95250 w 1378744"/>
                <a:gd name="connsiteY33" fmla="*/ 738187 h 1288255"/>
                <a:gd name="connsiteX34" fmla="*/ 116682 w 1378744"/>
                <a:gd name="connsiteY34" fmla="*/ 735806 h 1288255"/>
                <a:gd name="connsiteX35" fmla="*/ 123825 w 1378744"/>
                <a:gd name="connsiteY35" fmla="*/ 762000 h 1288255"/>
                <a:gd name="connsiteX36" fmla="*/ 126207 w 1378744"/>
                <a:gd name="connsiteY36" fmla="*/ 783431 h 1288255"/>
                <a:gd name="connsiteX37" fmla="*/ 152400 w 1378744"/>
                <a:gd name="connsiteY37" fmla="*/ 812006 h 1288255"/>
                <a:gd name="connsiteX38" fmla="*/ 164307 w 1378744"/>
                <a:gd name="connsiteY38" fmla="*/ 823912 h 1288255"/>
                <a:gd name="connsiteX39" fmla="*/ 173832 w 1378744"/>
                <a:gd name="connsiteY39" fmla="*/ 850106 h 1288255"/>
                <a:gd name="connsiteX40" fmla="*/ 169069 w 1378744"/>
                <a:gd name="connsiteY40" fmla="*/ 878681 h 1288255"/>
                <a:gd name="connsiteX41" fmla="*/ 176213 w 1378744"/>
                <a:gd name="connsiteY41" fmla="*/ 897731 h 1288255"/>
                <a:gd name="connsiteX42" fmla="*/ 200025 w 1378744"/>
                <a:gd name="connsiteY42" fmla="*/ 916781 h 1288255"/>
                <a:gd name="connsiteX43" fmla="*/ 226219 w 1378744"/>
                <a:gd name="connsiteY43" fmla="*/ 916781 h 1288255"/>
                <a:gd name="connsiteX44" fmla="*/ 300038 w 1378744"/>
                <a:gd name="connsiteY44" fmla="*/ 921543 h 1288255"/>
                <a:gd name="connsiteX45" fmla="*/ 395288 w 1378744"/>
                <a:gd name="connsiteY45" fmla="*/ 952500 h 1288255"/>
                <a:gd name="connsiteX46" fmla="*/ 414338 w 1378744"/>
                <a:gd name="connsiteY46" fmla="*/ 988218 h 1288255"/>
                <a:gd name="connsiteX47" fmla="*/ 435769 w 1378744"/>
                <a:gd name="connsiteY47" fmla="*/ 992981 h 1288255"/>
                <a:gd name="connsiteX48" fmla="*/ 464344 w 1378744"/>
                <a:gd name="connsiteY48" fmla="*/ 995362 h 1288255"/>
                <a:gd name="connsiteX49" fmla="*/ 507207 w 1378744"/>
                <a:gd name="connsiteY49" fmla="*/ 1026318 h 1288255"/>
                <a:gd name="connsiteX50" fmla="*/ 521494 w 1378744"/>
                <a:gd name="connsiteY50" fmla="*/ 1069181 h 1288255"/>
                <a:gd name="connsiteX51" fmla="*/ 545307 w 1378744"/>
                <a:gd name="connsiteY51" fmla="*/ 1107281 h 1288255"/>
                <a:gd name="connsiteX52" fmla="*/ 573882 w 1378744"/>
                <a:gd name="connsiteY52" fmla="*/ 1121568 h 1288255"/>
                <a:gd name="connsiteX53" fmla="*/ 585788 w 1378744"/>
                <a:gd name="connsiteY53" fmla="*/ 1131093 h 1288255"/>
                <a:gd name="connsiteX54" fmla="*/ 597694 w 1378744"/>
                <a:gd name="connsiteY54" fmla="*/ 1181100 h 1288255"/>
                <a:gd name="connsiteX55" fmla="*/ 633413 w 1378744"/>
                <a:gd name="connsiteY55" fmla="*/ 1250156 h 1288255"/>
                <a:gd name="connsiteX56" fmla="*/ 692944 w 1378744"/>
                <a:gd name="connsiteY56" fmla="*/ 1278730 h 1288255"/>
                <a:gd name="connsiteX57" fmla="*/ 728663 w 1378744"/>
                <a:gd name="connsiteY57" fmla="*/ 1288255 h 1288255"/>
                <a:gd name="connsiteX58" fmla="*/ 747713 w 1378744"/>
                <a:gd name="connsiteY58" fmla="*/ 1257299 h 1288255"/>
                <a:gd name="connsiteX59" fmla="*/ 814388 w 1378744"/>
                <a:gd name="connsiteY59" fmla="*/ 1138237 h 1288255"/>
                <a:gd name="connsiteX60" fmla="*/ 828675 w 1378744"/>
                <a:gd name="connsiteY60" fmla="*/ 1109662 h 1288255"/>
                <a:gd name="connsiteX61" fmla="*/ 833438 w 1378744"/>
                <a:gd name="connsiteY61" fmla="*/ 1085850 h 1288255"/>
                <a:gd name="connsiteX62" fmla="*/ 797719 w 1378744"/>
                <a:gd name="connsiteY62" fmla="*/ 1059656 h 1288255"/>
                <a:gd name="connsiteX63" fmla="*/ 790575 w 1378744"/>
                <a:gd name="connsiteY63" fmla="*/ 1038225 h 1288255"/>
                <a:gd name="connsiteX64" fmla="*/ 790575 w 1378744"/>
                <a:gd name="connsiteY64" fmla="*/ 1021556 h 1288255"/>
                <a:gd name="connsiteX65" fmla="*/ 845344 w 1378744"/>
                <a:gd name="connsiteY65" fmla="*/ 952500 h 1288255"/>
                <a:gd name="connsiteX66" fmla="*/ 845344 w 1378744"/>
                <a:gd name="connsiteY66" fmla="*/ 952500 h 1288255"/>
                <a:gd name="connsiteX67" fmla="*/ 888207 w 1378744"/>
                <a:gd name="connsiteY67" fmla="*/ 966787 h 1288255"/>
                <a:gd name="connsiteX68" fmla="*/ 907257 w 1378744"/>
                <a:gd name="connsiteY68" fmla="*/ 981075 h 1288255"/>
                <a:gd name="connsiteX69" fmla="*/ 938213 w 1378744"/>
                <a:gd name="connsiteY69" fmla="*/ 990600 h 1288255"/>
                <a:gd name="connsiteX70" fmla="*/ 964407 w 1378744"/>
                <a:gd name="connsiteY70" fmla="*/ 985837 h 1288255"/>
                <a:gd name="connsiteX71" fmla="*/ 985838 w 1378744"/>
                <a:gd name="connsiteY71" fmla="*/ 985837 h 1288255"/>
                <a:gd name="connsiteX72" fmla="*/ 995363 w 1378744"/>
                <a:gd name="connsiteY72" fmla="*/ 995362 h 1288255"/>
                <a:gd name="connsiteX73" fmla="*/ 978694 w 1378744"/>
                <a:gd name="connsiteY73" fmla="*/ 1012031 h 1288255"/>
                <a:gd name="connsiteX74" fmla="*/ 969169 w 1378744"/>
                <a:gd name="connsiteY74" fmla="*/ 1031081 h 1288255"/>
                <a:gd name="connsiteX75" fmla="*/ 954882 w 1378744"/>
                <a:gd name="connsiteY75" fmla="*/ 1054893 h 1288255"/>
                <a:gd name="connsiteX76" fmla="*/ 950119 w 1378744"/>
                <a:gd name="connsiteY76" fmla="*/ 1083468 h 1288255"/>
                <a:gd name="connsiteX77" fmla="*/ 962025 w 1378744"/>
                <a:gd name="connsiteY77" fmla="*/ 1107281 h 1288255"/>
                <a:gd name="connsiteX78" fmla="*/ 983457 w 1378744"/>
                <a:gd name="connsiteY78" fmla="*/ 1131093 h 1288255"/>
                <a:gd name="connsiteX79" fmla="*/ 1002507 w 1378744"/>
                <a:gd name="connsiteY79" fmla="*/ 1133475 h 1288255"/>
                <a:gd name="connsiteX80" fmla="*/ 1028700 w 1378744"/>
                <a:gd name="connsiteY80" fmla="*/ 1126331 h 1288255"/>
                <a:gd name="connsiteX81" fmla="*/ 1031082 w 1378744"/>
                <a:gd name="connsiteY81" fmla="*/ 1097756 h 1288255"/>
                <a:gd name="connsiteX82" fmla="*/ 1057275 w 1378744"/>
                <a:gd name="connsiteY82" fmla="*/ 1085850 h 1288255"/>
                <a:gd name="connsiteX83" fmla="*/ 1076325 w 1378744"/>
                <a:gd name="connsiteY83" fmla="*/ 1097756 h 1288255"/>
                <a:gd name="connsiteX84" fmla="*/ 1100138 w 1378744"/>
                <a:gd name="connsiteY84" fmla="*/ 1107281 h 1288255"/>
                <a:gd name="connsiteX85" fmla="*/ 1123950 w 1378744"/>
                <a:gd name="connsiteY85" fmla="*/ 1121568 h 1288255"/>
                <a:gd name="connsiteX86" fmla="*/ 1143000 w 1378744"/>
                <a:gd name="connsiteY86" fmla="*/ 1123950 h 1288255"/>
                <a:gd name="connsiteX87" fmla="*/ 1157288 w 1378744"/>
                <a:gd name="connsiteY87" fmla="*/ 1112043 h 1288255"/>
                <a:gd name="connsiteX88" fmla="*/ 1159669 w 1378744"/>
                <a:gd name="connsiteY88" fmla="*/ 1085850 h 1288255"/>
                <a:gd name="connsiteX89" fmla="*/ 1166813 w 1378744"/>
                <a:gd name="connsiteY89" fmla="*/ 1052512 h 1288255"/>
                <a:gd name="connsiteX90" fmla="*/ 1197769 w 1378744"/>
                <a:gd name="connsiteY90" fmla="*/ 1016793 h 1288255"/>
                <a:gd name="connsiteX91" fmla="*/ 1195388 w 1378744"/>
                <a:gd name="connsiteY91" fmla="*/ 954881 h 1288255"/>
                <a:gd name="connsiteX92" fmla="*/ 1209675 w 1378744"/>
                <a:gd name="connsiteY92" fmla="*/ 945356 h 1288255"/>
                <a:gd name="connsiteX93" fmla="*/ 1235869 w 1378744"/>
                <a:gd name="connsiteY93" fmla="*/ 945356 h 1288255"/>
                <a:gd name="connsiteX94" fmla="*/ 1235869 w 1378744"/>
                <a:gd name="connsiteY94" fmla="*/ 931068 h 1288255"/>
                <a:gd name="connsiteX95" fmla="*/ 1212057 w 1378744"/>
                <a:gd name="connsiteY95" fmla="*/ 912018 h 1288255"/>
                <a:gd name="connsiteX96" fmla="*/ 1195388 w 1378744"/>
                <a:gd name="connsiteY96" fmla="*/ 881062 h 1288255"/>
                <a:gd name="connsiteX97" fmla="*/ 1157288 w 1378744"/>
                <a:gd name="connsiteY97" fmla="*/ 871537 h 1288255"/>
                <a:gd name="connsiteX98" fmla="*/ 1119188 w 1378744"/>
                <a:gd name="connsiteY98" fmla="*/ 859631 h 1288255"/>
                <a:gd name="connsiteX99" fmla="*/ 1119188 w 1378744"/>
                <a:gd name="connsiteY99" fmla="*/ 831056 h 1288255"/>
                <a:gd name="connsiteX100" fmla="*/ 1135857 w 1378744"/>
                <a:gd name="connsiteY100" fmla="*/ 807243 h 1288255"/>
                <a:gd name="connsiteX101" fmla="*/ 1197769 w 1378744"/>
                <a:gd name="connsiteY101" fmla="*/ 759618 h 1288255"/>
                <a:gd name="connsiteX102" fmla="*/ 1247775 w 1378744"/>
                <a:gd name="connsiteY102" fmla="*/ 762000 h 1288255"/>
                <a:gd name="connsiteX103" fmla="*/ 1278732 w 1378744"/>
                <a:gd name="connsiteY103" fmla="*/ 762000 h 1288255"/>
                <a:gd name="connsiteX104" fmla="*/ 1271588 w 1378744"/>
                <a:gd name="connsiteY104" fmla="*/ 735806 h 1288255"/>
                <a:gd name="connsiteX105" fmla="*/ 1378744 w 1378744"/>
                <a:gd name="connsiteY105" fmla="*/ 678656 h 1288255"/>
                <a:gd name="connsiteX106" fmla="*/ 1331119 w 1378744"/>
                <a:gd name="connsiteY106" fmla="*/ 552450 h 1288255"/>
                <a:gd name="connsiteX107" fmla="*/ 1278732 w 1378744"/>
                <a:gd name="connsiteY107" fmla="*/ 514350 h 1288255"/>
                <a:gd name="connsiteX108" fmla="*/ 1252538 w 1378744"/>
                <a:gd name="connsiteY108" fmla="*/ 431006 h 1288255"/>
                <a:gd name="connsiteX109" fmla="*/ 1181100 w 1378744"/>
                <a:gd name="connsiteY109" fmla="*/ 431006 h 1288255"/>
                <a:gd name="connsiteX110" fmla="*/ 1166813 w 1378744"/>
                <a:gd name="connsiteY110" fmla="*/ 395287 h 1288255"/>
                <a:gd name="connsiteX111" fmla="*/ 1107282 w 1378744"/>
                <a:gd name="connsiteY111" fmla="*/ 421481 h 1288255"/>
                <a:gd name="connsiteX112" fmla="*/ 1054894 w 1378744"/>
                <a:gd name="connsiteY112" fmla="*/ 414337 h 1288255"/>
                <a:gd name="connsiteX113" fmla="*/ 1028700 w 1378744"/>
                <a:gd name="connsiteY113" fmla="*/ 371475 h 1288255"/>
                <a:gd name="connsiteX114" fmla="*/ 1023938 w 1378744"/>
                <a:gd name="connsiteY114" fmla="*/ 288131 h 1288255"/>
                <a:gd name="connsiteX115" fmla="*/ 1012032 w 1378744"/>
                <a:gd name="connsiteY115" fmla="*/ 269081 h 1288255"/>
                <a:gd name="connsiteX116" fmla="*/ 1012032 w 1378744"/>
                <a:gd name="connsiteY116" fmla="*/ 211931 h 1288255"/>
                <a:gd name="connsiteX117" fmla="*/ 959644 w 1378744"/>
                <a:gd name="connsiteY117" fmla="*/ 190500 h 1288255"/>
                <a:gd name="connsiteX118" fmla="*/ 914400 w 1378744"/>
                <a:gd name="connsiteY118" fmla="*/ 111918 h 1288255"/>
                <a:gd name="connsiteX119" fmla="*/ 854869 w 1378744"/>
                <a:gd name="connsiteY119" fmla="*/ 76200 h 1288255"/>
                <a:gd name="connsiteX120" fmla="*/ 873919 w 1378744"/>
                <a:gd name="connsiteY120" fmla="*/ 16668 h 1288255"/>
                <a:gd name="connsiteX121" fmla="*/ 783432 w 1378744"/>
                <a:gd name="connsiteY121" fmla="*/ 0 h 1288255"/>
                <a:gd name="connsiteX0" fmla="*/ 783432 w 1378744"/>
                <a:gd name="connsiteY0" fmla="*/ 0 h 1288255"/>
                <a:gd name="connsiteX1" fmla="*/ 738188 w 1378744"/>
                <a:gd name="connsiteY1" fmla="*/ 26193 h 1288255"/>
                <a:gd name="connsiteX2" fmla="*/ 685800 w 1378744"/>
                <a:gd name="connsiteY2" fmla="*/ 28575 h 1288255"/>
                <a:gd name="connsiteX3" fmla="*/ 635794 w 1378744"/>
                <a:gd name="connsiteY3" fmla="*/ 73818 h 1288255"/>
                <a:gd name="connsiteX4" fmla="*/ 633413 w 1378744"/>
                <a:gd name="connsiteY4" fmla="*/ 114300 h 1288255"/>
                <a:gd name="connsiteX5" fmla="*/ 561975 w 1378744"/>
                <a:gd name="connsiteY5" fmla="*/ 190500 h 1288255"/>
                <a:gd name="connsiteX6" fmla="*/ 519113 w 1378744"/>
                <a:gd name="connsiteY6" fmla="*/ 214312 h 1288255"/>
                <a:gd name="connsiteX7" fmla="*/ 485775 w 1378744"/>
                <a:gd name="connsiteY7" fmla="*/ 252412 h 1288255"/>
                <a:gd name="connsiteX8" fmla="*/ 461963 w 1378744"/>
                <a:gd name="connsiteY8" fmla="*/ 273843 h 1288255"/>
                <a:gd name="connsiteX9" fmla="*/ 423863 w 1378744"/>
                <a:gd name="connsiteY9" fmla="*/ 333375 h 1288255"/>
                <a:gd name="connsiteX10" fmla="*/ 378619 w 1378744"/>
                <a:gd name="connsiteY10" fmla="*/ 357187 h 1288255"/>
                <a:gd name="connsiteX11" fmla="*/ 292894 w 1378744"/>
                <a:gd name="connsiteY11" fmla="*/ 376237 h 1288255"/>
                <a:gd name="connsiteX12" fmla="*/ 264319 w 1378744"/>
                <a:gd name="connsiteY12" fmla="*/ 373856 h 1288255"/>
                <a:gd name="connsiteX13" fmla="*/ 240507 w 1378744"/>
                <a:gd name="connsiteY13" fmla="*/ 359568 h 1288255"/>
                <a:gd name="connsiteX14" fmla="*/ 226219 w 1378744"/>
                <a:gd name="connsiteY14" fmla="*/ 338137 h 1288255"/>
                <a:gd name="connsiteX15" fmla="*/ 219075 w 1378744"/>
                <a:gd name="connsiteY15" fmla="*/ 311943 h 1288255"/>
                <a:gd name="connsiteX16" fmla="*/ 204788 w 1378744"/>
                <a:gd name="connsiteY16" fmla="*/ 309562 h 1288255"/>
                <a:gd name="connsiteX17" fmla="*/ 188119 w 1378744"/>
                <a:gd name="connsiteY17" fmla="*/ 304800 h 1288255"/>
                <a:gd name="connsiteX18" fmla="*/ 173832 w 1378744"/>
                <a:gd name="connsiteY18" fmla="*/ 302418 h 1288255"/>
                <a:gd name="connsiteX19" fmla="*/ 128588 w 1378744"/>
                <a:gd name="connsiteY19" fmla="*/ 352425 h 1288255"/>
                <a:gd name="connsiteX20" fmla="*/ 97632 w 1378744"/>
                <a:gd name="connsiteY20" fmla="*/ 371475 h 1288255"/>
                <a:gd name="connsiteX21" fmla="*/ 80963 w 1378744"/>
                <a:gd name="connsiteY21" fmla="*/ 390525 h 1288255"/>
                <a:gd name="connsiteX22" fmla="*/ 66675 w 1378744"/>
                <a:gd name="connsiteY22" fmla="*/ 435768 h 1288255"/>
                <a:gd name="connsiteX23" fmla="*/ 54769 w 1378744"/>
                <a:gd name="connsiteY23" fmla="*/ 447675 h 1288255"/>
                <a:gd name="connsiteX24" fmla="*/ 9525 w 1378744"/>
                <a:gd name="connsiteY24" fmla="*/ 466725 h 1288255"/>
                <a:gd name="connsiteX25" fmla="*/ 2382 w 1378744"/>
                <a:gd name="connsiteY25" fmla="*/ 481012 h 1288255"/>
                <a:gd name="connsiteX26" fmla="*/ 4763 w 1378744"/>
                <a:gd name="connsiteY26" fmla="*/ 533400 h 1288255"/>
                <a:gd name="connsiteX27" fmla="*/ 0 w 1378744"/>
                <a:gd name="connsiteY27" fmla="*/ 545306 h 1288255"/>
                <a:gd name="connsiteX28" fmla="*/ 73819 w 1378744"/>
                <a:gd name="connsiteY28" fmla="*/ 588168 h 1288255"/>
                <a:gd name="connsiteX29" fmla="*/ 90488 w 1378744"/>
                <a:gd name="connsiteY29" fmla="*/ 628650 h 1288255"/>
                <a:gd name="connsiteX30" fmla="*/ 83344 w 1378744"/>
                <a:gd name="connsiteY30" fmla="*/ 654843 h 1288255"/>
                <a:gd name="connsiteX31" fmla="*/ 73819 w 1378744"/>
                <a:gd name="connsiteY31" fmla="*/ 697706 h 1288255"/>
                <a:gd name="connsiteX32" fmla="*/ 78582 w 1378744"/>
                <a:gd name="connsiteY32" fmla="*/ 726281 h 1288255"/>
                <a:gd name="connsiteX33" fmla="*/ 95250 w 1378744"/>
                <a:gd name="connsiteY33" fmla="*/ 738187 h 1288255"/>
                <a:gd name="connsiteX34" fmla="*/ 116682 w 1378744"/>
                <a:gd name="connsiteY34" fmla="*/ 735806 h 1288255"/>
                <a:gd name="connsiteX35" fmla="*/ 123825 w 1378744"/>
                <a:gd name="connsiteY35" fmla="*/ 762000 h 1288255"/>
                <a:gd name="connsiteX36" fmla="*/ 126207 w 1378744"/>
                <a:gd name="connsiteY36" fmla="*/ 783431 h 1288255"/>
                <a:gd name="connsiteX37" fmla="*/ 152400 w 1378744"/>
                <a:gd name="connsiteY37" fmla="*/ 812006 h 1288255"/>
                <a:gd name="connsiteX38" fmla="*/ 164307 w 1378744"/>
                <a:gd name="connsiteY38" fmla="*/ 823912 h 1288255"/>
                <a:gd name="connsiteX39" fmla="*/ 173832 w 1378744"/>
                <a:gd name="connsiteY39" fmla="*/ 850106 h 1288255"/>
                <a:gd name="connsiteX40" fmla="*/ 169069 w 1378744"/>
                <a:gd name="connsiteY40" fmla="*/ 878681 h 1288255"/>
                <a:gd name="connsiteX41" fmla="*/ 176213 w 1378744"/>
                <a:gd name="connsiteY41" fmla="*/ 897731 h 1288255"/>
                <a:gd name="connsiteX42" fmla="*/ 200025 w 1378744"/>
                <a:gd name="connsiteY42" fmla="*/ 916781 h 1288255"/>
                <a:gd name="connsiteX43" fmla="*/ 226219 w 1378744"/>
                <a:gd name="connsiteY43" fmla="*/ 916781 h 1288255"/>
                <a:gd name="connsiteX44" fmla="*/ 300038 w 1378744"/>
                <a:gd name="connsiteY44" fmla="*/ 921543 h 1288255"/>
                <a:gd name="connsiteX45" fmla="*/ 395288 w 1378744"/>
                <a:gd name="connsiteY45" fmla="*/ 952500 h 1288255"/>
                <a:gd name="connsiteX46" fmla="*/ 414338 w 1378744"/>
                <a:gd name="connsiteY46" fmla="*/ 988218 h 1288255"/>
                <a:gd name="connsiteX47" fmla="*/ 435769 w 1378744"/>
                <a:gd name="connsiteY47" fmla="*/ 992981 h 1288255"/>
                <a:gd name="connsiteX48" fmla="*/ 464344 w 1378744"/>
                <a:gd name="connsiteY48" fmla="*/ 995362 h 1288255"/>
                <a:gd name="connsiteX49" fmla="*/ 507207 w 1378744"/>
                <a:gd name="connsiteY49" fmla="*/ 1026318 h 1288255"/>
                <a:gd name="connsiteX50" fmla="*/ 521494 w 1378744"/>
                <a:gd name="connsiteY50" fmla="*/ 1069181 h 1288255"/>
                <a:gd name="connsiteX51" fmla="*/ 545307 w 1378744"/>
                <a:gd name="connsiteY51" fmla="*/ 1107281 h 1288255"/>
                <a:gd name="connsiteX52" fmla="*/ 573882 w 1378744"/>
                <a:gd name="connsiteY52" fmla="*/ 1121568 h 1288255"/>
                <a:gd name="connsiteX53" fmla="*/ 585788 w 1378744"/>
                <a:gd name="connsiteY53" fmla="*/ 1131093 h 1288255"/>
                <a:gd name="connsiteX54" fmla="*/ 597694 w 1378744"/>
                <a:gd name="connsiteY54" fmla="*/ 1181100 h 1288255"/>
                <a:gd name="connsiteX55" fmla="*/ 633413 w 1378744"/>
                <a:gd name="connsiteY55" fmla="*/ 1250156 h 1288255"/>
                <a:gd name="connsiteX56" fmla="*/ 692944 w 1378744"/>
                <a:gd name="connsiteY56" fmla="*/ 1278730 h 1288255"/>
                <a:gd name="connsiteX57" fmla="*/ 728663 w 1378744"/>
                <a:gd name="connsiteY57" fmla="*/ 1288255 h 1288255"/>
                <a:gd name="connsiteX58" fmla="*/ 771525 w 1378744"/>
                <a:gd name="connsiteY58" fmla="*/ 1269205 h 1288255"/>
                <a:gd name="connsiteX59" fmla="*/ 814388 w 1378744"/>
                <a:gd name="connsiteY59" fmla="*/ 1138237 h 1288255"/>
                <a:gd name="connsiteX60" fmla="*/ 828675 w 1378744"/>
                <a:gd name="connsiteY60" fmla="*/ 1109662 h 1288255"/>
                <a:gd name="connsiteX61" fmla="*/ 833438 w 1378744"/>
                <a:gd name="connsiteY61" fmla="*/ 1085850 h 1288255"/>
                <a:gd name="connsiteX62" fmla="*/ 797719 w 1378744"/>
                <a:gd name="connsiteY62" fmla="*/ 1059656 h 1288255"/>
                <a:gd name="connsiteX63" fmla="*/ 790575 w 1378744"/>
                <a:gd name="connsiteY63" fmla="*/ 1038225 h 1288255"/>
                <a:gd name="connsiteX64" fmla="*/ 790575 w 1378744"/>
                <a:gd name="connsiteY64" fmla="*/ 1021556 h 1288255"/>
                <a:gd name="connsiteX65" fmla="*/ 845344 w 1378744"/>
                <a:gd name="connsiteY65" fmla="*/ 952500 h 1288255"/>
                <a:gd name="connsiteX66" fmla="*/ 845344 w 1378744"/>
                <a:gd name="connsiteY66" fmla="*/ 952500 h 1288255"/>
                <a:gd name="connsiteX67" fmla="*/ 888207 w 1378744"/>
                <a:gd name="connsiteY67" fmla="*/ 966787 h 1288255"/>
                <a:gd name="connsiteX68" fmla="*/ 907257 w 1378744"/>
                <a:gd name="connsiteY68" fmla="*/ 981075 h 1288255"/>
                <a:gd name="connsiteX69" fmla="*/ 938213 w 1378744"/>
                <a:gd name="connsiteY69" fmla="*/ 990600 h 1288255"/>
                <a:gd name="connsiteX70" fmla="*/ 964407 w 1378744"/>
                <a:gd name="connsiteY70" fmla="*/ 985837 h 1288255"/>
                <a:gd name="connsiteX71" fmla="*/ 985838 w 1378744"/>
                <a:gd name="connsiteY71" fmla="*/ 985837 h 1288255"/>
                <a:gd name="connsiteX72" fmla="*/ 995363 w 1378744"/>
                <a:gd name="connsiteY72" fmla="*/ 995362 h 1288255"/>
                <a:gd name="connsiteX73" fmla="*/ 978694 w 1378744"/>
                <a:gd name="connsiteY73" fmla="*/ 1012031 h 1288255"/>
                <a:gd name="connsiteX74" fmla="*/ 969169 w 1378744"/>
                <a:gd name="connsiteY74" fmla="*/ 1031081 h 1288255"/>
                <a:gd name="connsiteX75" fmla="*/ 954882 w 1378744"/>
                <a:gd name="connsiteY75" fmla="*/ 1054893 h 1288255"/>
                <a:gd name="connsiteX76" fmla="*/ 950119 w 1378744"/>
                <a:gd name="connsiteY76" fmla="*/ 1083468 h 1288255"/>
                <a:gd name="connsiteX77" fmla="*/ 962025 w 1378744"/>
                <a:gd name="connsiteY77" fmla="*/ 1107281 h 1288255"/>
                <a:gd name="connsiteX78" fmla="*/ 983457 w 1378744"/>
                <a:gd name="connsiteY78" fmla="*/ 1131093 h 1288255"/>
                <a:gd name="connsiteX79" fmla="*/ 1002507 w 1378744"/>
                <a:gd name="connsiteY79" fmla="*/ 1133475 h 1288255"/>
                <a:gd name="connsiteX80" fmla="*/ 1028700 w 1378744"/>
                <a:gd name="connsiteY80" fmla="*/ 1126331 h 1288255"/>
                <a:gd name="connsiteX81" fmla="*/ 1031082 w 1378744"/>
                <a:gd name="connsiteY81" fmla="*/ 1097756 h 1288255"/>
                <a:gd name="connsiteX82" fmla="*/ 1057275 w 1378744"/>
                <a:gd name="connsiteY82" fmla="*/ 1085850 h 1288255"/>
                <a:gd name="connsiteX83" fmla="*/ 1076325 w 1378744"/>
                <a:gd name="connsiteY83" fmla="*/ 1097756 h 1288255"/>
                <a:gd name="connsiteX84" fmla="*/ 1100138 w 1378744"/>
                <a:gd name="connsiteY84" fmla="*/ 1107281 h 1288255"/>
                <a:gd name="connsiteX85" fmla="*/ 1123950 w 1378744"/>
                <a:gd name="connsiteY85" fmla="*/ 1121568 h 1288255"/>
                <a:gd name="connsiteX86" fmla="*/ 1143000 w 1378744"/>
                <a:gd name="connsiteY86" fmla="*/ 1123950 h 1288255"/>
                <a:gd name="connsiteX87" fmla="*/ 1157288 w 1378744"/>
                <a:gd name="connsiteY87" fmla="*/ 1112043 h 1288255"/>
                <a:gd name="connsiteX88" fmla="*/ 1159669 w 1378744"/>
                <a:gd name="connsiteY88" fmla="*/ 1085850 h 1288255"/>
                <a:gd name="connsiteX89" fmla="*/ 1166813 w 1378744"/>
                <a:gd name="connsiteY89" fmla="*/ 1052512 h 1288255"/>
                <a:gd name="connsiteX90" fmla="*/ 1197769 w 1378744"/>
                <a:gd name="connsiteY90" fmla="*/ 1016793 h 1288255"/>
                <a:gd name="connsiteX91" fmla="*/ 1195388 w 1378744"/>
                <a:gd name="connsiteY91" fmla="*/ 954881 h 1288255"/>
                <a:gd name="connsiteX92" fmla="*/ 1209675 w 1378744"/>
                <a:gd name="connsiteY92" fmla="*/ 945356 h 1288255"/>
                <a:gd name="connsiteX93" fmla="*/ 1235869 w 1378744"/>
                <a:gd name="connsiteY93" fmla="*/ 945356 h 1288255"/>
                <a:gd name="connsiteX94" fmla="*/ 1235869 w 1378744"/>
                <a:gd name="connsiteY94" fmla="*/ 931068 h 1288255"/>
                <a:gd name="connsiteX95" fmla="*/ 1212057 w 1378744"/>
                <a:gd name="connsiteY95" fmla="*/ 912018 h 1288255"/>
                <a:gd name="connsiteX96" fmla="*/ 1195388 w 1378744"/>
                <a:gd name="connsiteY96" fmla="*/ 881062 h 1288255"/>
                <a:gd name="connsiteX97" fmla="*/ 1157288 w 1378744"/>
                <a:gd name="connsiteY97" fmla="*/ 871537 h 1288255"/>
                <a:gd name="connsiteX98" fmla="*/ 1119188 w 1378744"/>
                <a:gd name="connsiteY98" fmla="*/ 859631 h 1288255"/>
                <a:gd name="connsiteX99" fmla="*/ 1119188 w 1378744"/>
                <a:gd name="connsiteY99" fmla="*/ 831056 h 1288255"/>
                <a:gd name="connsiteX100" fmla="*/ 1135857 w 1378744"/>
                <a:gd name="connsiteY100" fmla="*/ 807243 h 1288255"/>
                <a:gd name="connsiteX101" fmla="*/ 1197769 w 1378744"/>
                <a:gd name="connsiteY101" fmla="*/ 759618 h 1288255"/>
                <a:gd name="connsiteX102" fmla="*/ 1247775 w 1378744"/>
                <a:gd name="connsiteY102" fmla="*/ 762000 h 1288255"/>
                <a:gd name="connsiteX103" fmla="*/ 1278732 w 1378744"/>
                <a:gd name="connsiteY103" fmla="*/ 762000 h 1288255"/>
                <a:gd name="connsiteX104" fmla="*/ 1271588 w 1378744"/>
                <a:gd name="connsiteY104" fmla="*/ 735806 h 1288255"/>
                <a:gd name="connsiteX105" fmla="*/ 1378744 w 1378744"/>
                <a:gd name="connsiteY105" fmla="*/ 678656 h 1288255"/>
                <a:gd name="connsiteX106" fmla="*/ 1331119 w 1378744"/>
                <a:gd name="connsiteY106" fmla="*/ 552450 h 1288255"/>
                <a:gd name="connsiteX107" fmla="*/ 1278732 w 1378744"/>
                <a:gd name="connsiteY107" fmla="*/ 514350 h 1288255"/>
                <a:gd name="connsiteX108" fmla="*/ 1252538 w 1378744"/>
                <a:gd name="connsiteY108" fmla="*/ 431006 h 1288255"/>
                <a:gd name="connsiteX109" fmla="*/ 1181100 w 1378744"/>
                <a:gd name="connsiteY109" fmla="*/ 431006 h 1288255"/>
                <a:gd name="connsiteX110" fmla="*/ 1166813 w 1378744"/>
                <a:gd name="connsiteY110" fmla="*/ 395287 h 1288255"/>
                <a:gd name="connsiteX111" fmla="*/ 1107282 w 1378744"/>
                <a:gd name="connsiteY111" fmla="*/ 421481 h 1288255"/>
                <a:gd name="connsiteX112" fmla="*/ 1054894 w 1378744"/>
                <a:gd name="connsiteY112" fmla="*/ 414337 h 1288255"/>
                <a:gd name="connsiteX113" fmla="*/ 1028700 w 1378744"/>
                <a:gd name="connsiteY113" fmla="*/ 371475 h 1288255"/>
                <a:gd name="connsiteX114" fmla="*/ 1023938 w 1378744"/>
                <a:gd name="connsiteY114" fmla="*/ 288131 h 1288255"/>
                <a:gd name="connsiteX115" fmla="*/ 1012032 w 1378744"/>
                <a:gd name="connsiteY115" fmla="*/ 269081 h 1288255"/>
                <a:gd name="connsiteX116" fmla="*/ 1012032 w 1378744"/>
                <a:gd name="connsiteY116" fmla="*/ 211931 h 1288255"/>
                <a:gd name="connsiteX117" fmla="*/ 959644 w 1378744"/>
                <a:gd name="connsiteY117" fmla="*/ 190500 h 1288255"/>
                <a:gd name="connsiteX118" fmla="*/ 914400 w 1378744"/>
                <a:gd name="connsiteY118" fmla="*/ 111918 h 1288255"/>
                <a:gd name="connsiteX119" fmla="*/ 854869 w 1378744"/>
                <a:gd name="connsiteY119" fmla="*/ 76200 h 1288255"/>
                <a:gd name="connsiteX120" fmla="*/ 873919 w 1378744"/>
                <a:gd name="connsiteY120" fmla="*/ 16668 h 1288255"/>
                <a:gd name="connsiteX121" fmla="*/ 783432 w 1378744"/>
                <a:gd name="connsiteY121" fmla="*/ 0 h 1288255"/>
                <a:gd name="connsiteX0" fmla="*/ 783432 w 1378744"/>
                <a:gd name="connsiteY0" fmla="*/ 0 h 1288255"/>
                <a:gd name="connsiteX1" fmla="*/ 738188 w 1378744"/>
                <a:gd name="connsiteY1" fmla="*/ 26193 h 1288255"/>
                <a:gd name="connsiteX2" fmla="*/ 685800 w 1378744"/>
                <a:gd name="connsiteY2" fmla="*/ 28575 h 1288255"/>
                <a:gd name="connsiteX3" fmla="*/ 635794 w 1378744"/>
                <a:gd name="connsiteY3" fmla="*/ 73818 h 1288255"/>
                <a:gd name="connsiteX4" fmla="*/ 633413 w 1378744"/>
                <a:gd name="connsiteY4" fmla="*/ 114300 h 1288255"/>
                <a:gd name="connsiteX5" fmla="*/ 561975 w 1378744"/>
                <a:gd name="connsiteY5" fmla="*/ 190500 h 1288255"/>
                <a:gd name="connsiteX6" fmla="*/ 519113 w 1378744"/>
                <a:gd name="connsiteY6" fmla="*/ 214312 h 1288255"/>
                <a:gd name="connsiteX7" fmla="*/ 485775 w 1378744"/>
                <a:gd name="connsiteY7" fmla="*/ 252412 h 1288255"/>
                <a:gd name="connsiteX8" fmla="*/ 461963 w 1378744"/>
                <a:gd name="connsiteY8" fmla="*/ 273843 h 1288255"/>
                <a:gd name="connsiteX9" fmla="*/ 423863 w 1378744"/>
                <a:gd name="connsiteY9" fmla="*/ 333375 h 1288255"/>
                <a:gd name="connsiteX10" fmla="*/ 378619 w 1378744"/>
                <a:gd name="connsiteY10" fmla="*/ 357187 h 1288255"/>
                <a:gd name="connsiteX11" fmla="*/ 292894 w 1378744"/>
                <a:gd name="connsiteY11" fmla="*/ 376237 h 1288255"/>
                <a:gd name="connsiteX12" fmla="*/ 264319 w 1378744"/>
                <a:gd name="connsiteY12" fmla="*/ 373856 h 1288255"/>
                <a:gd name="connsiteX13" fmla="*/ 240507 w 1378744"/>
                <a:gd name="connsiteY13" fmla="*/ 359568 h 1288255"/>
                <a:gd name="connsiteX14" fmla="*/ 226219 w 1378744"/>
                <a:gd name="connsiteY14" fmla="*/ 338137 h 1288255"/>
                <a:gd name="connsiteX15" fmla="*/ 219075 w 1378744"/>
                <a:gd name="connsiteY15" fmla="*/ 311943 h 1288255"/>
                <a:gd name="connsiteX16" fmla="*/ 204788 w 1378744"/>
                <a:gd name="connsiteY16" fmla="*/ 309562 h 1288255"/>
                <a:gd name="connsiteX17" fmla="*/ 188119 w 1378744"/>
                <a:gd name="connsiteY17" fmla="*/ 304800 h 1288255"/>
                <a:gd name="connsiteX18" fmla="*/ 173832 w 1378744"/>
                <a:gd name="connsiteY18" fmla="*/ 302418 h 1288255"/>
                <a:gd name="connsiteX19" fmla="*/ 128588 w 1378744"/>
                <a:gd name="connsiteY19" fmla="*/ 352425 h 1288255"/>
                <a:gd name="connsiteX20" fmla="*/ 97632 w 1378744"/>
                <a:gd name="connsiteY20" fmla="*/ 371475 h 1288255"/>
                <a:gd name="connsiteX21" fmla="*/ 80963 w 1378744"/>
                <a:gd name="connsiteY21" fmla="*/ 390525 h 1288255"/>
                <a:gd name="connsiteX22" fmla="*/ 66675 w 1378744"/>
                <a:gd name="connsiteY22" fmla="*/ 435768 h 1288255"/>
                <a:gd name="connsiteX23" fmla="*/ 54769 w 1378744"/>
                <a:gd name="connsiteY23" fmla="*/ 447675 h 1288255"/>
                <a:gd name="connsiteX24" fmla="*/ 9525 w 1378744"/>
                <a:gd name="connsiteY24" fmla="*/ 466725 h 1288255"/>
                <a:gd name="connsiteX25" fmla="*/ 2382 w 1378744"/>
                <a:gd name="connsiteY25" fmla="*/ 481012 h 1288255"/>
                <a:gd name="connsiteX26" fmla="*/ 4763 w 1378744"/>
                <a:gd name="connsiteY26" fmla="*/ 533400 h 1288255"/>
                <a:gd name="connsiteX27" fmla="*/ 0 w 1378744"/>
                <a:gd name="connsiteY27" fmla="*/ 545306 h 1288255"/>
                <a:gd name="connsiteX28" fmla="*/ 73819 w 1378744"/>
                <a:gd name="connsiteY28" fmla="*/ 588168 h 1288255"/>
                <a:gd name="connsiteX29" fmla="*/ 90488 w 1378744"/>
                <a:gd name="connsiteY29" fmla="*/ 628650 h 1288255"/>
                <a:gd name="connsiteX30" fmla="*/ 83344 w 1378744"/>
                <a:gd name="connsiteY30" fmla="*/ 654843 h 1288255"/>
                <a:gd name="connsiteX31" fmla="*/ 73819 w 1378744"/>
                <a:gd name="connsiteY31" fmla="*/ 697706 h 1288255"/>
                <a:gd name="connsiteX32" fmla="*/ 78582 w 1378744"/>
                <a:gd name="connsiteY32" fmla="*/ 726281 h 1288255"/>
                <a:gd name="connsiteX33" fmla="*/ 95250 w 1378744"/>
                <a:gd name="connsiteY33" fmla="*/ 738187 h 1288255"/>
                <a:gd name="connsiteX34" fmla="*/ 116682 w 1378744"/>
                <a:gd name="connsiteY34" fmla="*/ 735806 h 1288255"/>
                <a:gd name="connsiteX35" fmla="*/ 123825 w 1378744"/>
                <a:gd name="connsiteY35" fmla="*/ 762000 h 1288255"/>
                <a:gd name="connsiteX36" fmla="*/ 126207 w 1378744"/>
                <a:gd name="connsiteY36" fmla="*/ 783431 h 1288255"/>
                <a:gd name="connsiteX37" fmla="*/ 152400 w 1378744"/>
                <a:gd name="connsiteY37" fmla="*/ 812006 h 1288255"/>
                <a:gd name="connsiteX38" fmla="*/ 164307 w 1378744"/>
                <a:gd name="connsiteY38" fmla="*/ 823912 h 1288255"/>
                <a:gd name="connsiteX39" fmla="*/ 173832 w 1378744"/>
                <a:gd name="connsiteY39" fmla="*/ 850106 h 1288255"/>
                <a:gd name="connsiteX40" fmla="*/ 169069 w 1378744"/>
                <a:gd name="connsiteY40" fmla="*/ 878681 h 1288255"/>
                <a:gd name="connsiteX41" fmla="*/ 176213 w 1378744"/>
                <a:gd name="connsiteY41" fmla="*/ 897731 h 1288255"/>
                <a:gd name="connsiteX42" fmla="*/ 200025 w 1378744"/>
                <a:gd name="connsiteY42" fmla="*/ 916781 h 1288255"/>
                <a:gd name="connsiteX43" fmla="*/ 226219 w 1378744"/>
                <a:gd name="connsiteY43" fmla="*/ 916781 h 1288255"/>
                <a:gd name="connsiteX44" fmla="*/ 300038 w 1378744"/>
                <a:gd name="connsiteY44" fmla="*/ 921543 h 1288255"/>
                <a:gd name="connsiteX45" fmla="*/ 395288 w 1378744"/>
                <a:gd name="connsiteY45" fmla="*/ 952500 h 1288255"/>
                <a:gd name="connsiteX46" fmla="*/ 414338 w 1378744"/>
                <a:gd name="connsiteY46" fmla="*/ 988218 h 1288255"/>
                <a:gd name="connsiteX47" fmla="*/ 435769 w 1378744"/>
                <a:gd name="connsiteY47" fmla="*/ 992981 h 1288255"/>
                <a:gd name="connsiteX48" fmla="*/ 464344 w 1378744"/>
                <a:gd name="connsiteY48" fmla="*/ 995362 h 1288255"/>
                <a:gd name="connsiteX49" fmla="*/ 507207 w 1378744"/>
                <a:gd name="connsiteY49" fmla="*/ 1026318 h 1288255"/>
                <a:gd name="connsiteX50" fmla="*/ 521494 w 1378744"/>
                <a:gd name="connsiteY50" fmla="*/ 1069181 h 1288255"/>
                <a:gd name="connsiteX51" fmla="*/ 545307 w 1378744"/>
                <a:gd name="connsiteY51" fmla="*/ 1107281 h 1288255"/>
                <a:gd name="connsiteX52" fmla="*/ 573882 w 1378744"/>
                <a:gd name="connsiteY52" fmla="*/ 1121568 h 1288255"/>
                <a:gd name="connsiteX53" fmla="*/ 585788 w 1378744"/>
                <a:gd name="connsiteY53" fmla="*/ 1131093 h 1288255"/>
                <a:gd name="connsiteX54" fmla="*/ 597694 w 1378744"/>
                <a:gd name="connsiteY54" fmla="*/ 1181100 h 1288255"/>
                <a:gd name="connsiteX55" fmla="*/ 633413 w 1378744"/>
                <a:gd name="connsiteY55" fmla="*/ 1250156 h 1288255"/>
                <a:gd name="connsiteX56" fmla="*/ 692944 w 1378744"/>
                <a:gd name="connsiteY56" fmla="*/ 1278730 h 1288255"/>
                <a:gd name="connsiteX57" fmla="*/ 728663 w 1378744"/>
                <a:gd name="connsiteY57" fmla="*/ 1288255 h 1288255"/>
                <a:gd name="connsiteX58" fmla="*/ 771525 w 1378744"/>
                <a:gd name="connsiteY58" fmla="*/ 1269205 h 1288255"/>
                <a:gd name="connsiteX59" fmla="*/ 781050 w 1378744"/>
                <a:gd name="connsiteY59" fmla="*/ 1240630 h 1288255"/>
                <a:gd name="connsiteX60" fmla="*/ 814388 w 1378744"/>
                <a:gd name="connsiteY60" fmla="*/ 1138237 h 1288255"/>
                <a:gd name="connsiteX61" fmla="*/ 828675 w 1378744"/>
                <a:gd name="connsiteY61" fmla="*/ 1109662 h 1288255"/>
                <a:gd name="connsiteX62" fmla="*/ 833438 w 1378744"/>
                <a:gd name="connsiteY62" fmla="*/ 1085850 h 1288255"/>
                <a:gd name="connsiteX63" fmla="*/ 797719 w 1378744"/>
                <a:gd name="connsiteY63" fmla="*/ 1059656 h 1288255"/>
                <a:gd name="connsiteX64" fmla="*/ 790575 w 1378744"/>
                <a:gd name="connsiteY64" fmla="*/ 1038225 h 1288255"/>
                <a:gd name="connsiteX65" fmla="*/ 790575 w 1378744"/>
                <a:gd name="connsiteY65" fmla="*/ 1021556 h 1288255"/>
                <a:gd name="connsiteX66" fmla="*/ 845344 w 1378744"/>
                <a:gd name="connsiteY66" fmla="*/ 952500 h 1288255"/>
                <a:gd name="connsiteX67" fmla="*/ 845344 w 1378744"/>
                <a:gd name="connsiteY67" fmla="*/ 952500 h 1288255"/>
                <a:gd name="connsiteX68" fmla="*/ 888207 w 1378744"/>
                <a:gd name="connsiteY68" fmla="*/ 966787 h 1288255"/>
                <a:gd name="connsiteX69" fmla="*/ 907257 w 1378744"/>
                <a:gd name="connsiteY69" fmla="*/ 981075 h 1288255"/>
                <a:gd name="connsiteX70" fmla="*/ 938213 w 1378744"/>
                <a:gd name="connsiteY70" fmla="*/ 990600 h 1288255"/>
                <a:gd name="connsiteX71" fmla="*/ 964407 w 1378744"/>
                <a:gd name="connsiteY71" fmla="*/ 985837 h 1288255"/>
                <a:gd name="connsiteX72" fmla="*/ 985838 w 1378744"/>
                <a:gd name="connsiteY72" fmla="*/ 985837 h 1288255"/>
                <a:gd name="connsiteX73" fmla="*/ 995363 w 1378744"/>
                <a:gd name="connsiteY73" fmla="*/ 995362 h 1288255"/>
                <a:gd name="connsiteX74" fmla="*/ 978694 w 1378744"/>
                <a:gd name="connsiteY74" fmla="*/ 1012031 h 1288255"/>
                <a:gd name="connsiteX75" fmla="*/ 969169 w 1378744"/>
                <a:gd name="connsiteY75" fmla="*/ 1031081 h 1288255"/>
                <a:gd name="connsiteX76" fmla="*/ 954882 w 1378744"/>
                <a:gd name="connsiteY76" fmla="*/ 1054893 h 1288255"/>
                <a:gd name="connsiteX77" fmla="*/ 950119 w 1378744"/>
                <a:gd name="connsiteY77" fmla="*/ 1083468 h 1288255"/>
                <a:gd name="connsiteX78" fmla="*/ 962025 w 1378744"/>
                <a:gd name="connsiteY78" fmla="*/ 1107281 h 1288255"/>
                <a:gd name="connsiteX79" fmla="*/ 983457 w 1378744"/>
                <a:gd name="connsiteY79" fmla="*/ 1131093 h 1288255"/>
                <a:gd name="connsiteX80" fmla="*/ 1002507 w 1378744"/>
                <a:gd name="connsiteY80" fmla="*/ 1133475 h 1288255"/>
                <a:gd name="connsiteX81" fmla="*/ 1028700 w 1378744"/>
                <a:gd name="connsiteY81" fmla="*/ 1126331 h 1288255"/>
                <a:gd name="connsiteX82" fmla="*/ 1031082 w 1378744"/>
                <a:gd name="connsiteY82" fmla="*/ 1097756 h 1288255"/>
                <a:gd name="connsiteX83" fmla="*/ 1057275 w 1378744"/>
                <a:gd name="connsiteY83" fmla="*/ 1085850 h 1288255"/>
                <a:gd name="connsiteX84" fmla="*/ 1076325 w 1378744"/>
                <a:gd name="connsiteY84" fmla="*/ 1097756 h 1288255"/>
                <a:gd name="connsiteX85" fmla="*/ 1100138 w 1378744"/>
                <a:gd name="connsiteY85" fmla="*/ 1107281 h 1288255"/>
                <a:gd name="connsiteX86" fmla="*/ 1123950 w 1378744"/>
                <a:gd name="connsiteY86" fmla="*/ 1121568 h 1288255"/>
                <a:gd name="connsiteX87" fmla="*/ 1143000 w 1378744"/>
                <a:gd name="connsiteY87" fmla="*/ 1123950 h 1288255"/>
                <a:gd name="connsiteX88" fmla="*/ 1157288 w 1378744"/>
                <a:gd name="connsiteY88" fmla="*/ 1112043 h 1288255"/>
                <a:gd name="connsiteX89" fmla="*/ 1159669 w 1378744"/>
                <a:gd name="connsiteY89" fmla="*/ 1085850 h 1288255"/>
                <a:gd name="connsiteX90" fmla="*/ 1166813 w 1378744"/>
                <a:gd name="connsiteY90" fmla="*/ 1052512 h 1288255"/>
                <a:gd name="connsiteX91" fmla="*/ 1197769 w 1378744"/>
                <a:gd name="connsiteY91" fmla="*/ 1016793 h 1288255"/>
                <a:gd name="connsiteX92" fmla="*/ 1195388 w 1378744"/>
                <a:gd name="connsiteY92" fmla="*/ 954881 h 1288255"/>
                <a:gd name="connsiteX93" fmla="*/ 1209675 w 1378744"/>
                <a:gd name="connsiteY93" fmla="*/ 945356 h 1288255"/>
                <a:gd name="connsiteX94" fmla="*/ 1235869 w 1378744"/>
                <a:gd name="connsiteY94" fmla="*/ 945356 h 1288255"/>
                <a:gd name="connsiteX95" fmla="*/ 1235869 w 1378744"/>
                <a:gd name="connsiteY95" fmla="*/ 931068 h 1288255"/>
                <a:gd name="connsiteX96" fmla="*/ 1212057 w 1378744"/>
                <a:gd name="connsiteY96" fmla="*/ 912018 h 1288255"/>
                <a:gd name="connsiteX97" fmla="*/ 1195388 w 1378744"/>
                <a:gd name="connsiteY97" fmla="*/ 881062 h 1288255"/>
                <a:gd name="connsiteX98" fmla="*/ 1157288 w 1378744"/>
                <a:gd name="connsiteY98" fmla="*/ 871537 h 1288255"/>
                <a:gd name="connsiteX99" fmla="*/ 1119188 w 1378744"/>
                <a:gd name="connsiteY99" fmla="*/ 859631 h 1288255"/>
                <a:gd name="connsiteX100" fmla="*/ 1119188 w 1378744"/>
                <a:gd name="connsiteY100" fmla="*/ 831056 h 1288255"/>
                <a:gd name="connsiteX101" fmla="*/ 1135857 w 1378744"/>
                <a:gd name="connsiteY101" fmla="*/ 807243 h 1288255"/>
                <a:gd name="connsiteX102" fmla="*/ 1197769 w 1378744"/>
                <a:gd name="connsiteY102" fmla="*/ 759618 h 1288255"/>
                <a:gd name="connsiteX103" fmla="*/ 1247775 w 1378744"/>
                <a:gd name="connsiteY103" fmla="*/ 762000 h 1288255"/>
                <a:gd name="connsiteX104" fmla="*/ 1278732 w 1378744"/>
                <a:gd name="connsiteY104" fmla="*/ 762000 h 1288255"/>
                <a:gd name="connsiteX105" fmla="*/ 1271588 w 1378744"/>
                <a:gd name="connsiteY105" fmla="*/ 735806 h 1288255"/>
                <a:gd name="connsiteX106" fmla="*/ 1378744 w 1378744"/>
                <a:gd name="connsiteY106" fmla="*/ 678656 h 1288255"/>
                <a:gd name="connsiteX107" fmla="*/ 1331119 w 1378744"/>
                <a:gd name="connsiteY107" fmla="*/ 552450 h 1288255"/>
                <a:gd name="connsiteX108" fmla="*/ 1278732 w 1378744"/>
                <a:gd name="connsiteY108" fmla="*/ 514350 h 1288255"/>
                <a:gd name="connsiteX109" fmla="*/ 1252538 w 1378744"/>
                <a:gd name="connsiteY109" fmla="*/ 431006 h 1288255"/>
                <a:gd name="connsiteX110" fmla="*/ 1181100 w 1378744"/>
                <a:gd name="connsiteY110" fmla="*/ 431006 h 1288255"/>
                <a:gd name="connsiteX111" fmla="*/ 1166813 w 1378744"/>
                <a:gd name="connsiteY111" fmla="*/ 395287 h 1288255"/>
                <a:gd name="connsiteX112" fmla="*/ 1107282 w 1378744"/>
                <a:gd name="connsiteY112" fmla="*/ 421481 h 1288255"/>
                <a:gd name="connsiteX113" fmla="*/ 1054894 w 1378744"/>
                <a:gd name="connsiteY113" fmla="*/ 414337 h 1288255"/>
                <a:gd name="connsiteX114" fmla="*/ 1028700 w 1378744"/>
                <a:gd name="connsiteY114" fmla="*/ 371475 h 1288255"/>
                <a:gd name="connsiteX115" fmla="*/ 1023938 w 1378744"/>
                <a:gd name="connsiteY115" fmla="*/ 288131 h 1288255"/>
                <a:gd name="connsiteX116" fmla="*/ 1012032 w 1378744"/>
                <a:gd name="connsiteY116" fmla="*/ 269081 h 1288255"/>
                <a:gd name="connsiteX117" fmla="*/ 1012032 w 1378744"/>
                <a:gd name="connsiteY117" fmla="*/ 211931 h 1288255"/>
                <a:gd name="connsiteX118" fmla="*/ 959644 w 1378744"/>
                <a:gd name="connsiteY118" fmla="*/ 190500 h 1288255"/>
                <a:gd name="connsiteX119" fmla="*/ 914400 w 1378744"/>
                <a:gd name="connsiteY119" fmla="*/ 111918 h 1288255"/>
                <a:gd name="connsiteX120" fmla="*/ 854869 w 1378744"/>
                <a:gd name="connsiteY120" fmla="*/ 76200 h 1288255"/>
                <a:gd name="connsiteX121" fmla="*/ 873919 w 1378744"/>
                <a:gd name="connsiteY121" fmla="*/ 16668 h 1288255"/>
                <a:gd name="connsiteX122" fmla="*/ 783432 w 1378744"/>
                <a:gd name="connsiteY122" fmla="*/ 0 h 1288255"/>
                <a:gd name="connsiteX0" fmla="*/ 783432 w 1378744"/>
                <a:gd name="connsiteY0" fmla="*/ 0 h 1288255"/>
                <a:gd name="connsiteX1" fmla="*/ 738188 w 1378744"/>
                <a:gd name="connsiteY1" fmla="*/ 26193 h 1288255"/>
                <a:gd name="connsiteX2" fmla="*/ 685800 w 1378744"/>
                <a:gd name="connsiteY2" fmla="*/ 28575 h 1288255"/>
                <a:gd name="connsiteX3" fmla="*/ 635794 w 1378744"/>
                <a:gd name="connsiteY3" fmla="*/ 73818 h 1288255"/>
                <a:gd name="connsiteX4" fmla="*/ 633413 w 1378744"/>
                <a:gd name="connsiteY4" fmla="*/ 114300 h 1288255"/>
                <a:gd name="connsiteX5" fmla="*/ 561975 w 1378744"/>
                <a:gd name="connsiteY5" fmla="*/ 190500 h 1288255"/>
                <a:gd name="connsiteX6" fmla="*/ 519113 w 1378744"/>
                <a:gd name="connsiteY6" fmla="*/ 214312 h 1288255"/>
                <a:gd name="connsiteX7" fmla="*/ 485775 w 1378744"/>
                <a:gd name="connsiteY7" fmla="*/ 252412 h 1288255"/>
                <a:gd name="connsiteX8" fmla="*/ 461963 w 1378744"/>
                <a:gd name="connsiteY8" fmla="*/ 273843 h 1288255"/>
                <a:gd name="connsiteX9" fmla="*/ 423863 w 1378744"/>
                <a:gd name="connsiteY9" fmla="*/ 333375 h 1288255"/>
                <a:gd name="connsiteX10" fmla="*/ 378619 w 1378744"/>
                <a:gd name="connsiteY10" fmla="*/ 357187 h 1288255"/>
                <a:gd name="connsiteX11" fmla="*/ 292894 w 1378744"/>
                <a:gd name="connsiteY11" fmla="*/ 376237 h 1288255"/>
                <a:gd name="connsiteX12" fmla="*/ 264319 w 1378744"/>
                <a:gd name="connsiteY12" fmla="*/ 373856 h 1288255"/>
                <a:gd name="connsiteX13" fmla="*/ 240507 w 1378744"/>
                <a:gd name="connsiteY13" fmla="*/ 359568 h 1288255"/>
                <a:gd name="connsiteX14" fmla="*/ 226219 w 1378744"/>
                <a:gd name="connsiteY14" fmla="*/ 338137 h 1288255"/>
                <a:gd name="connsiteX15" fmla="*/ 219075 w 1378744"/>
                <a:gd name="connsiteY15" fmla="*/ 311943 h 1288255"/>
                <a:gd name="connsiteX16" fmla="*/ 204788 w 1378744"/>
                <a:gd name="connsiteY16" fmla="*/ 309562 h 1288255"/>
                <a:gd name="connsiteX17" fmla="*/ 188119 w 1378744"/>
                <a:gd name="connsiteY17" fmla="*/ 304800 h 1288255"/>
                <a:gd name="connsiteX18" fmla="*/ 173832 w 1378744"/>
                <a:gd name="connsiteY18" fmla="*/ 302418 h 1288255"/>
                <a:gd name="connsiteX19" fmla="*/ 128588 w 1378744"/>
                <a:gd name="connsiteY19" fmla="*/ 352425 h 1288255"/>
                <a:gd name="connsiteX20" fmla="*/ 97632 w 1378744"/>
                <a:gd name="connsiteY20" fmla="*/ 371475 h 1288255"/>
                <a:gd name="connsiteX21" fmla="*/ 80963 w 1378744"/>
                <a:gd name="connsiteY21" fmla="*/ 390525 h 1288255"/>
                <a:gd name="connsiteX22" fmla="*/ 66675 w 1378744"/>
                <a:gd name="connsiteY22" fmla="*/ 435768 h 1288255"/>
                <a:gd name="connsiteX23" fmla="*/ 54769 w 1378744"/>
                <a:gd name="connsiteY23" fmla="*/ 447675 h 1288255"/>
                <a:gd name="connsiteX24" fmla="*/ 9525 w 1378744"/>
                <a:gd name="connsiteY24" fmla="*/ 466725 h 1288255"/>
                <a:gd name="connsiteX25" fmla="*/ 2382 w 1378744"/>
                <a:gd name="connsiteY25" fmla="*/ 481012 h 1288255"/>
                <a:gd name="connsiteX26" fmla="*/ 4763 w 1378744"/>
                <a:gd name="connsiteY26" fmla="*/ 533400 h 1288255"/>
                <a:gd name="connsiteX27" fmla="*/ 0 w 1378744"/>
                <a:gd name="connsiteY27" fmla="*/ 545306 h 1288255"/>
                <a:gd name="connsiteX28" fmla="*/ 73819 w 1378744"/>
                <a:gd name="connsiteY28" fmla="*/ 588168 h 1288255"/>
                <a:gd name="connsiteX29" fmla="*/ 90488 w 1378744"/>
                <a:gd name="connsiteY29" fmla="*/ 628650 h 1288255"/>
                <a:gd name="connsiteX30" fmla="*/ 83344 w 1378744"/>
                <a:gd name="connsiteY30" fmla="*/ 654843 h 1288255"/>
                <a:gd name="connsiteX31" fmla="*/ 73819 w 1378744"/>
                <a:gd name="connsiteY31" fmla="*/ 697706 h 1288255"/>
                <a:gd name="connsiteX32" fmla="*/ 78582 w 1378744"/>
                <a:gd name="connsiteY32" fmla="*/ 726281 h 1288255"/>
                <a:gd name="connsiteX33" fmla="*/ 95250 w 1378744"/>
                <a:gd name="connsiteY33" fmla="*/ 738187 h 1288255"/>
                <a:gd name="connsiteX34" fmla="*/ 116682 w 1378744"/>
                <a:gd name="connsiteY34" fmla="*/ 735806 h 1288255"/>
                <a:gd name="connsiteX35" fmla="*/ 123825 w 1378744"/>
                <a:gd name="connsiteY35" fmla="*/ 762000 h 1288255"/>
                <a:gd name="connsiteX36" fmla="*/ 126207 w 1378744"/>
                <a:gd name="connsiteY36" fmla="*/ 783431 h 1288255"/>
                <a:gd name="connsiteX37" fmla="*/ 152400 w 1378744"/>
                <a:gd name="connsiteY37" fmla="*/ 812006 h 1288255"/>
                <a:gd name="connsiteX38" fmla="*/ 164307 w 1378744"/>
                <a:gd name="connsiteY38" fmla="*/ 823912 h 1288255"/>
                <a:gd name="connsiteX39" fmla="*/ 173832 w 1378744"/>
                <a:gd name="connsiteY39" fmla="*/ 850106 h 1288255"/>
                <a:gd name="connsiteX40" fmla="*/ 169069 w 1378744"/>
                <a:gd name="connsiteY40" fmla="*/ 878681 h 1288255"/>
                <a:gd name="connsiteX41" fmla="*/ 176213 w 1378744"/>
                <a:gd name="connsiteY41" fmla="*/ 897731 h 1288255"/>
                <a:gd name="connsiteX42" fmla="*/ 200025 w 1378744"/>
                <a:gd name="connsiteY42" fmla="*/ 916781 h 1288255"/>
                <a:gd name="connsiteX43" fmla="*/ 226219 w 1378744"/>
                <a:gd name="connsiteY43" fmla="*/ 916781 h 1288255"/>
                <a:gd name="connsiteX44" fmla="*/ 300038 w 1378744"/>
                <a:gd name="connsiteY44" fmla="*/ 921543 h 1288255"/>
                <a:gd name="connsiteX45" fmla="*/ 395288 w 1378744"/>
                <a:gd name="connsiteY45" fmla="*/ 952500 h 1288255"/>
                <a:gd name="connsiteX46" fmla="*/ 414338 w 1378744"/>
                <a:gd name="connsiteY46" fmla="*/ 988218 h 1288255"/>
                <a:gd name="connsiteX47" fmla="*/ 435769 w 1378744"/>
                <a:gd name="connsiteY47" fmla="*/ 992981 h 1288255"/>
                <a:gd name="connsiteX48" fmla="*/ 464344 w 1378744"/>
                <a:gd name="connsiteY48" fmla="*/ 995362 h 1288255"/>
                <a:gd name="connsiteX49" fmla="*/ 507207 w 1378744"/>
                <a:gd name="connsiteY49" fmla="*/ 1026318 h 1288255"/>
                <a:gd name="connsiteX50" fmla="*/ 521494 w 1378744"/>
                <a:gd name="connsiteY50" fmla="*/ 1069181 h 1288255"/>
                <a:gd name="connsiteX51" fmla="*/ 545307 w 1378744"/>
                <a:gd name="connsiteY51" fmla="*/ 1107281 h 1288255"/>
                <a:gd name="connsiteX52" fmla="*/ 573882 w 1378744"/>
                <a:gd name="connsiteY52" fmla="*/ 1121568 h 1288255"/>
                <a:gd name="connsiteX53" fmla="*/ 585788 w 1378744"/>
                <a:gd name="connsiteY53" fmla="*/ 1131093 h 1288255"/>
                <a:gd name="connsiteX54" fmla="*/ 597694 w 1378744"/>
                <a:gd name="connsiteY54" fmla="*/ 1181100 h 1288255"/>
                <a:gd name="connsiteX55" fmla="*/ 633413 w 1378744"/>
                <a:gd name="connsiteY55" fmla="*/ 1250156 h 1288255"/>
                <a:gd name="connsiteX56" fmla="*/ 692944 w 1378744"/>
                <a:gd name="connsiteY56" fmla="*/ 1278730 h 1288255"/>
                <a:gd name="connsiteX57" fmla="*/ 728663 w 1378744"/>
                <a:gd name="connsiteY57" fmla="*/ 1288255 h 1288255"/>
                <a:gd name="connsiteX58" fmla="*/ 771525 w 1378744"/>
                <a:gd name="connsiteY58" fmla="*/ 1269205 h 1288255"/>
                <a:gd name="connsiteX59" fmla="*/ 771525 w 1378744"/>
                <a:gd name="connsiteY59" fmla="*/ 1235868 h 1288255"/>
                <a:gd name="connsiteX60" fmla="*/ 814388 w 1378744"/>
                <a:gd name="connsiteY60" fmla="*/ 1138237 h 1288255"/>
                <a:gd name="connsiteX61" fmla="*/ 828675 w 1378744"/>
                <a:gd name="connsiteY61" fmla="*/ 1109662 h 1288255"/>
                <a:gd name="connsiteX62" fmla="*/ 833438 w 1378744"/>
                <a:gd name="connsiteY62" fmla="*/ 1085850 h 1288255"/>
                <a:gd name="connsiteX63" fmla="*/ 797719 w 1378744"/>
                <a:gd name="connsiteY63" fmla="*/ 1059656 h 1288255"/>
                <a:gd name="connsiteX64" fmla="*/ 790575 w 1378744"/>
                <a:gd name="connsiteY64" fmla="*/ 1038225 h 1288255"/>
                <a:gd name="connsiteX65" fmla="*/ 790575 w 1378744"/>
                <a:gd name="connsiteY65" fmla="*/ 1021556 h 1288255"/>
                <a:gd name="connsiteX66" fmla="*/ 845344 w 1378744"/>
                <a:gd name="connsiteY66" fmla="*/ 952500 h 1288255"/>
                <a:gd name="connsiteX67" fmla="*/ 845344 w 1378744"/>
                <a:gd name="connsiteY67" fmla="*/ 952500 h 1288255"/>
                <a:gd name="connsiteX68" fmla="*/ 888207 w 1378744"/>
                <a:gd name="connsiteY68" fmla="*/ 966787 h 1288255"/>
                <a:gd name="connsiteX69" fmla="*/ 907257 w 1378744"/>
                <a:gd name="connsiteY69" fmla="*/ 981075 h 1288255"/>
                <a:gd name="connsiteX70" fmla="*/ 938213 w 1378744"/>
                <a:gd name="connsiteY70" fmla="*/ 990600 h 1288255"/>
                <a:gd name="connsiteX71" fmla="*/ 964407 w 1378744"/>
                <a:gd name="connsiteY71" fmla="*/ 985837 h 1288255"/>
                <a:gd name="connsiteX72" fmla="*/ 985838 w 1378744"/>
                <a:gd name="connsiteY72" fmla="*/ 985837 h 1288255"/>
                <a:gd name="connsiteX73" fmla="*/ 995363 w 1378744"/>
                <a:gd name="connsiteY73" fmla="*/ 995362 h 1288255"/>
                <a:gd name="connsiteX74" fmla="*/ 978694 w 1378744"/>
                <a:gd name="connsiteY74" fmla="*/ 1012031 h 1288255"/>
                <a:gd name="connsiteX75" fmla="*/ 969169 w 1378744"/>
                <a:gd name="connsiteY75" fmla="*/ 1031081 h 1288255"/>
                <a:gd name="connsiteX76" fmla="*/ 954882 w 1378744"/>
                <a:gd name="connsiteY76" fmla="*/ 1054893 h 1288255"/>
                <a:gd name="connsiteX77" fmla="*/ 950119 w 1378744"/>
                <a:gd name="connsiteY77" fmla="*/ 1083468 h 1288255"/>
                <a:gd name="connsiteX78" fmla="*/ 962025 w 1378744"/>
                <a:gd name="connsiteY78" fmla="*/ 1107281 h 1288255"/>
                <a:gd name="connsiteX79" fmla="*/ 983457 w 1378744"/>
                <a:gd name="connsiteY79" fmla="*/ 1131093 h 1288255"/>
                <a:gd name="connsiteX80" fmla="*/ 1002507 w 1378744"/>
                <a:gd name="connsiteY80" fmla="*/ 1133475 h 1288255"/>
                <a:gd name="connsiteX81" fmla="*/ 1028700 w 1378744"/>
                <a:gd name="connsiteY81" fmla="*/ 1126331 h 1288255"/>
                <a:gd name="connsiteX82" fmla="*/ 1031082 w 1378744"/>
                <a:gd name="connsiteY82" fmla="*/ 1097756 h 1288255"/>
                <a:gd name="connsiteX83" fmla="*/ 1057275 w 1378744"/>
                <a:gd name="connsiteY83" fmla="*/ 1085850 h 1288255"/>
                <a:gd name="connsiteX84" fmla="*/ 1076325 w 1378744"/>
                <a:gd name="connsiteY84" fmla="*/ 1097756 h 1288255"/>
                <a:gd name="connsiteX85" fmla="*/ 1100138 w 1378744"/>
                <a:gd name="connsiteY85" fmla="*/ 1107281 h 1288255"/>
                <a:gd name="connsiteX86" fmla="*/ 1123950 w 1378744"/>
                <a:gd name="connsiteY86" fmla="*/ 1121568 h 1288255"/>
                <a:gd name="connsiteX87" fmla="*/ 1143000 w 1378744"/>
                <a:gd name="connsiteY87" fmla="*/ 1123950 h 1288255"/>
                <a:gd name="connsiteX88" fmla="*/ 1157288 w 1378744"/>
                <a:gd name="connsiteY88" fmla="*/ 1112043 h 1288255"/>
                <a:gd name="connsiteX89" fmla="*/ 1159669 w 1378744"/>
                <a:gd name="connsiteY89" fmla="*/ 1085850 h 1288255"/>
                <a:gd name="connsiteX90" fmla="*/ 1166813 w 1378744"/>
                <a:gd name="connsiteY90" fmla="*/ 1052512 h 1288255"/>
                <a:gd name="connsiteX91" fmla="*/ 1197769 w 1378744"/>
                <a:gd name="connsiteY91" fmla="*/ 1016793 h 1288255"/>
                <a:gd name="connsiteX92" fmla="*/ 1195388 w 1378744"/>
                <a:gd name="connsiteY92" fmla="*/ 954881 h 1288255"/>
                <a:gd name="connsiteX93" fmla="*/ 1209675 w 1378744"/>
                <a:gd name="connsiteY93" fmla="*/ 945356 h 1288255"/>
                <a:gd name="connsiteX94" fmla="*/ 1235869 w 1378744"/>
                <a:gd name="connsiteY94" fmla="*/ 945356 h 1288255"/>
                <a:gd name="connsiteX95" fmla="*/ 1235869 w 1378744"/>
                <a:gd name="connsiteY95" fmla="*/ 931068 h 1288255"/>
                <a:gd name="connsiteX96" fmla="*/ 1212057 w 1378744"/>
                <a:gd name="connsiteY96" fmla="*/ 912018 h 1288255"/>
                <a:gd name="connsiteX97" fmla="*/ 1195388 w 1378744"/>
                <a:gd name="connsiteY97" fmla="*/ 881062 h 1288255"/>
                <a:gd name="connsiteX98" fmla="*/ 1157288 w 1378744"/>
                <a:gd name="connsiteY98" fmla="*/ 871537 h 1288255"/>
                <a:gd name="connsiteX99" fmla="*/ 1119188 w 1378744"/>
                <a:gd name="connsiteY99" fmla="*/ 859631 h 1288255"/>
                <a:gd name="connsiteX100" fmla="*/ 1119188 w 1378744"/>
                <a:gd name="connsiteY100" fmla="*/ 831056 h 1288255"/>
                <a:gd name="connsiteX101" fmla="*/ 1135857 w 1378744"/>
                <a:gd name="connsiteY101" fmla="*/ 807243 h 1288255"/>
                <a:gd name="connsiteX102" fmla="*/ 1197769 w 1378744"/>
                <a:gd name="connsiteY102" fmla="*/ 759618 h 1288255"/>
                <a:gd name="connsiteX103" fmla="*/ 1247775 w 1378744"/>
                <a:gd name="connsiteY103" fmla="*/ 762000 h 1288255"/>
                <a:gd name="connsiteX104" fmla="*/ 1278732 w 1378744"/>
                <a:gd name="connsiteY104" fmla="*/ 762000 h 1288255"/>
                <a:gd name="connsiteX105" fmla="*/ 1271588 w 1378744"/>
                <a:gd name="connsiteY105" fmla="*/ 735806 h 1288255"/>
                <a:gd name="connsiteX106" fmla="*/ 1378744 w 1378744"/>
                <a:gd name="connsiteY106" fmla="*/ 678656 h 1288255"/>
                <a:gd name="connsiteX107" fmla="*/ 1331119 w 1378744"/>
                <a:gd name="connsiteY107" fmla="*/ 552450 h 1288255"/>
                <a:gd name="connsiteX108" fmla="*/ 1278732 w 1378744"/>
                <a:gd name="connsiteY108" fmla="*/ 514350 h 1288255"/>
                <a:gd name="connsiteX109" fmla="*/ 1252538 w 1378744"/>
                <a:gd name="connsiteY109" fmla="*/ 431006 h 1288255"/>
                <a:gd name="connsiteX110" fmla="*/ 1181100 w 1378744"/>
                <a:gd name="connsiteY110" fmla="*/ 431006 h 1288255"/>
                <a:gd name="connsiteX111" fmla="*/ 1166813 w 1378744"/>
                <a:gd name="connsiteY111" fmla="*/ 395287 h 1288255"/>
                <a:gd name="connsiteX112" fmla="*/ 1107282 w 1378744"/>
                <a:gd name="connsiteY112" fmla="*/ 421481 h 1288255"/>
                <a:gd name="connsiteX113" fmla="*/ 1054894 w 1378744"/>
                <a:gd name="connsiteY113" fmla="*/ 414337 h 1288255"/>
                <a:gd name="connsiteX114" fmla="*/ 1028700 w 1378744"/>
                <a:gd name="connsiteY114" fmla="*/ 371475 h 1288255"/>
                <a:gd name="connsiteX115" fmla="*/ 1023938 w 1378744"/>
                <a:gd name="connsiteY115" fmla="*/ 288131 h 1288255"/>
                <a:gd name="connsiteX116" fmla="*/ 1012032 w 1378744"/>
                <a:gd name="connsiteY116" fmla="*/ 269081 h 1288255"/>
                <a:gd name="connsiteX117" fmla="*/ 1012032 w 1378744"/>
                <a:gd name="connsiteY117" fmla="*/ 211931 h 1288255"/>
                <a:gd name="connsiteX118" fmla="*/ 959644 w 1378744"/>
                <a:gd name="connsiteY118" fmla="*/ 190500 h 1288255"/>
                <a:gd name="connsiteX119" fmla="*/ 914400 w 1378744"/>
                <a:gd name="connsiteY119" fmla="*/ 111918 h 1288255"/>
                <a:gd name="connsiteX120" fmla="*/ 854869 w 1378744"/>
                <a:gd name="connsiteY120" fmla="*/ 76200 h 1288255"/>
                <a:gd name="connsiteX121" fmla="*/ 873919 w 1378744"/>
                <a:gd name="connsiteY121" fmla="*/ 16668 h 1288255"/>
                <a:gd name="connsiteX122" fmla="*/ 783432 w 1378744"/>
                <a:gd name="connsiteY122" fmla="*/ 0 h 1288255"/>
                <a:gd name="connsiteX0" fmla="*/ 783432 w 1378744"/>
                <a:gd name="connsiteY0" fmla="*/ 0 h 1288255"/>
                <a:gd name="connsiteX1" fmla="*/ 738188 w 1378744"/>
                <a:gd name="connsiteY1" fmla="*/ 26193 h 1288255"/>
                <a:gd name="connsiteX2" fmla="*/ 685800 w 1378744"/>
                <a:gd name="connsiteY2" fmla="*/ 28575 h 1288255"/>
                <a:gd name="connsiteX3" fmla="*/ 635794 w 1378744"/>
                <a:gd name="connsiteY3" fmla="*/ 73818 h 1288255"/>
                <a:gd name="connsiteX4" fmla="*/ 633413 w 1378744"/>
                <a:gd name="connsiteY4" fmla="*/ 114300 h 1288255"/>
                <a:gd name="connsiteX5" fmla="*/ 561975 w 1378744"/>
                <a:gd name="connsiteY5" fmla="*/ 190500 h 1288255"/>
                <a:gd name="connsiteX6" fmla="*/ 519113 w 1378744"/>
                <a:gd name="connsiteY6" fmla="*/ 214312 h 1288255"/>
                <a:gd name="connsiteX7" fmla="*/ 485775 w 1378744"/>
                <a:gd name="connsiteY7" fmla="*/ 252412 h 1288255"/>
                <a:gd name="connsiteX8" fmla="*/ 461963 w 1378744"/>
                <a:gd name="connsiteY8" fmla="*/ 273843 h 1288255"/>
                <a:gd name="connsiteX9" fmla="*/ 423863 w 1378744"/>
                <a:gd name="connsiteY9" fmla="*/ 333375 h 1288255"/>
                <a:gd name="connsiteX10" fmla="*/ 378619 w 1378744"/>
                <a:gd name="connsiteY10" fmla="*/ 357187 h 1288255"/>
                <a:gd name="connsiteX11" fmla="*/ 292894 w 1378744"/>
                <a:gd name="connsiteY11" fmla="*/ 376237 h 1288255"/>
                <a:gd name="connsiteX12" fmla="*/ 264319 w 1378744"/>
                <a:gd name="connsiteY12" fmla="*/ 373856 h 1288255"/>
                <a:gd name="connsiteX13" fmla="*/ 240507 w 1378744"/>
                <a:gd name="connsiteY13" fmla="*/ 359568 h 1288255"/>
                <a:gd name="connsiteX14" fmla="*/ 226219 w 1378744"/>
                <a:gd name="connsiteY14" fmla="*/ 338137 h 1288255"/>
                <a:gd name="connsiteX15" fmla="*/ 219075 w 1378744"/>
                <a:gd name="connsiteY15" fmla="*/ 311943 h 1288255"/>
                <a:gd name="connsiteX16" fmla="*/ 204788 w 1378744"/>
                <a:gd name="connsiteY16" fmla="*/ 309562 h 1288255"/>
                <a:gd name="connsiteX17" fmla="*/ 188119 w 1378744"/>
                <a:gd name="connsiteY17" fmla="*/ 304800 h 1288255"/>
                <a:gd name="connsiteX18" fmla="*/ 173832 w 1378744"/>
                <a:gd name="connsiteY18" fmla="*/ 302418 h 1288255"/>
                <a:gd name="connsiteX19" fmla="*/ 128588 w 1378744"/>
                <a:gd name="connsiteY19" fmla="*/ 352425 h 1288255"/>
                <a:gd name="connsiteX20" fmla="*/ 97632 w 1378744"/>
                <a:gd name="connsiteY20" fmla="*/ 371475 h 1288255"/>
                <a:gd name="connsiteX21" fmla="*/ 80963 w 1378744"/>
                <a:gd name="connsiteY21" fmla="*/ 390525 h 1288255"/>
                <a:gd name="connsiteX22" fmla="*/ 66675 w 1378744"/>
                <a:gd name="connsiteY22" fmla="*/ 435768 h 1288255"/>
                <a:gd name="connsiteX23" fmla="*/ 54769 w 1378744"/>
                <a:gd name="connsiteY23" fmla="*/ 447675 h 1288255"/>
                <a:gd name="connsiteX24" fmla="*/ 9525 w 1378744"/>
                <a:gd name="connsiteY24" fmla="*/ 466725 h 1288255"/>
                <a:gd name="connsiteX25" fmla="*/ 2382 w 1378744"/>
                <a:gd name="connsiteY25" fmla="*/ 481012 h 1288255"/>
                <a:gd name="connsiteX26" fmla="*/ 4763 w 1378744"/>
                <a:gd name="connsiteY26" fmla="*/ 533400 h 1288255"/>
                <a:gd name="connsiteX27" fmla="*/ 0 w 1378744"/>
                <a:gd name="connsiteY27" fmla="*/ 545306 h 1288255"/>
                <a:gd name="connsiteX28" fmla="*/ 73819 w 1378744"/>
                <a:gd name="connsiteY28" fmla="*/ 588168 h 1288255"/>
                <a:gd name="connsiteX29" fmla="*/ 90488 w 1378744"/>
                <a:gd name="connsiteY29" fmla="*/ 628650 h 1288255"/>
                <a:gd name="connsiteX30" fmla="*/ 83344 w 1378744"/>
                <a:gd name="connsiteY30" fmla="*/ 654843 h 1288255"/>
                <a:gd name="connsiteX31" fmla="*/ 73819 w 1378744"/>
                <a:gd name="connsiteY31" fmla="*/ 697706 h 1288255"/>
                <a:gd name="connsiteX32" fmla="*/ 78582 w 1378744"/>
                <a:gd name="connsiteY32" fmla="*/ 726281 h 1288255"/>
                <a:gd name="connsiteX33" fmla="*/ 95250 w 1378744"/>
                <a:gd name="connsiteY33" fmla="*/ 738187 h 1288255"/>
                <a:gd name="connsiteX34" fmla="*/ 116682 w 1378744"/>
                <a:gd name="connsiteY34" fmla="*/ 735806 h 1288255"/>
                <a:gd name="connsiteX35" fmla="*/ 123825 w 1378744"/>
                <a:gd name="connsiteY35" fmla="*/ 762000 h 1288255"/>
                <a:gd name="connsiteX36" fmla="*/ 126207 w 1378744"/>
                <a:gd name="connsiteY36" fmla="*/ 783431 h 1288255"/>
                <a:gd name="connsiteX37" fmla="*/ 152400 w 1378744"/>
                <a:gd name="connsiteY37" fmla="*/ 812006 h 1288255"/>
                <a:gd name="connsiteX38" fmla="*/ 164307 w 1378744"/>
                <a:gd name="connsiteY38" fmla="*/ 823912 h 1288255"/>
                <a:gd name="connsiteX39" fmla="*/ 173832 w 1378744"/>
                <a:gd name="connsiteY39" fmla="*/ 850106 h 1288255"/>
                <a:gd name="connsiteX40" fmla="*/ 169069 w 1378744"/>
                <a:gd name="connsiteY40" fmla="*/ 878681 h 1288255"/>
                <a:gd name="connsiteX41" fmla="*/ 176213 w 1378744"/>
                <a:gd name="connsiteY41" fmla="*/ 897731 h 1288255"/>
                <a:gd name="connsiteX42" fmla="*/ 200025 w 1378744"/>
                <a:gd name="connsiteY42" fmla="*/ 916781 h 1288255"/>
                <a:gd name="connsiteX43" fmla="*/ 226219 w 1378744"/>
                <a:gd name="connsiteY43" fmla="*/ 916781 h 1288255"/>
                <a:gd name="connsiteX44" fmla="*/ 300038 w 1378744"/>
                <a:gd name="connsiteY44" fmla="*/ 921543 h 1288255"/>
                <a:gd name="connsiteX45" fmla="*/ 395288 w 1378744"/>
                <a:gd name="connsiteY45" fmla="*/ 952500 h 1288255"/>
                <a:gd name="connsiteX46" fmla="*/ 414338 w 1378744"/>
                <a:gd name="connsiteY46" fmla="*/ 988218 h 1288255"/>
                <a:gd name="connsiteX47" fmla="*/ 435769 w 1378744"/>
                <a:gd name="connsiteY47" fmla="*/ 992981 h 1288255"/>
                <a:gd name="connsiteX48" fmla="*/ 464344 w 1378744"/>
                <a:gd name="connsiteY48" fmla="*/ 995362 h 1288255"/>
                <a:gd name="connsiteX49" fmla="*/ 507207 w 1378744"/>
                <a:gd name="connsiteY49" fmla="*/ 1026318 h 1288255"/>
                <a:gd name="connsiteX50" fmla="*/ 521494 w 1378744"/>
                <a:gd name="connsiteY50" fmla="*/ 1069181 h 1288255"/>
                <a:gd name="connsiteX51" fmla="*/ 545307 w 1378744"/>
                <a:gd name="connsiteY51" fmla="*/ 1107281 h 1288255"/>
                <a:gd name="connsiteX52" fmla="*/ 573882 w 1378744"/>
                <a:gd name="connsiteY52" fmla="*/ 1121568 h 1288255"/>
                <a:gd name="connsiteX53" fmla="*/ 585788 w 1378744"/>
                <a:gd name="connsiteY53" fmla="*/ 1131093 h 1288255"/>
                <a:gd name="connsiteX54" fmla="*/ 597694 w 1378744"/>
                <a:gd name="connsiteY54" fmla="*/ 1181100 h 1288255"/>
                <a:gd name="connsiteX55" fmla="*/ 633413 w 1378744"/>
                <a:gd name="connsiteY55" fmla="*/ 1250156 h 1288255"/>
                <a:gd name="connsiteX56" fmla="*/ 692944 w 1378744"/>
                <a:gd name="connsiteY56" fmla="*/ 1278730 h 1288255"/>
                <a:gd name="connsiteX57" fmla="*/ 728663 w 1378744"/>
                <a:gd name="connsiteY57" fmla="*/ 1288255 h 1288255"/>
                <a:gd name="connsiteX58" fmla="*/ 771525 w 1378744"/>
                <a:gd name="connsiteY58" fmla="*/ 1269205 h 1288255"/>
                <a:gd name="connsiteX59" fmla="*/ 771525 w 1378744"/>
                <a:gd name="connsiteY59" fmla="*/ 1235868 h 1288255"/>
                <a:gd name="connsiteX60" fmla="*/ 814388 w 1378744"/>
                <a:gd name="connsiteY60" fmla="*/ 1138237 h 1288255"/>
                <a:gd name="connsiteX61" fmla="*/ 788194 w 1378744"/>
                <a:gd name="connsiteY61" fmla="*/ 1193005 h 1288255"/>
                <a:gd name="connsiteX62" fmla="*/ 828675 w 1378744"/>
                <a:gd name="connsiteY62" fmla="*/ 1109662 h 1288255"/>
                <a:gd name="connsiteX63" fmla="*/ 833438 w 1378744"/>
                <a:gd name="connsiteY63" fmla="*/ 1085850 h 1288255"/>
                <a:gd name="connsiteX64" fmla="*/ 797719 w 1378744"/>
                <a:gd name="connsiteY64" fmla="*/ 1059656 h 1288255"/>
                <a:gd name="connsiteX65" fmla="*/ 790575 w 1378744"/>
                <a:gd name="connsiteY65" fmla="*/ 1038225 h 1288255"/>
                <a:gd name="connsiteX66" fmla="*/ 790575 w 1378744"/>
                <a:gd name="connsiteY66" fmla="*/ 1021556 h 1288255"/>
                <a:gd name="connsiteX67" fmla="*/ 845344 w 1378744"/>
                <a:gd name="connsiteY67" fmla="*/ 952500 h 1288255"/>
                <a:gd name="connsiteX68" fmla="*/ 845344 w 1378744"/>
                <a:gd name="connsiteY68" fmla="*/ 952500 h 1288255"/>
                <a:gd name="connsiteX69" fmla="*/ 888207 w 1378744"/>
                <a:gd name="connsiteY69" fmla="*/ 966787 h 1288255"/>
                <a:gd name="connsiteX70" fmla="*/ 907257 w 1378744"/>
                <a:gd name="connsiteY70" fmla="*/ 981075 h 1288255"/>
                <a:gd name="connsiteX71" fmla="*/ 938213 w 1378744"/>
                <a:gd name="connsiteY71" fmla="*/ 990600 h 1288255"/>
                <a:gd name="connsiteX72" fmla="*/ 964407 w 1378744"/>
                <a:gd name="connsiteY72" fmla="*/ 985837 h 1288255"/>
                <a:gd name="connsiteX73" fmla="*/ 985838 w 1378744"/>
                <a:gd name="connsiteY73" fmla="*/ 985837 h 1288255"/>
                <a:gd name="connsiteX74" fmla="*/ 995363 w 1378744"/>
                <a:gd name="connsiteY74" fmla="*/ 995362 h 1288255"/>
                <a:gd name="connsiteX75" fmla="*/ 978694 w 1378744"/>
                <a:gd name="connsiteY75" fmla="*/ 1012031 h 1288255"/>
                <a:gd name="connsiteX76" fmla="*/ 969169 w 1378744"/>
                <a:gd name="connsiteY76" fmla="*/ 1031081 h 1288255"/>
                <a:gd name="connsiteX77" fmla="*/ 954882 w 1378744"/>
                <a:gd name="connsiteY77" fmla="*/ 1054893 h 1288255"/>
                <a:gd name="connsiteX78" fmla="*/ 950119 w 1378744"/>
                <a:gd name="connsiteY78" fmla="*/ 1083468 h 1288255"/>
                <a:gd name="connsiteX79" fmla="*/ 962025 w 1378744"/>
                <a:gd name="connsiteY79" fmla="*/ 1107281 h 1288255"/>
                <a:gd name="connsiteX80" fmla="*/ 983457 w 1378744"/>
                <a:gd name="connsiteY80" fmla="*/ 1131093 h 1288255"/>
                <a:gd name="connsiteX81" fmla="*/ 1002507 w 1378744"/>
                <a:gd name="connsiteY81" fmla="*/ 1133475 h 1288255"/>
                <a:gd name="connsiteX82" fmla="*/ 1028700 w 1378744"/>
                <a:gd name="connsiteY82" fmla="*/ 1126331 h 1288255"/>
                <a:gd name="connsiteX83" fmla="*/ 1031082 w 1378744"/>
                <a:gd name="connsiteY83" fmla="*/ 1097756 h 1288255"/>
                <a:gd name="connsiteX84" fmla="*/ 1057275 w 1378744"/>
                <a:gd name="connsiteY84" fmla="*/ 1085850 h 1288255"/>
                <a:gd name="connsiteX85" fmla="*/ 1076325 w 1378744"/>
                <a:gd name="connsiteY85" fmla="*/ 1097756 h 1288255"/>
                <a:gd name="connsiteX86" fmla="*/ 1100138 w 1378744"/>
                <a:gd name="connsiteY86" fmla="*/ 1107281 h 1288255"/>
                <a:gd name="connsiteX87" fmla="*/ 1123950 w 1378744"/>
                <a:gd name="connsiteY87" fmla="*/ 1121568 h 1288255"/>
                <a:gd name="connsiteX88" fmla="*/ 1143000 w 1378744"/>
                <a:gd name="connsiteY88" fmla="*/ 1123950 h 1288255"/>
                <a:gd name="connsiteX89" fmla="*/ 1157288 w 1378744"/>
                <a:gd name="connsiteY89" fmla="*/ 1112043 h 1288255"/>
                <a:gd name="connsiteX90" fmla="*/ 1159669 w 1378744"/>
                <a:gd name="connsiteY90" fmla="*/ 1085850 h 1288255"/>
                <a:gd name="connsiteX91" fmla="*/ 1166813 w 1378744"/>
                <a:gd name="connsiteY91" fmla="*/ 1052512 h 1288255"/>
                <a:gd name="connsiteX92" fmla="*/ 1197769 w 1378744"/>
                <a:gd name="connsiteY92" fmla="*/ 1016793 h 1288255"/>
                <a:gd name="connsiteX93" fmla="*/ 1195388 w 1378744"/>
                <a:gd name="connsiteY93" fmla="*/ 954881 h 1288255"/>
                <a:gd name="connsiteX94" fmla="*/ 1209675 w 1378744"/>
                <a:gd name="connsiteY94" fmla="*/ 945356 h 1288255"/>
                <a:gd name="connsiteX95" fmla="*/ 1235869 w 1378744"/>
                <a:gd name="connsiteY95" fmla="*/ 945356 h 1288255"/>
                <a:gd name="connsiteX96" fmla="*/ 1235869 w 1378744"/>
                <a:gd name="connsiteY96" fmla="*/ 931068 h 1288255"/>
                <a:gd name="connsiteX97" fmla="*/ 1212057 w 1378744"/>
                <a:gd name="connsiteY97" fmla="*/ 912018 h 1288255"/>
                <a:gd name="connsiteX98" fmla="*/ 1195388 w 1378744"/>
                <a:gd name="connsiteY98" fmla="*/ 881062 h 1288255"/>
                <a:gd name="connsiteX99" fmla="*/ 1157288 w 1378744"/>
                <a:gd name="connsiteY99" fmla="*/ 871537 h 1288255"/>
                <a:gd name="connsiteX100" fmla="*/ 1119188 w 1378744"/>
                <a:gd name="connsiteY100" fmla="*/ 859631 h 1288255"/>
                <a:gd name="connsiteX101" fmla="*/ 1119188 w 1378744"/>
                <a:gd name="connsiteY101" fmla="*/ 831056 h 1288255"/>
                <a:gd name="connsiteX102" fmla="*/ 1135857 w 1378744"/>
                <a:gd name="connsiteY102" fmla="*/ 807243 h 1288255"/>
                <a:gd name="connsiteX103" fmla="*/ 1197769 w 1378744"/>
                <a:gd name="connsiteY103" fmla="*/ 759618 h 1288255"/>
                <a:gd name="connsiteX104" fmla="*/ 1247775 w 1378744"/>
                <a:gd name="connsiteY104" fmla="*/ 762000 h 1288255"/>
                <a:gd name="connsiteX105" fmla="*/ 1278732 w 1378744"/>
                <a:gd name="connsiteY105" fmla="*/ 762000 h 1288255"/>
                <a:gd name="connsiteX106" fmla="*/ 1271588 w 1378744"/>
                <a:gd name="connsiteY106" fmla="*/ 735806 h 1288255"/>
                <a:gd name="connsiteX107" fmla="*/ 1378744 w 1378744"/>
                <a:gd name="connsiteY107" fmla="*/ 678656 h 1288255"/>
                <a:gd name="connsiteX108" fmla="*/ 1331119 w 1378744"/>
                <a:gd name="connsiteY108" fmla="*/ 552450 h 1288255"/>
                <a:gd name="connsiteX109" fmla="*/ 1278732 w 1378744"/>
                <a:gd name="connsiteY109" fmla="*/ 514350 h 1288255"/>
                <a:gd name="connsiteX110" fmla="*/ 1252538 w 1378744"/>
                <a:gd name="connsiteY110" fmla="*/ 431006 h 1288255"/>
                <a:gd name="connsiteX111" fmla="*/ 1181100 w 1378744"/>
                <a:gd name="connsiteY111" fmla="*/ 431006 h 1288255"/>
                <a:gd name="connsiteX112" fmla="*/ 1166813 w 1378744"/>
                <a:gd name="connsiteY112" fmla="*/ 395287 h 1288255"/>
                <a:gd name="connsiteX113" fmla="*/ 1107282 w 1378744"/>
                <a:gd name="connsiteY113" fmla="*/ 421481 h 1288255"/>
                <a:gd name="connsiteX114" fmla="*/ 1054894 w 1378744"/>
                <a:gd name="connsiteY114" fmla="*/ 414337 h 1288255"/>
                <a:gd name="connsiteX115" fmla="*/ 1028700 w 1378744"/>
                <a:gd name="connsiteY115" fmla="*/ 371475 h 1288255"/>
                <a:gd name="connsiteX116" fmla="*/ 1023938 w 1378744"/>
                <a:gd name="connsiteY116" fmla="*/ 288131 h 1288255"/>
                <a:gd name="connsiteX117" fmla="*/ 1012032 w 1378744"/>
                <a:gd name="connsiteY117" fmla="*/ 269081 h 1288255"/>
                <a:gd name="connsiteX118" fmla="*/ 1012032 w 1378744"/>
                <a:gd name="connsiteY118" fmla="*/ 211931 h 1288255"/>
                <a:gd name="connsiteX119" fmla="*/ 959644 w 1378744"/>
                <a:gd name="connsiteY119" fmla="*/ 190500 h 1288255"/>
                <a:gd name="connsiteX120" fmla="*/ 914400 w 1378744"/>
                <a:gd name="connsiteY120" fmla="*/ 111918 h 1288255"/>
                <a:gd name="connsiteX121" fmla="*/ 854869 w 1378744"/>
                <a:gd name="connsiteY121" fmla="*/ 76200 h 1288255"/>
                <a:gd name="connsiteX122" fmla="*/ 873919 w 1378744"/>
                <a:gd name="connsiteY122" fmla="*/ 16668 h 1288255"/>
                <a:gd name="connsiteX123" fmla="*/ 783432 w 1378744"/>
                <a:gd name="connsiteY123" fmla="*/ 0 h 1288255"/>
                <a:gd name="connsiteX0" fmla="*/ 783432 w 1378744"/>
                <a:gd name="connsiteY0" fmla="*/ 0 h 1288255"/>
                <a:gd name="connsiteX1" fmla="*/ 738188 w 1378744"/>
                <a:gd name="connsiteY1" fmla="*/ 26193 h 1288255"/>
                <a:gd name="connsiteX2" fmla="*/ 685800 w 1378744"/>
                <a:gd name="connsiteY2" fmla="*/ 28575 h 1288255"/>
                <a:gd name="connsiteX3" fmla="*/ 635794 w 1378744"/>
                <a:gd name="connsiteY3" fmla="*/ 73818 h 1288255"/>
                <a:gd name="connsiteX4" fmla="*/ 633413 w 1378744"/>
                <a:gd name="connsiteY4" fmla="*/ 114300 h 1288255"/>
                <a:gd name="connsiteX5" fmla="*/ 561975 w 1378744"/>
                <a:gd name="connsiteY5" fmla="*/ 190500 h 1288255"/>
                <a:gd name="connsiteX6" fmla="*/ 519113 w 1378744"/>
                <a:gd name="connsiteY6" fmla="*/ 214312 h 1288255"/>
                <a:gd name="connsiteX7" fmla="*/ 485775 w 1378744"/>
                <a:gd name="connsiteY7" fmla="*/ 252412 h 1288255"/>
                <a:gd name="connsiteX8" fmla="*/ 461963 w 1378744"/>
                <a:gd name="connsiteY8" fmla="*/ 273843 h 1288255"/>
                <a:gd name="connsiteX9" fmla="*/ 423863 w 1378744"/>
                <a:gd name="connsiteY9" fmla="*/ 333375 h 1288255"/>
                <a:gd name="connsiteX10" fmla="*/ 378619 w 1378744"/>
                <a:gd name="connsiteY10" fmla="*/ 357187 h 1288255"/>
                <a:gd name="connsiteX11" fmla="*/ 292894 w 1378744"/>
                <a:gd name="connsiteY11" fmla="*/ 376237 h 1288255"/>
                <a:gd name="connsiteX12" fmla="*/ 264319 w 1378744"/>
                <a:gd name="connsiteY12" fmla="*/ 373856 h 1288255"/>
                <a:gd name="connsiteX13" fmla="*/ 240507 w 1378744"/>
                <a:gd name="connsiteY13" fmla="*/ 359568 h 1288255"/>
                <a:gd name="connsiteX14" fmla="*/ 226219 w 1378744"/>
                <a:gd name="connsiteY14" fmla="*/ 338137 h 1288255"/>
                <a:gd name="connsiteX15" fmla="*/ 219075 w 1378744"/>
                <a:gd name="connsiteY15" fmla="*/ 311943 h 1288255"/>
                <a:gd name="connsiteX16" fmla="*/ 204788 w 1378744"/>
                <a:gd name="connsiteY16" fmla="*/ 309562 h 1288255"/>
                <a:gd name="connsiteX17" fmla="*/ 188119 w 1378744"/>
                <a:gd name="connsiteY17" fmla="*/ 304800 h 1288255"/>
                <a:gd name="connsiteX18" fmla="*/ 173832 w 1378744"/>
                <a:gd name="connsiteY18" fmla="*/ 302418 h 1288255"/>
                <a:gd name="connsiteX19" fmla="*/ 128588 w 1378744"/>
                <a:gd name="connsiteY19" fmla="*/ 352425 h 1288255"/>
                <a:gd name="connsiteX20" fmla="*/ 97632 w 1378744"/>
                <a:gd name="connsiteY20" fmla="*/ 371475 h 1288255"/>
                <a:gd name="connsiteX21" fmla="*/ 80963 w 1378744"/>
                <a:gd name="connsiteY21" fmla="*/ 390525 h 1288255"/>
                <a:gd name="connsiteX22" fmla="*/ 66675 w 1378744"/>
                <a:gd name="connsiteY22" fmla="*/ 435768 h 1288255"/>
                <a:gd name="connsiteX23" fmla="*/ 54769 w 1378744"/>
                <a:gd name="connsiteY23" fmla="*/ 447675 h 1288255"/>
                <a:gd name="connsiteX24" fmla="*/ 9525 w 1378744"/>
                <a:gd name="connsiteY24" fmla="*/ 466725 h 1288255"/>
                <a:gd name="connsiteX25" fmla="*/ 2382 w 1378744"/>
                <a:gd name="connsiteY25" fmla="*/ 481012 h 1288255"/>
                <a:gd name="connsiteX26" fmla="*/ 4763 w 1378744"/>
                <a:gd name="connsiteY26" fmla="*/ 533400 h 1288255"/>
                <a:gd name="connsiteX27" fmla="*/ 0 w 1378744"/>
                <a:gd name="connsiteY27" fmla="*/ 545306 h 1288255"/>
                <a:gd name="connsiteX28" fmla="*/ 73819 w 1378744"/>
                <a:gd name="connsiteY28" fmla="*/ 588168 h 1288255"/>
                <a:gd name="connsiteX29" fmla="*/ 90488 w 1378744"/>
                <a:gd name="connsiteY29" fmla="*/ 628650 h 1288255"/>
                <a:gd name="connsiteX30" fmla="*/ 83344 w 1378744"/>
                <a:gd name="connsiteY30" fmla="*/ 654843 h 1288255"/>
                <a:gd name="connsiteX31" fmla="*/ 73819 w 1378744"/>
                <a:gd name="connsiteY31" fmla="*/ 697706 h 1288255"/>
                <a:gd name="connsiteX32" fmla="*/ 78582 w 1378744"/>
                <a:gd name="connsiteY32" fmla="*/ 726281 h 1288255"/>
                <a:gd name="connsiteX33" fmla="*/ 95250 w 1378744"/>
                <a:gd name="connsiteY33" fmla="*/ 738187 h 1288255"/>
                <a:gd name="connsiteX34" fmla="*/ 116682 w 1378744"/>
                <a:gd name="connsiteY34" fmla="*/ 735806 h 1288255"/>
                <a:gd name="connsiteX35" fmla="*/ 123825 w 1378744"/>
                <a:gd name="connsiteY35" fmla="*/ 762000 h 1288255"/>
                <a:gd name="connsiteX36" fmla="*/ 126207 w 1378744"/>
                <a:gd name="connsiteY36" fmla="*/ 783431 h 1288255"/>
                <a:gd name="connsiteX37" fmla="*/ 152400 w 1378744"/>
                <a:gd name="connsiteY37" fmla="*/ 812006 h 1288255"/>
                <a:gd name="connsiteX38" fmla="*/ 164307 w 1378744"/>
                <a:gd name="connsiteY38" fmla="*/ 823912 h 1288255"/>
                <a:gd name="connsiteX39" fmla="*/ 173832 w 1378744"/>
                <a:gd name="connsiteY39" fmla="*/ 850106 h 1288255"/>
                <a:gd name="connsiteX40" fmla="*/ 169069 w 1378744"/>
                <a:gd name="connsiteY40" fmla="*/ 878681 h 1288255"/>
                <a:gd name="connsiteX41" fmla="*/ 176213 w 1378744"/>
                <a:gd name="connsiteY41" fmla="*/ 897731 h 1288255"/>
                <a:gd name="connsiteX42" fmla="*/ 200025 w 1378744"/>
                <a:gd name="connsiteY42" fmla="*/ 916781 h 1288255"/>
                <a:gd name="connsiteX43" fmla="*/ 226219 w 1378744"/>
                <a:gd name="connsiteY43" fmla="*/ 916781 h 1288255"/>
                <a:gd name="connsiteX44" fmla="*/ 300038 w 1378744"/>
                <a:gd name="connsiteY44" fmla="*/ 921543 h 1288255"/>
                <a:gd name="connsiteX45" fmla="*/ 395288 w 1378744"/>
                <a:gd name="connsiteY45" fmla="*/ 952500 h 1288255"/>
                <a:gd name="connsiteX46" fmla="*/ 414338 w 1378744"/>
                <a:gd name="connsiteY46" fmla="*/ 988218 h 1288255"/>
                <a:gd name="connsiteX47" fmla="*/ 435769 w 1378744"/>
                <a:gd name="connsiteY47" fmla="*/ 992981 h 1288255"/>
                <a:gd name="connsiteX48" fmla="*/ 464344 w 1378744"/>
                <a:gd name="connsiteY48" fmla="*/ 995362 h 1288255"/>
                <a:gd name="connsiteX49" fmla="*/ 507207 w 1378744"/>
                <a:gd name="connsiteY49" fmla="*/ 1026318 h 1288255"/>
                <a:gd name="connsiteX50" fmla="*/ 521494 w 1378744"/>
                <a:gd name="connsiteY50" fmla="*/ 1069181 h 1288255"/>
                <a:gd name="connsiteX51" fmla="*/ 545307 w 1378744"/>
                <a:gd name="connsiteY51" fmla="*/ 1107281 h 1288255"/>
                <a:gd name="connsiteX52" fmla="*/ 573882 w 1378744"/>
                <a:gd name="connsiteY52" fmla="*/ 1121568 h 1288255"/>
                <a:gd name="connsiteX53" fmla="*/ 585788 w 1378744"/>
                <a:gd name="connsiteY53" fmla="*/ 1131093 h 1288255"/>
                <a:gd name="connsiteX54" fmla="*/ 597694 w 1378744"/>
                <a:gd name="connsiteY54" fmla="*/ 1181100 h 1288255"/>
                <a:gd name="connsiteX55" fmla="*/ 633413 w 1378744"/>
                <a:gd name="connsiteY55" fmla="*/ 1250156 h 1288255"/>
                <a:gd name="connsiteX56" fmla="*/ 692944 w 1378744"/>
                <a:gd name="connsiteY56" fmla="*/ 1278730 h 1288255"/>
                <a:gd name="connsiteX57" fmla="*/ 728663 w 1378744"/>
                <a:gd name="connsiteY57" fmla="*/ 1288255 h 1288255"/>
                <a:gd name="connsiteX58" fmla="*/ 771525 w 1378744"/>
                <a:gd name="connsiteY58" fmla="*/ 1269205 h 1288255"/>
                <a:gd name="connsiteX59" fmla="*/ 771525 w 1378744"/>
                <a:gd name="connsiteY59" fmla="*/ 1235868 h 1288255"/>
                <a:gd name="connsiteX60" fmla="*/ 814388 w 1378744"/>
                <a:gd name="connsiteY60" fmla="*/ 1138237 h 1288255"/>
                <a:gd name="connsiteX61" fmla="*/ 795337 w 1378744"/>
                <a:gd name="connsiteY61" fmla="*/ 1212055 h 1288255"/>
                <a:gd name="connsiteX62" fmla="*/ 828675 w 1378744"/>
                <a:gd name="connsiteY62" fmla="*/ 1109662 h 1288255"/>
                <a:gd name="connsiteX63" fmla="*/ 833438 w 1378744"/>
                <a:gd name="connsiteY63" fmla="*/ 1085850 h 1288255"/>
                <a:gd name="connsiteX64" fmla="*/ 797719 w 1378744"/>
                <a:gd name="connsiteY64" fmla="*/ 1059656 h 1288255"/>
                <a:gd name="connsiteX65" fmla="*/ 790575 w 1378744"/>
                <a:gd name="connsiteY65" fmla="*/ 1038225 h 1288255"/>
                <a:gd name="connsiteX66" fmla="*/ 790575 w 1378744"/>
                <a:gd name="connsiteY66" fmla="*/ 1021556 h 1288255"/>
                <a:gd name="connsiteX67" fmla="*/ 845344 w 1378744"/>
                <a:gd name="connsiteY67" fmla="*/ 952500 h 1288255"/>
                <a:gd name="connsiteX68" fmla="*/ 845344 w 1378744"/>
                <a:gd name="connsiteY68" fmla="*/ 952500 h 1288255"/>
                <a:gd name="connsiteX69" fmla="*/ 888207 w 1378744"/>
                <a:gd name="connsiteY69" fmla="*/ 966787 h 1288255"/>
                <a:gd name="connsiteX70" fmla="*/ 907257 w 1378744"/>
                <a:gd name="connsiteY70" fmla="*/ 981075 h 1288255"/>
                <a:gd name="connsiteX71" fmla="*/ 938213 w 1378744"/>
                <a:gd name="connsiteY71" fmla="*/ 990600 h 1288255"/>
                <a:gd name="connsiteX72" fmla="*/ 964407 w 1378744"/>
                <a:gd name="connsiteY72" fmla="*/ 985837 h 1288255"/>
                <a:gd name="connsiteX73" fmla="*/ 985838 w 1378744"/>
                <a:gd name="connsiteY73" fmla="*/ 985837 h 1288255"/>
                <a:gd name="connsiteX74" fmla="*/ 995363 w 1378744"/>
                <a:gd name="connsiteY74" fmla="*/ 995362 h 1288255"/>
                <a:gd name="connsiteX75" fmla="*/ 978694 w 1378744"/>
                <a:gd name="connsiteY75" fmla="*/ 1012031 h 1288255"/>
                <a:gd name="connsiteX76" fmla="*/ 969169 w 1378744"/>
                <a:gd name="connsiteY76" fmla="*/ 1031081 h 1288255"/>
                <a:gd name="connsiteX77" fmla="*/ 954882 w 1378744"/>
                <a:gd name="connsiteY77" fmla="*/ 1054893 h 1288255"/>
                <a:gd name="connsiteX78" fmla="*/ 950119 w 1378744"/>
                <a:gd name="connsiteY78" fmla="*/ 1083468 h 1288255"/>
                <a:gd name="connsiteX79" fmla="*/ 962025 w 1378744"/>
                <a:gd name="connsiteY79" fmla="*/ 1107281 h 1288255"/>
                <a:gd name="connsiteX80" fmla="*/ 983457 w 1378744"/>
                <a:gd name="connsiteY80" fmla="*/ 1131093 h 1288255"/>
                <a:gd name="connsiteX81" fmla="*/ 1002507 w 1378744"/>
                <a:gd name="connsiteY81" fmla="*/ 1133475 h 1288255"/>
                <a:gd name="connsiteX82" fmla="*/ 1028700 w 1378744"/>
                <a:gd name="connsiteY82" fmla="*/ 1126331 h 1288255"/>
                <a:gd name="connsiteX83" fmla="*/ 1031082 w 1378744"/>
                <a:gd name="connsiteY83" fmla="*/ 1097756 h 1288255"/>
                <a:gd name="connsiteX84" fmla="*/ 1057275 w 1378744"/>
                <a:gd name="connsiteY84" fmla="*/ 1085850 h 1288255"/>
                <a:gd name="connsiteX85" fmla="*/ 1076325 w 1378744"/>
                <a:gd name="connsiteY85" fmla="*/ 1097756 h 1288255"/>
                <a:gd name="connsiteX86" fmla="*/ 1100138 w 1378744"/>
                <a:gd name="connsiteY86" fmla="*/ 1107281 h 1288255"/>
                <a:gd name="connsiteX87" fmla="*/ 1123950 w 1378744"/>
                <a:gd name="connsiteY87" fmla="*/ 1121568 h 1288255"/>
                <a:gd name="connsiteX88" fmla="*/ 1143000 w 1378744"/>
                <a:gd name="connsiteY88" fmla="*/ 1123950 h 1288255"/>
                <a:gd name="connsiteX89" fmla="*/ 1157288 w 1378744"/>
                <a:gd name="connsiteY89" fmla="*/ 1112043 h 1288255"/>
                <a:gd name="connsiteX90" fmla="*/ 1159669 w 1378744"/>
                <a:gd name="connsiteY90" fmla="*/ 1085850 h 1288255"/>
                <a:gd name="connsiteX91" fmla="*/ 1166813 w 1378744"/>
                <a:gd name="connsiteY91" fmla="*/ 1052512 h 1288255"/>
                <a:gd name="connsiteX92" fmla="*/ 1197769 w 1378744"/>
                <a:gd name="connsiteY92" fmla="*/ 1016793 h 1288255"/>
                <a:gd name="connsiteX93" fmla="*/ 1195388 w 1378744"/>
                <a:gd name="connsiteY93" fmla="*/ 954881 h 1288255"/>
                <a:gd name="connsiteX94" fmla="*/ 1209675 w 1378744"/>
                <a:gd name="connsiteY94" fmla="*/ 945356 h 1288255"/>
                <a:gd name="connsiteX95" fmla="*/ 1235869 w 1378744"/>
                <a:gd name="connsiteY95" fmla="*/ 945356 h 1288255"/>
                <a:gd name="connsiteX96" fmla="*/ 1235869 w 1378744"/>
                <a:gd name="connsiteY96" fmla="*/ 931068 h 1288255"/>
                <a:gd name="connsiteX97" fmla="*/ 1212057 w 1378744"/>
                <a:gd name="connsiteY97" fmla="*/ 912018 h 1288255"/>
                <a:gd name="connsiteX98" fmla="*/ 1195388 w 1378744"/>
                <a:gd name="connsiteY98" fmla="*/ 881062 h 1288255"/>
                <a:gd name="connsiteX99" fmla="*/ 1157288 w 1378744"/>
                <a:gd name="connsiteY99" fmla="*/ 871537 h 1288255"/>
                <a:gd name="connsiteX100" fmla="*/ 1119188 w 1378744"/>
                <a:gd name="connsiteY100" fmla="*/ 859631 h 1288255"/>
                <a:gd name="connsiteX101" fmla="*/ 1119188 w 1378744"/>
                <a:gd name="connsiteY101" fmla="*/ 831056 h 1288255"/>
                <a:gd name="connsiteX102" fmla="*/ 1135857 w 1378744"/>
                <a:gd name="connsiteY102" fmla="*/ 807243 h 1288255"/>
                <a:gd name="connsiteX103" fmla="*/ 1197769 w 1378744"/>
                <a:gd name="connsiteY103" fmla="*/ 759618 h 1288255"/>
                <a:gd name="connsiteX104" fmla="*/ 1247775 w 1378744"/>
                <a:gd name="connsiteY104" fmla="*/ 762000 h 1288255"/>
                <a:gd name="connsiteX105" fmla="*/ 1278732 w 1378744"/>
                <a:gd name="connsiteY105" fmla="*/ 762000 h 1288255"/>
                <a:gd name="connsiteX106" fmla="*/ 1271588 w 1378744"/>
                <a:gd name="connsiteY106" fmla="*/ 735806 h 1288255"/>
                <a:gd name="connsiteX107" fmla="*/ 1378744 w 1378744"/>
                <a:gd name="connsiteY107" fmla="*/ 678656 h 1288255"/>
                <a:gd name="connsiteX108" fmla="*/ 1331119 w 1378744"/>
                <a:gd name="connsiteY108" fmla="*/ 552450 h 1288255"/>
                <a:gd name="connsiteX109" fmla="*/ 1278732 w 1378744"/>
                <a:gd name="connsiteY109" fmla="*/ 514350 h 1288255"/>
                <a:gd name="connsiteX110" fmla="*/ 1252538 w 1378744"/>
                <a:gd name="connsiteY110" fmla="*/ 431006 h 1288255"/>
                <a:gd name="connsiteX111" fmla="*/ 1181100 w 1378744"/>
                <a:gd name="connsiteY111" fmla="*/ 431006 h 1288255"/>
                <a:gd name="connsiteX112" fmla="*/ 1166813 w 1378744"/>
                <a:gd name="connsiteY112" fmla="*/ 395287 h 1288255"/>
                <a:gd name="connsiteX113" fmla="*/ 1107282 w 1378744"/>
                <a:gd name="connsiteY113" fmla="*/ 421481 h 1288255"/>
                <a:gd name="connsiteX114" fmla="*/ 1054894 w 1378744"/>
                <a:gd name="connsiteY114" fmla="*/ 414337 h 1288255"/>
                <a:gd name="connsiteX115" fmla="*/ 1028700 w 1378744"/>
                <a:gd name="connsiteY115" fmla="*/ 371475 h 1288255"/>
                <a:gd name="connsiteX116" fmla="*/ 1023938 w 1378744"/>
                <a:gd name="connsiteY116" fmla="*/ 288131 h 1288255"/>
                <a:gd name="connsiteX117" fmla="*/ 1012032 w 1378744"/>
                <a:gd name="connsiteY117" fmla="*/ 269081 h 1288255"/>
                <a:gd name="connsiteX118" fmla="*/ 1012032 w 1378744"/>
                <a:gd name="connsiteY118" fmla="*/ 211931 h 1288255"/>
                <a:gd name="connsiteX119" fmla="*/ 959644 w 1378744"/>
                <a:gd name="connsiteY119" fmla="*/ 190500 h 1288255"/>
                <a:gd name="connsiteX120" fmla="*/ 914400 w 1378744"/>
                <a:gd name="connsiteY120" fmla="*/ 111918 h 1288255"/>
                <a:gd name="connsiteX121" fmla="*/ 854869 w 1378744"/>
                <a:gd name="connsiteY121" fmla="*/ 76200 h 1288255"/>
                <a:gd name="connsiteX122" fmla="*/ 873919 w 1378744"/>
                <a:gd name="connsiteY122" fmla="*/ 16668 h 1288255"/>
                <a:gd name="connsiteX123" fmla="*/ 783432 w 1378744"/>
                <a:gd name="connsiteY123" fmla="*/ 0 h 1288255"/>
                <a:gd name="connsiteX0" fmla="*/ 783432 w 1378744"/>
                <a:gd name="connsiteY0" fmla="*/ 0 h 1288255"/>
                <a:gd name="connsiteX1" fmla="*/ 738188 w 1378744"/>
                <a:gd name="connsiteY1" fmla="*/ 26193 h 1288255"/>
                <a:gd name="connsiteX2" fmla="*/ 685800 w 1378744"/>
                <a:gd name="connsiteY2" fmla="*/ 28575 h 1288255"/>
                <a:gd name="connsiteX3" fmla="*/ 635794 w 1378744"/>
                <a:gd name="connsiteY3" fmla="*/ 73818 h 1288255"/>
                <a:gd name="connsiteX4" fmla="*/ 633413 w 1378744"/>
                <a:gd name="connsiteY4" fmla="*/ 114300 h 1288255"/>
                <a:gd name="connsiteX5" fmla="*/ 561975 w 1378744"/>
                <a:gd name="connsiteY5" fmla="*/ 190500 h 1288255"/>
                <a:gd name="connsiteX6" fmla="*/ 519113 w 1378744"/>
                <a:gd name="connsiteY6" fmla="*/ 214312 h 1288255"/>
                <a:gd name="connsiteX7" fmla="*/ 485775 w 1378744"/>
                <a:gd name="connsiteY7" fmla="*/ 252412 h 1288255"/>
                <a:gd name="connsiteX8" fmla="*/ 461963 w 1378744"/>
                <a:gd name="connsiteY8" fmla="*/ 273843 h 1288255"/>
                <a:gd name="connsiteX9" fmla="*/ 423863 w 1378744"/>
                <a:gd name="connsiteY9" fmla="*/ 333375 h 1288255"/>
                <a:gd name="connsiteX10" fmla="*/ 378619 w 1378744"/>
                <a:gd name="connsiteY10" fmla="*/ 357187 h 1288255"/>
                <a:gd name="connsiteX11" fmla="*/ 292894 w 1378744"/>
                <a:gd name="connsiteY11" fmla="*/ 376237 h 1288255"/>
                <a:gd name="connsiteX12" fmla="*/ 264319 w 1378744"/>
                <a:gd name="connsiteY12" fmla="*/ 373856 h 1288255"/>
                <a:gd name="connsiteX13" fmla="*/ 240507 w 1378744"/>
                <a:gd name="connsiteY13" fmla="*/ 359568 h 1288255"/>
                <a:gd name="connsiteX14" fmla="*/ 226219 w 1378744"/>
                <a:gd name="connsiteY14" fmla="*/ 338137 h 1288255"/>
                <a:gd name="connsiteX15" fmla="*/ 219075 w 1378744"/>
                <a:gd name="connsiteY15" fmla="*/ 311943 h 1288255"/>
                <a:gd name="connsiteX16" fmla="*/ 204788 w 1378744"/>
                <a:gd name="connsiteY16" fmla="*/ 309562 h 1288255"/>
                <a:gd name="connsiteX17" fmla="*/ 188119 w 1378744"/>
                <a:gd name="connsiteY17" fmla="*/ 304800 h 1288255"/>
                <a:gd name="connsiteX18" fmla="*/ 173832 w 1378744"/>
                <a:gd name="connsiteY18" fmla="*/ 302418 h 1288255"/>
                <a:gd name="connsiteX19" fmla="*/ 128588 w 1378744"/>
                <a:gd name="connsiteY19" fmla="*/ 352425 h 1288255"/>
                <a:gd name="connsiteX20" fmla="*/ 97632 w 1378744"/>
                <a:gd name="connsiteY20" fmla="*/ 371475 h 1288255"/>
                <a:gd name="connsiteX21" fmla="*/ 80963 w 1378744"/>
                <a:gd name="connsiteY21" fmla="*/ 390525 h 1288255"/>
                <a:gd name="connsiteX22" fmla="*/ 66675 w 1378744"/>
                <a:gd name="connsiteY22" fmla="*/ 435768 h 1288255"/>
                <a:gd name="connsiteX23" fmla="*/ 54769 w 1378744"/>
                <a:gd name="connsiteY23" fmla="*/ 447675 h 1288255"/>
                <a:gd name="connsiteX24" fmla="*/ 9525 w 1378744"/>
                <a:gd name="connsiteY24" fmla="*/ 466725 h 1288255"/>
                <a:gd name="connsiteX25" fmla="*/ 2382 w 1378744"/>
                <a:gd name="connsiteY25" fmla="*/ 481012 h 1288255"/>
                <a:gd name="connsiteX26" fmla="*/ 4763 w 1378744"/>
                <a:gd name="connsiteY26" fmla="*/ 533400 h 1288255"/>
                <a:gd name="connsiteX27" fmla="*/ 0 w 1378744"/>
                <a:gd name="connsiteY27" fmla="*/ 545306 h 1288255"/>
                <a:gd name="connsiteX28" fmla="*/ 73819 w 1378744"/>
                <a:gd name="connsiteY28" fmla="*/ 588168 h 1288255"/>
                <a:gd name="connsiteX29" fmla="*/ 90488 w 1378744"/>
                <a:gd name="connsiteY29" fmla="*/ 628650 h 1288255"/>
                <a:gd name="connsiteX30" fmla="*/ 83344 w 1378744"/>
                <a:gd name="connsiteY30" fmla="*/ 654843 h 1288255"/>
                <a:gd name="connsiteX31" fmla="*/ 73819 w 1378744"/>
                <a:gd name="connsiteY31" fmla="*/ 697706 h 1288255"/>
                <a:gd name="connsiteX32" fmla="*/ 78582 w 1378744"/>
                <a:gd name="connsiteY32" fmla="*/ 726281 h 1288255"/>
                <a:gd name="connsiteX33" fmla="*/ 95250 w 1378744"/>
                <a:gd name="connsiteY33" fmla="*/ 738187 h 1288255"/>
                <a:gd name="connsiteX34" fmla="*/ 116682 w 1378744"/>
                <a:gd name="connsiteY34" fmla="*/ 735806 h 1288255"/>
                <a:gd name="connsiteX35" fmla="*/ 123825 w 1378744"/>
                <a:gd name="connsiteY35" fmla="*/ 762000 h 1288255"/>
                <a:gd name="connsiteX36" fmla="*/ 126207 w 1378744"/>
                <a:gd name="connsiteY36" fmla="*/ 783431 h 1288255"/>
                <a:gd name="connsiteX37" fmla="*/ 152400 w 1378744"/>
                <a:gd name="connsiteY37" fmla="*/ 812006 h 1288255"/>
                <a:gd name="connsiteX38" fmla="*/ 164307 w 1378744"/>
                <a:gd name="connsiteY38" fmla="*/ 823912 h 1288255"/>
                <a:gd name="connsiteX39" fmla="*/ 173832 w 1378744"/>
                <a:gd name="connsiteY39" fmla="*/ 850106 h 1288255"/>
                <a:gd name="connsiteX40" fmla="*/ 169069 w 1378744"/>
                <a:gd name="connsiteY40" fmla="*/ 878681 h 1288255"/>
                <a:gd name="connsiteX41" fmla="*/ 176213 w 1378744"/>
                <a:gd name="connsiteY41" fmla="*/ 897731 h 1288255"/>
                <a:gd name="connsiteX42" fmla="*/ 200025 w 1378744"/>
                <a:gd name="connsiteY42" fmla="*/ 916781 h 1288255"/>
                <a:gd name="connsiteX43" fmla="*/ 226219 w 1378744"/>
                <a:gd name="connsiteY43" fmla="*/ 916781 h 1288255"/>
                <a:gd name="connsiteX44" fmla="*/ 300038 w 1378744"/>
                <a:gd name="connsiteY44" fmla="*/ 921543 h 1288255"/>
                <a:gd name="connsiteX45" fmla="*/ 395288 w 1378744"/>
                <a:gd name="connsiteY45" fmla="*/ 952500 h 1288255"/>
                <a:gd name="connsiteX46" fmla="*/ 414338 w 1378744"/>
                <a:gd name="connsiteY46" fmla="*/ 988218 h 1288255"/>
                <a:gd name="connsiteX47" fmla="*/ 435769 w 1378744"/>
                <a:gd name="connsiteY47" fmla="*/ 992981 h 1288255"/>
                <a:gd name="connsiteX48" fmla="*/ 464344 w 1378744"/>
                <a:gd name="connsiteY48" fmla="*/ 995362 h 1288255"/>
                <a:gd name="connsiteX49" fmla="*/ 507207 w 1378744"/>
                <a:gd name="connsiteY49" fmla="*/ 1026318 h 1288255"/>
                <a:gd name="connsiteX50" fmla="*/ 521494 w 1378744"/>
                <a:gd name="connsiteY50" fmla="*/ 1069181 h 1288255"/>
                <a:gd name="connsiteX51" fmla="*/ 545307 w 1378744"/>
                <a:gd name="connsiteY51" fmla="*/ 1107281 h 1288255"/>
                <a:gd name="connsiteX52" fmla="*/ 573882 w 1378744"/>
                <a:gd name="connsiteY52" fmla="*/ 1121568 h 1288255"/>
                <a:gd name="connsiteX53" fmla="*/ 585788 w 1378744"/>
                <a:gd name="connsiteY53" fmla="*/ 1131093 h 1288255"/>
                <a:gd name="connsiteX54" fmla="*/ 597694 w 1378744"/>
                <a:gd name="connsiteY54" fmla="*/ 1181100 h 1288255"/>
                <a:gd name="connsiteX55" fmla="*/ 633413 w 1378744"/>
                <a:gd name="connsiteY55" fmla="*/ 1250156 h 1288255"/>
                <a:gd name="connsiteX56" fmla="*/ 692944 w 1378744"/>
                <a:gd name="connsiteY56" fmla="*/ 1278730 h 1288255"/>
                <a:gd name="connsiteX57" fmla="*/ 728663 w 1378744"/>
                <a:gd name="connsiteY57" fmla="*/ 1288255 h 1288255"/>
                <a:gd name="connsiteX58" fmla="*/ 771525 w 1378744"/>
                <a:gd name="connsiteY58" fmla="*/ 1269205 h 1288255"/>
                <a:gd name="connsiteX59" fmla="*/ 771525 w 1378744"/>
                <a:gd name="connsiteY59" fmla="*/ 1235868 h 1288255"/>
                <a:gd name="connsiteX60" fmla="*/ 814388 w 1378744"/>
                <a:gd name="connsiteY60" fmla="*/ 1138237 h 1288255"/>
                <a:gd name="connsiteX61" fmla="*/ 795337 w 1378744"/>
                <a:gd name="connsiteY61" fmla="*/ 1212055 h 1288255"/>
                <a:gd name="connsiteX62" fmla="*/ 828675 w 1378744"/>
                <a:gd name="connsiteY62" fmla="*/ 1109662 h 1288255"/>
                <a:gd name="connsiteX63" fmla="*/ 812007 w 1378744"/>
                <a:gd name="connsiteY63" fmla="*/ 1171574 h 1288255"/>
                <a:gd name="connsiteX64" fmla="*/ 833438 w 1378744"/>
                <a:gd name="connsiteY64" fmla="*/ 1085850 h 1288255"/>
                <a:gd name="connsiteX65" fmla="*/ 797719 w 1378744"/>
                <a:gd name="connsiteY65" fmla="*/ 1059656 h 1288255"/>
                <a:gd name="connsiteX66" fmla="*/ 790575 w 1378744"/>
                <a:gd name="connsiteY66" fmla="*/ 1038225 h 1288255"/>
                <a:gd name="connsiteX67" fmla="*/ 790575 w 1378744"/>
                <a:gd name="connsiteY67" fmla="*/ 1021556 h 1288255"/>
                <a:gd name="connsiteX68" fmla="*/ 845344 w 1378744"/>
                <a:gd name="connsiteY68" fmla="*/ 952500 h 1288255"/>
                <a:gd name="connsiteX69" fmla="*/ 845344 w 1378744"/>
                <a:gd name="connsiteY69" fmla="*/ 952500 h 1288255"/>
                <a:gd name="connsiteX70" fmla="*/ 888207 w 1378744"/>
                <a:gd name="connsiteY70" fmla="*/ 966787 h 1288255"/>
                <a:gd name="connsiteX71" fmla="*/ 907257 w 1378744"/>
                <a:gd name="connsiteY71" fmla="*/ 981075 h 1288255"/>
                <a:gd name="connsiteX72" fmla="*/ 938213 w 1378744"/>
                <a:gd name="connsiteY72" fmla="*/ 990600 h 1288255"/>
                <a:gd name="connsiteX73" fmla="*/ 964407 w 1378744"/>
                <a:gd name="connsiteY73" fmla="*/ 985837 h 1288255"/>
                <a:gd name="connsiteX74" fmla="*/ 985838 w 1378744"/>
                <a:gd name="connsiteY74" fmla="*/ 985837 h 1288255"/>
                <a:gd name="connsiteX75" fmla="*/ 995363 w 1378744"/>
                <a:gd name="connsiteY75" fmla="*/ 995362 h 1288255"/>
                <a:gd name="connsiteX76" fmla="*/ 978694 w 1378744"/>
                <a:gd name="connsiteY76" fmla="*/ 1012031 h 1288255"/>
                <a:gd name="connsiteX77" fmla="*/ 969169 w 1378744"/>
                <a:gd name="connsiteY77" fmla="*/ 1031081 h 1288255"/>
                <a:gd name="connsiteX78" fmla="*/ 954882 w 1378744"/>
                <a:gd name="connsiteY78" fmla="*/ 1054893 h 1288255"/>
                <a:gd name="connsiteX79" fmla="*/ 950119 w 1378744"/>
                <a:gd name="connsiteY79" fmla="*/ 1083468 h 1288255"/>
                <a:gd name="connsiteX80" fmla="*/ 962025 w 1378744"/>
                <a:gd name="connsiteY80" fmla="*/ 1107281 h 1288255"/>
                <a:gd name="connsiteX81" fmla="*/ 983457 w 1378744"/>
                <a:gd name="connsiteY81" fmla="*/ 1131093 h 1288255"/>
                <a:gd name="connsiteX82" fmla="*/ 1002507 w 1378744"/>
                <a:gd name="connsiteY82" fmla="*/ 1133475 h 1288255"/>
                <a:gd name="connsiteX83" fmla="*/ 1028700 w 1378744"/>
                <a:gd name="connsiteY83" fmla="*/ 1126331 h 1288255"/>
                <a:gd name="connsiteX84" fmla="*/ 1031082 w 1378744"/>
                <a:gd name="connsiteY84" fmla="*/ 1097756 h 1288255"/>
                <a:gd name="connsiteX85" fmla="*/ 1057275 w 1378744"/>
                <a:gd name="connsiteY85" fmla="*/ 1085850 h 1288255"/>
                <a:gd name="connsiteX86" fmla="*/ 1076325 w 1378744"/>
                <a:gd name="connsiteY86" fmla="*/ 1097756 h 1288255"/>
                <a:gd name="connsiteX87" fmla="*/ 1100138 w 1378744"/>
                <a:gd name="connsiteY87" fmla="*/ 1107281 h 1288255"/>
                <a:gd name="connsiteX88" fmla="*/ 1123950 w 1378744"/>
                <a:gd name="connsiteY88" fmla="*/ 1121568 h 1288255"/>
                <a:gd name="connsiteX89" fmla="*/ 1143000 w 1378744"/>
                <a:gd name="connsiteY89" fmla="*/ 1123950 h 1288255"/>
                <a:gd name="connsiteX90" fmla="*/ 1157288 w 1378744"/>
                <a:gd name="connsiteY90" fmla="*/ 1112043 h 1288255"/>
                <a:gd name="connsiteX91" fmla="*/ 1159669 w 1378744"/>
                <a:gd name="connsiteY91" fmla="*/ 1085850 h 1288255"/>
                <a:gd name="connsiteX92" fmla="*/ 1166813 w 1378744"/>
                <a:gd name="connsiteY92" fmla="*/ 1052512 h 1288255"/>
                <a:gd name="connsiteX93" fmla="*/ 1197769 w 1378744"/>
                <a:gd name="connsiteY93" fmla="*/ 1016793 h 1288255"/>
                <a:gd name="connsiteX94" fmla="*/ 1195388 w 1378744"/>
                <a:gd name="connsiteY94" fmla="*/ 954881 h 1288255"/>
                <a:gd name="connsiteX95" fmla="*/ 1209675 w 1378744"/>
                <a:gd name="connsiteY95" fmla="*/ 945356 h 1288255"/>
                <a:gd name="connsiteX96" fmla="*/ 1235869 w 1378744"/>
                <a:gd name="connsiteY96" fmla="*/ 945356 h 1288255"/>
                <a:gd name="connsiteX97" fmla="*/ 1235869 w 1378744"/>
                <a:gd name="connsiteY97" fmla="*/ 931068 h 1288255"/>
                <a:gd name="connsiteX98" fmla="*/ 1212057 w 1378744"/>
                <a:gd name="connsiteY98" fmla="*/ 912018 h 1288255"/>
                <a:gd name="connsiteX99" fmla="*/ 1195388 w 1378744"/>
                <a:gd name="connsiteY99" fmla="*/ 881062 h 1288255"/>
                <a:gd name="connsiteX100" fmla="*/ 1157288 w 1378744"/>
                <a:gd name="connsiteY100" fmla="*/ 871537 h 1288255"/>
                <a:gd name="connsiteX101" fmla="*/ 1119188 w 1378744"/>
                <a:gd name="connsiteY101" fmla="*/ 859631 h 1288255"/>
                <a:gd name="connsiteX102" fmla="*/ 1119188 w 1378744"/>
                <a:gd name="connsiteY102" fmla="*/ 831056 h 1288255"/>
                <a:gd name="connsiteX103" fmla="*/ 1135857 w 1378744"/>
                <a:gd name="connsiteY103" fmla="*/ 807243 h 1288255"/>
                <a:gd name="connsiteX104" fmla="*/ 1197769 w 1378744"/>
                <a:gd name="connsiteY104" fmla="*/ 759618 h 1288255"/>
                <a:gd name="connsiteX105" fmla="*/ 1247775 w 1378744"/>
                <a:gd name="connsiteY105" fmla="*/ 762000 h 1288255"/>
                <a:gd name="connsiteX106" fmla="*/ 1278732 w 1378744"/>
                <a:gd name="connsiteY106" fmla="*/ 762000 h 1288255"/>
                <a:gd name="connsiteX107" fmla="*/ 1271588 w 1378744"/>
                <a:gd name="connsiteY107" fmla="*/ 735806 h 1288255"/>
                <a:gd name="connsiteX108" fmla="*/ 1378744 w 1378744"/>
                <a:gd name="connsiteY108" fmla="*/ 678656 h 1288255"/>
                <a:gd name="connsiteX109" fmla="*/ 1331119 w 1378744"/>
                <a:gd name="connsiteY109" fmla="*/ 552450 h 1288255"/>
                <a:gd name="connsiteX110" fmla="*/ 1278732 w 1378744"/>
                <a:gd name="connsiteY110" fmla="*/ 514350 h 1288255"/>
                <a:gd name="connsiteX111" fmla="*/ 1252538 w 1378744"/>
                <a:gd name="connsiteY111" fmla="*/ 431006 h 1288255"/>
                <a:gd name="connsiteX112" fmla="*/ 1181100 w 1378744"/>
                <a:gd name="connsiteY112" fmla="*/ 431006 h 1288255"/>
                <a:gd name="connsiteX113" fmla="*/ 1166813 w 1378744"/>
                <a:gd name="connsiteY113" fmla="*/ 395287 h 1288255"/>
                <a:gd name="connsiteX114" fmla="*/ 1107282 w 1378744"/>
                <a:gd name="connsiteY114" fmla="*/ 421481 h 1288255"/>
                <a:gd name="connsiteX115" fmla="*/ 1054894 w 1378744"/>
                <a:gd name="connsiteY115" fmla="*/ 414337 h 1288255"/>
                <a:gd name="connsiteX116" fmla="*/ 1028700 w 1378744"/>
                <a:gd name="connsiteY116" fmla="*/ 371475 h 1288255"/>
                <a:gd name="connsiteX117" fmla="*/ 1023938 w 1378744"/>
                <a:gd name="connsiteY117" fmla="*/ 288131 h 1288255"/>
                <a:gd name="connsiteX118" fmla="*/ 1012032 w 1378744"/>
                <a:gd name="connsiteY118" fmla="*/ 269081 h 1288255"/>
                <a:gd name="connsiteX119" fmla="*/ 1012032 w 1378744"/>
                <a:gd name="connsiteY119" fmla="*/ 211931 h 1288255"/>
                <a:gd name="connsiteX120" fmla="*/ 959644 w 1378744"/>
                <a:gd name="connsiteY120" fmla="*/ 190500 h 1288255"/>
                <a:gd name="connsiteX121" fmla="*/ 914400 w 1378744"/>
                <a:gd name="connsiteY121" fmla="*/ 111918 h 1288255"/>
                <a:gd name="connsiteX122" fmla="*/ 854869 w 1378744"/>
                <a:gd name="connsiteY122" fmla="*/ 76200 h 1288255"/>
                <a:gd name="connsiteX123" fmla="*/ 873919 w 1378744"/>
                <a:gd name="connsiteY123" fmla="*/ 16668 h 1288255"/>
                <a:gd name="connsiteX124" fmla="*/ 783432 w 1378744"/>
                <a:gd name="connsiteY124" fmla="*/ 0 h 1288255"/>
                <a:gd name="connsiteX0" fmla="*/ 783432 w 1378744"/>
                <a:gd name="connsiteY0" fmla="*/ 0 h 1288255"/>
                <a:gd name="connsiteX1" fmla="*/ 738188 w 1378744"/>
                <a:gd name="connsiteY1" fmla="*/ 26193 h 1288255"/>
                <a:gd name="connsiteX2" fmla="*/ 685800 w 1378744"/>
                <a:gd name="connsiteY2" fmla="*/ 28575 h 1288255"/>
                <a:gd name="connsiteX3" fmla="*/ 635794 w 1378744"/>
                <a:gd name="connsiteY3" fmla="*/ 73818 h 1288255"/>
                <a:gd name="connsiteX4" fmla="*/ 633413 w 1378744"/>
                <a:gd name="connsiteY4" fmla="*/ 114300 h 1288255"/>
                <a:gd name="connsiteX5" fmla="*/ 561975 w 1378744"/>
                <a:gd name="connsiteY5" fmla="*/ 190500 h 1288255"/>
                <a:gd name="connsiteX6" fmla="*/ 519113 w 1378744"/>
                <a:gd name="connsiteY6" fmla="*/ 214312 h 1288255"/>
                <a:gd name="connsiteX7" fmla="*/ 485775 w 1378744"/>
                <a:gd name="connsiteY7" fmla="*/ 252412 h 1288255"/>
                <a:gd name="connsiteX8" fmla="*/ 461963 w 1378744"/>
                <a:gd name="connsiteY8" fmla="*/ 273843 h 1288255"/>
                <a:gd name="connsiteX9" fmla="*/ 423863 w 1378744"/>
                <a:gd name="connsiteY9" fmla="*/ 333375 h 1288255"/>
                <a:gd name="connsiteX10" fmla="*/ 378619 w 1378744"/>
                <a:gd name="connsiteY10" fmla="*/ 357187 h 1288255"/>
                <a:gd name="connsiteX11" fmla="*/ 292894 w 1378744"/>
                <a:gd name="connsiteY11" fmla="*/ 376237 h 1288255"/>
                <a:gd name="connsiteX12" fmla="*/ 264319 w 1378744"/>
                <a:gd name="connsiteY12" fmla="*/ 373856 h 1288255"/>
                <a:gd name="connsiteX13" fmla="*/ 240507 w 1378744"/>
                <a:gd name="connsiteY13" fmla="*/ 359568 h 1288255"/>
                <a:gd name="connsiteX14" fmla="*/ 226219 w 1378744"/>
                <a:gd name="connsiteY14" fmla="*/ 338137 h 1288255"/>
                <a:gd name="connsiteX15" fmla="*/ 219075 w 1378744"/>
                <a:gd name="connsiteY15" fmla="*/ 311943 h 1288255"/>
                <a:gd name="connsiteX16" fmla="*/ 204788 w 1378744"/>
                <a:gd name="connsiteY16" fmla="*/ 309562 h 1288255"/>
                <a:gd name="connsiteX17" fmla="*/ 188119 w 1378744"/>
                <a:gd name="connsiteY17" fmla="*/ 304800 h 1288255"/>
                <a:gd name="connsiteX18" fmla="*/ 173832 w 1378744"/>
                <a:gd name="connsiteY18" fmla="*/ 302418 h 1288255"/>
                <a:gd name="connsiteX19" fmla="*/ 128588 w 1378744"/>
                <a:gd name="connsiteY19" fmla="*/ 352425 h 1288255"/>
                <a:gd name="connsiteX20" fmla="*/ 97632 w 1378744"/>
                <a:gd name="connsiteY20" fmla="*/ 371475 h 1288255"/>
                <a:gd name="connsiteX21" fmla="*/ 80963 w 1378744"/>
                <a:gd name="connsiteY21" fmla="*/ 390525 h 1288255"/>
                <a:gd name="connsiteX22" fmla="*/ 66675 w 1378744"/>
                <a:gd name="connsiteY22" fmla="*/ 435768 h 1288255"/>
                <a:gd name="connsiteX23" fmla="*/ 54769 w 1378744"/>
                <a:gd name="connsiteY23" fmla="*/ 447675 h 1288255"/>
                <a:gd name="connsiteX24" fmla="*/ 9525 w 1378744"/>
                <a:gd name="connsiteY24" fmla="*/ 466725 h 1288255"/>
                <a:gd name="connsiteX25" fmla="*/ 2382 w 1378744"/>
                <a:gd name="connsiteY25" fmla="*/ 481012 h 1288255"/>
                <a:gd name="connsiteX26" fmla="*/ 4763 w 1378744"/>
                <a:gd name="connsiteY26" fmla="*/ 533400 h 1288255"/>
                <a:gd name="connsiteX27" fmla="*/ 0 w 1378744"/>
                <a:gd name="connsiteY27" fmla="*/ 545306 h 1288255"/>
                <a:gd name="connsiteX28" fmla="*/ 73819 w 1378744"/>
                <a:gd name="connsiteY28" fmla="*/ 588168 h 1288255"/>
                <a:gd name="connsiteX29" fmla="*/ 90488 w 1378744"/>
                <a:gd name="connsiteY29" fmla="*/ 628650 h 1288255"/>
                <a:gd name="connsiteX30" fmla="*/ 83344 w 1378744"/>
                <a:gd name="connsiteY30" fmla="*/ 654843 h 1288255"/>
                <a:gd name="connsiteX31" fmla="*/ 73819 w 1378744"/>
                <a:gd name="connsiteY31" fmla="*/ 697706 h 1288255"/>
                <a:gd name="connsiteX32" fmla="*/ 78582 w 1378744"/>
                <a:gd name="connsiteY32" fmla="*/ 726281 h 1288255"/>
                <a:gd name="connsiteX33" fmla="*/ 95250 w 1378744"/>
                <a:gd name="connsiteY33" fmla="*/ 738187 h 1288255"/>
                <a:gd name="connsiteX34" fmla="*/ 116682 w 1378744"/>
                <a:gd name="connsiteY34" fmla="*/ 735806 h 1288255"/>
                <a:gd name="connsiteX35" fmla="*/ 123825 w 1378744"/>
                <a:gd name="connsiteY35" fmla="*/ 762000 h 1288255"/>
                <a:gd name="connsiteX36" fmla="*/ 126207 w 1378744"/>
                <a:gd name="connsiteY36" fmla="*/ 783431 h 1288255"/>
                <a:gd name="connsiteX37" fmla="*/ 152400 w 1378744"/>
                <a:gd name="connsiteY37" fmla="*/ 812006 h 1288255"/>
                <a:gd name="connsiteX38" fmla="*/ 164307 w 1378744"/>
                <a:gd name="connsiteY38" fmla="*/ 823912 h 1288255"/>
                <a:gd name="connsiteX39" fmla="*/ 173832 w 1378744"/>
                <a:gd name="connsiteY39" fmla="*/ 850106 h 1288255"/>
                <a:gd name="connsiteX40" fmla="*/ 169069 w 1378744"/>
                <a:gd name="connsiteY40" fmla="*/ 878681 h 1288255"/>
                <a:gd name="connsiteX41" fmla="*/ 176213 w 1378744"/>
                <a:gd name="connsiteY41" fmla="*/ 897731 h 1288255"/>
                <a:gd name="connsiteX42" fmla="*/ 200025 w 1378744"/>
                <a:gd name="connsiteY42" fmla="*/ 916781 h 1288255"/>
                <a:gd name="connsiteX43" fmla="*/ 226219 w 1378744"/>
                <a:gd name="connsiteY43" fmla="*/ 916781 h 1288255"/>
                <a:gd name="connsiteX44" fmla="*/ 300038 w 1378744"/>
                <a:gd name="connsiteY44" fmla="*/ 921543 h 1288255"/>
                <a:gd name="connsiteX45" fmla="*/ 395288 w 1378744"/>
                <a:gd name="connsiteY45" fmla="*/ 952500 h 1288255"/>
                <a:gd name="connsiteX46" fmla="*/ 414338 w 1378744"/>
                <a:gd name="connsiteY46" fmla="*/ 988218 h 1288255"/>
                <a:gd name="connsiteX47" fmla="*/ 435769 w 1378744"/>
                <a:gd name="connsiteY47" fmla="*/ 992981 h 1288255"/>
                <a:gd name="connsiteX48" fmla="*/ 464344 w 1378744"/>
                <a:gd name="connsiteY48" fmla="*/ 995362 h 1288255"/>
                <a:gd name="connsiteX49" fmla="*/ 507207 w 1378744"/>
                <a:gd name="connsiteY49" fmla="*/ 1026318 h 1288255"/>
                <a:gd name="connsiteX50" fmla="*/ 521494 w 1378744"/>
                <a:gd name="connsiteY50" fmla="*/ 1069181 h 1288255"/>
                <a:gd name="connsiteX51" fmla="*/ 545307 w 1378744"/>
                <a:gd name="connsiteY51" fmla="*/ 1107281 h 1288255"/>
                <a:gd name="connsiteX52" fmla="*/ 573882 w 1378744"/>
                <a:gd name="connsiteY52" fmla="*/ 1121568 h 1288255"/>
                <a:gd name="connsiteX53" fmla="*/ 585788 w 1378744"/>
                <a:gd name="connsiteY53" fmla="*/ 1131093 h 1288255"/>
                <a:gd name="connsiteX54" fmla="*/ 597694 w 1378744"/>
                <a:gd name="connsiteY54" fmla="*/ 1181100 h 1288255"/>
                <a:gd name="connsiteX55" fmla="*/ 633413 w 1378744"/>
                <a:gd name="connsiteY55" fmla="*/ 1250156 h 1288255"/>
                <a:gd name="connsiteX56" fmla="*/ 692944 w 1378744"/>
                <a:gd name="connsiteY56" fmla="*/ 1278730 h 1288255"/>
                <a:gd name="connsiteX57" fmla="*/ 728663 w 1378744"/>
                <a:gd name="connsiteY57" fmla="*/ 1288255 h 1288255"/>
                <a:gd name="connsiteX58" fmla="*/ 771525 w 1378744"/>
                <a:gd name="connsiteY58" fmla="*/ 1269205 h 1288255"/>
                <a:gd name="connsiteX59" fmla="*/ 771525 w 1378744"/>
                <a:gd name="connsiteY59" fmla="*/ 1235868 h 1288255"/>
                <a:gd name="connsiteX60" fmla="*/ 814388 w 1378744"/>
                <a:gd name="connsiteY60" fmla="*/ 1138237 h 1288255"/>
                <a:gd name="connsiteX61" fmla="*/ 795337 w 1378744"/>
                <a:gd name="connsiteY61" fmla="*/ 1212055 h 1288255"/>
                <a:gd name="connsiteX62" fmla="*/ 828675 w 1378744"/>
                <a:gd name="connsiteY62" fmla="*/ 1109662 h 1288255"/>
                <a:gd name="connsiteX63" fmla="*/ 809625 w 1378744"/>
                <a:gd name="connsiteY63" fmla="*/ 1197768 h 1288255"/>
                <a:gd name="connsiteX64" fmla="*/ 833438 w 1378744"/>
                <a:gd name="connsiteY64" fmla="*/ 1085850 h 1288255"/>
                <a:gd name="connsiteX65" fmla="*/ 797719 w 1378744"/>
                <a:gd name="connsiteY65" fmla="*/ 1059656 h 1288255"/>
                <a:gd name="connsiteX66" fmla="*/ 790575 w 1378744"/>
                <a:gd name="connsiteY66" fmla="*/ 1038225 h 1288255"/>
                <a:gd name="connsiteX67" fmla="*/ 790575 w 1378744"/>
                <a:gd name="connsiteY67" fmla="*/ 1021556 h 1288255"/>
                <a:gd name="connsiteX68" fmla="*/ 845344 w 1378744"/>
                <a:gd name="connsiteY68" fmla="*/ 952500 h 1288255"/>
                <a:gd name="connsiteX69" fmla="*/ 845344 w 1378744"/>
                <a:gd name="connsiteY69" fmla="*/ 952500 h 1288255"/>
                <a:gd name="connsiteX70" fmla="*/ 888207 w 1378744"/>
                <a:gd name="connsiteY70" fmla="*/ 966787 h 1288255"/>
                <a:gd name="connsiteX71" fmla="*/ 907257 w 1378744"/>
                <a:gd name="connsiteY71" fmla="*/ 981075 h 1288255"/>
                <a:gd name="connsiteX72" fmla="*/ 938213 w 1378744"/>
                <a:gd name="connsiteY72" fmla="*/ 990600 h 1288255"/>
                <a:gd name="connsiteX73" fmla="*/ 964407 w 1378744"/>
                <a:gd name="connsiteY73" fmla="*/ 985837 h 1288255"/>
                <a:gd name="connsiteX74" fmla="*/ 985838 w 1378744"/>
                <a:gd name="connsiteY74" fmla="*/ 985837 h 1288255"/>
                <a:gd name="connsiteX75" fmla="*/ 995363 w 1378744"/>
                <a:gd name="connsiteY75" fmla="*/ 995362 h 1288255"/>
                <a:gd name="connsiteX76" fmla="*/ 978694 w 1378744"/>
                <a:gd name="connsiteY76" fmla="*/ 1012031 h 1288255"/>
                <a:gd name="connsiteX77" fmla="*/ 969169 w 1378744"/>
                <a:gd name="connsiteY77" fmla="*/ 1031081 h 1288255"/>
                <a:gd name="connsiteX78" fmla="*/ 954882 w 1378744"/>
                <a:gd name="connsiteY78" fmla="*/ 1054893 h 1288255"/>
                <a:gd name="connsiteX79" fmla="*/ 950119 w 1378744"/>
                <a:gd name="connsiteY79" fmla="*/ 1083468 h 1288255"/>
                <a:gd name="connsiteX80" fmla="*/ 962025 w 1378744"/>
                <a:gd name="connsiteY80" fmla="*/ 1107281 h 1288255"/>
                <a:gd name="connsiteX81" fmla="*/ 983457 w 1378744"/>
                <a:gd name="connsiteY81" fmla="*/ 1131093 h 1288255"/>
                <a:gd name="connsiteX82" fmla="*/ 1002507 w 1378744"/>
                <a:gd name="connsiteY82" fmla="*/ 1133475 h 1288255"/>
                <a:gd name="connsiteX83" fmla="*/ 1028700 w 1378744"/>
                <a:gd name="connsiteY83" fmla="*/ 1126331 h 1288255"/>
                <a:gd name="connsiteX84" fmla="*/ 1031082 w 1378744"/>
                <a:gd name="connsiteY84" fmla="*/ 1097756 h 1288255"/>
                <a:gd name="connsiteX85" fmla="*/ 1057275 w 1378744"/>
                <a:gd name="connsiteY85" fmla="*/ 1085850 h 1288255"/>
                <a:gd name="connsiteX86" fmla="*/ 1076325 w 1378744"/>
                <a:gd name="connsiteY86" fmla="*/ 1097756 h 1288255"/>
                <a:gd name="connsiteX87" fmla="*/ 1100138 w 1378744"/>
                <a:gd name="connsiteY87" fmla="*/ 1107281 h 1288255"/>
                <a:gd name="connsiteX88" fmla="*/ 1123950 w 1378744"/>
                <a:gd name="connsiteY88" fmla="*/ 1121568 h 1288255"/>
                <a:gd name="connsiteX89" fmla="*/ 1143000 w 1378744"/>
                <a:gd name="connsiteY89" fmla="*/ 1123950 h 1288255"/>
                <a:gd name="connsiteX90" fmla="*/ 1157288 w 1378744"/>
                <a:gd name="connsiteY90" fmla="*/ 1112043 h 1288255"/>
                <a:gd name="connsiteX91" fmla="*/ 1159669 w 1378744"/>
                <a:gd name="connsiteY91" fmla="*/ 1085850 h 1288255"/>
                <a:gd name="connsiteX92" fmla="*/ 1166813 w 1378744"/>
                <a:gd name="connsiteY92" fmla="*/ 1052512 h 1288255"/>
                <a:gd name="connsiteX93" fmla="*/ 1197769 w 1378744"/>
                <a:gd name="connsiteY93" fmla="*/ 1016793 h 1288255"/>
                <a:gd name="connsiteX94" fmla="*/ 1195388 w 1378744"/>
                <a:gd name="connsiteY94" fmla="*/ 954881 h 1288255"/>
                <a:gd name="connsiteX95" fmla="*/ 1209675 w 1378744"/>
                <a:gd name="connsiteY95" fmla="*/ 945356 h 1288255"/>
                <a:gd name="connsiteX96" fmla="*/ 1235869 w 1378744"/>
                <a:gd name="connsiteY96" fmla="*/ 945356 h 1288255"/>
                <a:gd name="connsiteX97" fmla="*/ 1235869 w 1378744"/>
                <a:gd name="connsiteY97" fmla="*/ 931068 h 1288255"/>
                <a:gd name="connsiteX98" fmla="*/ 1212057 w 1378744"/>
                <a:gd name="connsiteY98" fmla="*/ 912018 h 1288255"/>
                <a:gd name="connsiteX99" fmla="*/ 1195388 w 1378744"/>
                <a:gd name="connsiteY99" fmla="*/ 881062 h 1288255"/>
                <a:gd name="connsiteX100" fmla="*/ 1157288 w 1378744"/>
                <a:gd name="connsiteY100" fmla="*/ 871537 h 1288255"/>
                <a:gd name="connsiteX101" fmla="*/ 1119188 w 1378744"/>
                <a:gd name="connsiteY101" fmla="*/ 859631 h 1288255"/>
                <a:gd name="connsiteX102" fmla="*/ 1119188 w 1378744"/>
                <a:gd name="connsiteY102" fmla="*/ 831056 h 1288255"/>
                <a:gd name="connsiteX103" fmla="*/ 1135857 w 1378744"/>
                <a:gd name="connsiteY103" fmla="*/ 807243 h 1288255"/>
                <a:gd name="connsiteX104" fmla="*/ 1197769 w 1378744"/>
                <a:gd name="connsiteY104" fmla="*/ 759618 h 1288255"/>
                <a:gd name="connsiteX105" fmla="*/ 1247775 w 1378744"/>
                <a:gd name="connsiteY105" fmla="*/ 762000 h 1288255"/>
                <a:gd name="connsiteX106" fmla="*/ 1278732 w 1378744"/>
                <a:gd name="connsiteY106" fmla="*/ 762000 h 1288255"/>
                <a:gd name="connsiteX107" fmla="*/ 1271588 w 1378744"/>
                <a:gd name="connsiteY107" fmla="*/ 735806 h 1288255"/>
                <a:gd name="connsiteX108" fmla="*/ 1378744 w 1378744"/>
                <a:gd name="connsiteY108" fmla="*/ 678656 h 1288255"/>
                <a:gd name="connsiteX109" fmla="*/ 1331119 w 1378744"/>
                <a:gd name="connsiteY109" fmla="*/ 552450 h 1288255"/>
                <a:gd name="connsiteX110" fmla="*/ 1278732 w 1378744"/>
                <a:gd name="connsiteY110" fmla="*/ 514350 h 1288255"/>
                <a:gd name="connsiteX111" fmla="*/ 1252538 w 1378744"/>
                <a:gd name="connsiteY111" fmla="*/ 431006 h 1288255"/>
                <a:gd name="connsiteX112" fmla="*/ 1181100 w 1378744"/>
                <a:gd name="connsiteY112" fmla="*/ 431006 h 1288255"/>
                <a:gd name="connsiteX113" fmla="*/ 1166813 w 1378744"/>
                <a:gd name="connsiteY113" fmla="*/ 395287 h 1288255"/>
                <a:gd name="connsiteX114" fmla="*/ 1107282 w 1378744"/>
                <a:gd name="connsiteY114" fmla="*/ 421481 h 1288255"/>
                <a:gd name="connsiteX115" fmla="*/ 1054894 w 1378744"/>
                <a:gd name="connsiteY115" fmla="*/ 414337 h 1288255"/>
                <a:gd name="connsiteX116" fmla="*/ 1028700 w 1378744"/>
                <a:gd name="connsiteY116" fmla="*/ 371475 h 1288255"/>
                <a:gd name="connsiteX117" fmla="*/ 1023938 w 1378744"/>
                <a:gd name="connsiteY117" fmla="*/ 288131 h 1288255"/>
                <a:gd name="connsiteX118" fmla="*/ 1012032 w 1378744"/>
                <a:gd name="connsiteY118" fmla="*/ 269081 h 1288255"/>
                <a:gd name="connsiteX119" fmla="*/ 1012032 w 1378744"/>
                <a:gd name="connsiteY119" fmla="*/ 211931 h 1288255"/>
                <a:gd name="connsiteX120" fmla="*/ 959644 w 1378744"/>
                <a:gd name="connsiteY120" fmla="*/ 190500 h 1288255"/>
                <a:gd name="connsiteX121" fmla="*/ 914400 w 1378744"/>
                <a:gd name="connsiteY121" fmla="*/ 111918 h 1288255"/>
                <a:gd name="connsiteX122" fmla="*/ 854869 w 1378744"/>
                <a:gd name="connsiteY122" fmla="*/ 76200 h 1288255"/>
                <a:gd name="connsiteX123" fmla="*/ 873919 w 1378744"/>
                <a:gd name="connsiteY123" fmla="*/ 16668 h 1288255"/>
                <a:gd name="connsiteX124" fmla="*/ 783432 w 1378744"/>
                <a:gd name="connsiteY124" fmla="*/ 0 h 1288255"/>
                <a:gd name="connsiteX0" fmla="*/ 783432 w 1378744"/>
                <a:gd name="connsiteY0" fmla="*/ 0 h 1288255"/>
                <a:gd name="connsiteX1" fmla="*/ 738188 w 1378744"/>
                <a:gd name="connsiteY1" fmla="*/ 26193 h 1288255"/>
                <a:gd name="connsiteX2" fmla="*/ 685800 w 1378744"/>
                <a:gd name="connsiteY2" fmla="*/ 28575 h 1288255"/>
                <a:gd name="connsiteX3" fmla="*/ 635794 w 1378744"/>
                <a:gd name="connsiteY3" fmla="*/ 73818 h 1288255"/>
                <a:gd name="connsiteX4" fmla="*/ 633413 w 1378744"/>
                <a:gd name="connsiteY4" fmla="*/ 114300 h 1288255"/>
                <a:gd name="connsiteX5" fmla="*/ 561975 w 1378744"/>
                <a:gd name="connsiteY5" fmla="*/ 190500 h 1288255"/>
                <a:gd name="connsiteX6" fmla="*/ 519113 w 1378744"/>
                <a:gd name="connsiteY6" fmla="*/ 214312 h 1288255"/>
                <a:gd name="connsiteX7" fmla="*/ 485775 w 1378744"/>
                <a:gd name="connsiteY7" fmla="*/ 252412 h 1288255"/>
                <a:gd name="connsiteX8" fmla="*/ 461963 w 1378744"/>
                <a:gd name="connsiteY8" fmla="*/ 273843 h 1288255"/>
                <a:gd name="connsiteX9" fmla="*/ 423863 w 1378744"/>
                <a:gd name="connsiteY9" fmla="*/ 333375 h 1288255"/>
                <a:gd name="connsiteX10" fmla="*/ 378619 w 1378744"/>
                <a:gd name="connsiteY10" fmla="*/ 357187 h 1288255"/>
                <a:gd name="connsiteX11" fmla="*/ 292894 w 1378744"/>
                <a:gd name="connsiteY11" fmla="*/ 376237 h 1288255"/>
                <a:gd name="connsiteX12" fmla="*/ 264319 w 1378744"/>
                <a:gd name="connsiteY12" fmla="*/ 373856 h 1288255"/>
                <a:gd name="connsiteX13" fmla="*/ 240507 w 1378744"/>
                <a:gd name="connsiteY13" fmla="*/ 359568 h 1288255"/>
                <a:gd name="connsiteX14" fmla="*/ 226219 w 1378744"/>
                <a:gd name="connsiteY14" fmla="*/ 338137 h 1288255"/>
                <a:gd name="connsiteX15" fmla="*/ 219075 w 1378744"/>
                <a:gd name="connsiteY15" fmla="*/ 311943 h 1288255"/>
                <a:gd name="connsiteX16" fmla="*/ 204788 w 1378744"/>
                <a:gd name="connsiteY16" fmla="*/ 309562 h 1288255"/>
                <a:gd name="connsiteX17" fmla="*/ 188119 w 1378744"/>
                <a:gd name="connsiteY17" fmla="*/ 304800 h 1288255"/>
                <a:gd name="connsiteX18" fmla="*/ 173832 w 1378744"/>
                <a:gd name="connsiteY18" fmla="*/ 302418 h 1288255"/>
                <a:gd name="connsiteX19" fmla="*/ 128588 w 1378744"/>
                <a:gd name="connsiteY19" fmla="*/ 352425 h 1288255"/>
                <a:gd name="connsiteX20" fmla="*/ 97632 w 1378744"/>
                <a:gd name="connsiteY20" fmla="*/ 371475 h 1288255"/>
                <a:gd name="connsiteX21" fmla="*/ 80963 w 1378744"/>
                <a:gd name="connsiteY21" fmla="*/ 390525 h 1288255"/>
                <a:gd name="connsiteX22" fmla="*/ 66675 w 1378744"/>
                <a:gd name="connsiteY22" fmla="*/ 435768 h 1288255"/>
                <a:gd name="connsiteX23" fmla="*/ 54769 w 1378744"/>
                <a:gd name="connsiteY23" fmla="*/ 447675 h 1288255"/>
                <a:gd name="connsiteX24" fmla="*/ 9525 w 1378744"/>
                <a:gd name="connsiteY24" fmla="*/ 466725 h 1288255"/>
                <a:gd name="connsiteX25" fmla="*/ 2382 w 1378744"/>
                <a:gd name="connsiteY25" fmla="*/ 481012 h 1288255"/>
                <a:gd name="connsiteX26" fmla="*/ 4763 w 1378744"/>
                <a:gd name="connsiteY26" fmla="*/ 533400 h 1288255"/>
                <a:gd name="connsiteX27" fmla="*/ 0 w 1378744"/>
                <a:gd name="connsiteY27" fmla="*/ 545306 h 1288255"/>
                <a:gd name="connsiteX28" fmla="*/ 73819 w 1378744"/>
                <a:gd name="connsiteY28" fmla="*/ 588168 h 1288255"/>
                <a:gd name="connsiteX29" fmla="*/ 90488 w 1378744"/>
                <a:gd name="connsiteY29" fmla="*/ 628650 h 1288255"/>
                <a:gd name="connsiteX30" fmla="*/ 83344 w 1378744"/>
                <a:gd name="connsiteY30" fmla="*/ 654843 h 1288255"/>
                <a:gd name="connsiteX31" fmla="*/ 73819 w 1378744"/>
                <a:gd name="connsiteY31" fmla="*/ 697706 h 1288255"/>
                <a:gd name="connsiteX32" fmla="*/ 78582 w 1378744"/>
                <a:gd name="connsiteY32" fmla="*/ 726281 h 1288255"/>
                <a:gd name="connsiteX33" fmla="*/ 95250 w 1378744"/>
                <a:gd name="connsiteY33" fmla="*/ 738187 h 1288255"/>
                <a:gd name="connsiteX34" fmla="*/ 116682 w 1378744"/>
                <a:gd name="connsiteY34" fmla="*/ 735806 h 1288255"/>
                <a:gd name="connsiteX35" fmla="*/ 123825 w 1378744"/>
                <a:gd name="connsiteY35" fmla="*/ 762000 h 1288255"/>
                <a:gd name="connsiteX36" fmla="*/ 126207 w 1378744"/>
                <a:gd name="connsiteY36" fmla="*/ 783431 h 1288255"/>
                <a:gd name="connsiteX37" fmla="*/ 152400 w 1378744"/>
                <a:gd name="connsiteY37" fmla="*/ 812006 h 1288255"/>
                <a:gd name="connsiteX38" fmla="*/ 164307 w 1378744"/>
                <a:gd name="connsiteY38" fmla="*/ 823912 h 1288255"/>
                <a:gd name="connsiteX39" fmla="*/ 173832 w 1378744"/>
                <a:gd name="connsiteY39" fmla="*/ 850106 h 1288255"/>
                <a:gd name="connsiteX40" fmla="*/ 169069 w 1378744"/>
                <a:gd name="connsiteY40" fmla="*/ 878681 h 1288255"/>
                <a:gd name="connsiteX41" fmla="*/ 176213 w 1378744"/>
                <a:gd name="connsiteY41" fmla="*/ 897731 h 1288255"/>
                <a:gd name="connsiteX42" fmla="*/ 200025 w 1378744"/>
                <a:gd name="connsiteY42" fmla="*/ 916781 h 1288255"/>
                <a:gd name="connsiteX43" fmla="*/ 226219 w 1378744"/>
                <a:gd name="connsiteY43" fmla="*/ 916781 h 1288255"/>
                <a:gd name="connsiteX44" fmla="*/ 300038 w 1378744"/>
                <a:gd name="connsiteY44" fmla="*/ 921543 h 1288255"/>
                <a:gd name="connsiteX45" fmla="*/ 395288 w 1378744"/>
                <a:gd name="connsiteY45" fmla="*/ 952500 h 1288255"/>
                <a:gd name="connsiteX46" fmla="*/ 414338 w 1378744"/>
                <a:gd name="connsiteY46" fmla="*/ 988218 h 1288255"/>
                <a:gd name="connsiteX47" fmla="*/ 435769 w 1378744"/>
                <a:gd name="connsiteY47" fmla="*/ 992981 h 1288255"/>
                <a:gd name="connsiteX48" fmla="*/ 464344 w 1378744"/>
                <a:gd name="connsiteY48" fmla="*/ 995362 h 1288255"/>
                <a:gd name="connsiteX49" fmla="*/ 507207 w 1378744"/>
                <a:gd name="connsiteY49" fmla="*/ 1026318 h 1288255"/>
                <a:gd name="connsiteX50" fmla="*/ 521494 w 1378744"/>
                <a:gd name="connsiteY50" fmla="*/ 1069181 h 1288255"/>
                <a:gd name="connsiteX51" fmla="*/ 545307 w 1378744"/>
                <a:gd name="connsiteY51" fmla="*/ 1107281 h 1288255"/>
                <a:gd name="connsiteX52" fmla="*/ 573882 w 1378744"/>
                <a:gd name="connsiteY52" fmla="*/ 1121568 h 1288255"/>
                <a:gd name="connsiteX53" fmla="*/ 585788 w 1378744"/>
                <a:gd name="connsiteY53" fmla="*/ 1131093 h 1288255"/>
                <a:gd name="connsiteX54" fmla="*/ 597694 w 1378744"/>
                <a:gd name="connsiteY54" fmla="*/ 1181100 h 1288255"/>
                <a:gd name="connsiteX55" fmla="*/ 633413 w 1378744"/>
                <a:gd name="connsiteY55" fmla="*/ 1250156 h 1288255"/>
                <a:gd name="connsiteX56" fmla="*/ 692944 w 1378744"/>
                <a:gd name="connsiteY56" fmla="*/ 1278730 h 1288255"/>
                <a:gd name="connsiteX57" fmla="*/ 728663 w 1378744"/>
                <a:gd name="connsiteY57" fmla="*/ 1288255 h 1288255"/>
                <a:gd name="connsiteX58" fmla="*/ 771525 w 1378744"/>
                <a:gd name="connsiteY58" fmla="*/ 1269205 h 1288255"/>
                <a:gd name="connsiteX59" fmla="*/ 771525 w 1378744"/>
                <a:gd name="connsiteY59" fmla="*/ 1235868 h 1288255"/>
                <a:gd name="connsiteX60" fmla="*/ 800101 w 1378744"/>
                <a:gd name="connsiteY60" fmla="*/ 1142999 h 1288255"/>
                <a:gd name="connsiteX61" fmla="*/ 795337 w 1378744"/>
                <a:gd name="connsiteY61" fmla="*/ 1212055 h 1288255"/>
                <a:gd name="connsiteX62" fmla="*/ 828675 w 1378744"/>
                <a:gd name="connsiteY62" fmla="*/ 1109662 h 1288255"/>
                <a:gd name="connsiteX63" fmla="*/ 809625 w 1378744"/>
                <a:gd name="connsiteY63" fmla="*/ 1197768 h 1288255"/>
                <a:gd name="connsiteX64" fmla="*/ 833438 w 1378744"/>
                <a:gd name="connsiteY64" fmla="*/ 1085850 h 1288255"/>
                <a:gd name="connsiteX65" fmla="*/ 797719 w 1378744"/>
                <a:gd name="connsiteY65" fmla="*/ 1059656 h 1288255"/>
                <a:gd name="connsiteX66" fmla="*/ 790575 w 1378744"/>
                <a:gd name="connsiteY66" fmla="*/ 1038225 h 1288255"/>
                <a:gd name="connsiteX67" fmla="*/ 790575 w 1378744"/>
                <a:gd name="connsiteY67" fmla="*/ 1021556 h 1288255"/>
                <a:gd name="connsiteX68" fmla="*/ 845344 w 1378744"/>
                <a:gd name="connsiteY68" fmla="*/ 952500 h 1288255"/>
                <a:gd name="connsiteX69" fmla="*/ 845344 w 1378744"/>
                <a:gd name="connsiteY69" fmla="*/ 952500 h 1288255"/>
                <a:gd name="connsiteX70" fmla="*/ 888207 w 1378744"/>
                <a:gd name="connsiteY70" fmla="*/ 966787 h 1288255"/>
                <a:gd name="connsiteX71" fmla="*/ 907257 w 1378744"/>
                <a:gd name="connsiteY71" fmla="*/ 981075 h 1288255"/>
                <a:gd name="connsiteX72" fmla="*/ 938213 w 1378744"/>
                <a:gd name="connsiteY72" fmla="*/ 990600 h 1288255"/>
                <a:gd name="connsiteX73" fmla="*/ 964407 w 1378744"/>
                <a:gd name="connsiteY73" fmla="*/ 985837 h 1288255"/>
                <a:gd name="connsiteX74" fmla="*/ 985838 w 1378744"/>
                <a:gd name="connsiteY74" fmla="*/ 985837 h 1288255"/>
                <a:gd name="connsiteX75" fmla="*/ 995363 w 1378744"/>
                <a:gd name="connsiteY75" fmla="*/ 995362 h 1288255"/>
                <a:gd name="connsiteX76" fmla="*/ 978694 w 1378744"/>
                <a:gd name="connsiteY76" fmla="*/ 1012031 h 1288255"/>
                <a:gd name="connsiteX77" fmla="*/ 969169 w 1378744"/>
                <a:gd name="connsiteY77" fmla="*/ 1031081 h 1288255"/>
                <a:gd name="connsiteX78" fmla="*/ 954882 w 1378744"/>
                <a:gd name="connsiteY78" fmla="*/ 1054893 h 1288255"/>
                <a:gd name="connsiteX79" fmla="*/ 950119 w 1378744"/>
                <a:gd name="connsiteY79" fmla="*/ 1083468 h 1288255"/>
                <a:gd name="connsiteX80" fmla="*/ 962025 w 1378744"/>
                <a:gd name="connsiteY80" fmla="*/ 1107281 h 1288255"/>
                <a:gd name="connsiteX81" fmla="*/ 983457 w 1378744"/>
                <a:gd name="connsiteY81" fmla="*/ 1131093 h 1288255"/>
                <a:gd name="connsiteX82" fmla="*/ 1002507 w 1378744"/>
                <a:gd name="connsiteY82" fmla="*/ 1133475 h 1288255"/>
                <a:gd name="connsiteX83" fmla="*/ 1028700 w 1378744"/>
                <a:gd name="connsiteY83" fmla="*/ 1126331 h 1288255"/>
                <a:gd name="connsiteX84" fmla="*/ 1031082 w 1378744"/>
                <a:gd name="connsiteY84" fmla="*/ 1097756 h 1288255"/>
                <a:gd name="connsiteX85" fmla="*/ 1057275 w 1378744"/>
                <a:gd name="connsiteY85" fmla="*/ 1085850 h 1288255"/>
                <a:gd name="connsiteX86" fmla="*/ 1076325 w 1378744"/>
                <a:gd name="connsiteY86" fmla="*/ 1097756 h 1288255"/>
                <a:gd name="connsiteX87" fmla="*/ 1100138 w 1378744"/>
                <a:gd name="connsiteY87" fmla="*/ 1107281 h 1288255"/>
                <a:gd name="connsiteX88" fmla="*/ 1123950 w 1378744"/>
                <a:gd name="connsiteY88" fmla="*/ 1121568 h 1288255"/>
                <a:gd name="connsiteX89" fmla="*/ 1143000 w 1378744"/>
                <a:gd name="connsiteY89" fmla="*/ 1123950 h 1288255"/>
                <a:gd name="connsiteX90" fmla="*/ 1157288 w 1378744"/>
                <a:gd name="connsiteY90" fmla="*/ 1112043 h 1288255"/>
                <a:gd name="connsiteX91" fmla="*/ 1159669 w 1378744"/>
                <a:gd name="connsiteY91" fmla="*/ 1085850 h 1288255"/>
                <a:gd name="connsiteX92" fmla="*/ 1166813 w 1378744"/>
                <a:gd name="connsiteY92" fmla="*/ 1052512 h 1288255"/>
                <a:gd name="connsiteX93" fmla="*/ 1197769 w 1378744"/>
                <a:gd name="connsiteY93" fmla="*/ 1016793 h 1288255"/>
                <a:gd name="connsiteX94" fmla="*/ 1195388 w 1378744"/>
                <a:gd name="connsiteY94" fmla="*/ 954881 h 1288255"/>
                <a:gd name="connsiteX95" fmla="*/ 1209675 w 1378744"/>
                <a:gd name="connsiteY95" fmla="*/ 945356 h 1288255"/>
                <a:gd name="connsiteX96" fmla="*/ 1235869 w 1378744"/>
                <a:gd name="connsiteY96" fmla="*/ 945356 h 1288255"/>
                <a:gd name="connsiteX97" fmla="*/ 1235869 w 1378744"/>
                <a:gd name="connsiteY97" fmla="*/ 931068 h 1288255"/>
                <a:gd name="connsiteX98" fmla="*/ 1212057 w 1378744"/>
                <a:gd name="connsiteY98" fmla="*/ 912018 h 1288255"/>
                <a:gd name="connsiteX99" fmla="*/ 1195388 w 1378744"/>
                <a:gd name="connsiteY99" fmla="*/ 881062 h 1288255"/>
                <a:gd name="connsiteX100" fmla="*/ 1157288 w 1378744"/>
                <a:gd name="connsiteY100" fmla="*/ 871537 h 1288255"/>
                <a:gd name="connsiteX101" fmla="*/ 1119188 w 1378744"/>
                <a:gd name="connsiteY101" fmla="*/ 859631 h 1288255"/>
                <a:gd name="connsiteX102" fmla="*/ 1119188 w 1378744"/>
                <a:gd name="connsiteY102" fmla="*/ 831056 h 1288255"/>
                <a:gd name="connsiteX103" fmla="*/ 1135857 w 1378744"/>
                <a:gd name="connsiteY103" fmla="*/ 807243 h 1288255"/>
                <a:gd name="connsiteX104" fmla="*/ 1197769 w 1378744"/>
                <a:gd name="connsiteY104" fmla="*/ 759618 h 1288255"/>
                <a:gd name="connsiteX105" fmla="*/ 1247775 w 1378744"/>
                <a:gd name="connsiteY105" fmla="*/ 762000 h 1288255"/>
                <a:gd name="connsiteX106" fmla="*/ 1278732 w 1378744"/>
                <a:gd name="connsiteY106" fmla="*/ 762000 h 1288255"/>
                <a:gd name="connsiteX107" fmla="*/ 1271588 w 1378744"/>
                <a:gd name="connsiteY107" fmla="*/ 735806 h 1288255"/>
                <a:gd name="connsiteX108" fmla="*/ 1378744 w 1378744"/>
                <a:gd name="connsiteY108" fmla="*/ 678656 h 1288255"/>
                <a:gd name="connsiteX109" fmla="*/ 1331119 w 1378744"/>
                <a:gd name="connsiteY109" fmla="*/ 552450 h 1288255"/>
                <a:gd name="connsiteX110" fmla="*/ 1278732 w 1378744"/>
                <a:gd name="connsiteY110" fmla="*/ 514350 h 1288255"/>
                <a:gd name="connsiteX111" fmla="*/ 1252538 w 1378744"/>
                <a:gd name="connsiteY111" fmla="*/ 431006 h 1288255"/>
                <a:gd name="connsiteX112" fmla="*/ 1181100 w 1378744"/>
                <a:gd name="connsiteY112" fmla="*/ 431006 h 1288255"/>
                <a:gd name="connsiteX113" fmla="*/ 1166813 w 1378744"/>
                <a:gd name="connsiteY113" fmla="*/ 395287 h 1288255"/>
                <a:gd name="connsiteX114" fmla="*/ 1107282 w 1378744"/>
                <a:gd name="connsiteY114" fmla="*/ 421481 h 1288255"/>
                <a:gd name="connsiteX115" fmla="*/ 1054894 w 1378744"/>
                <a:gd name="connsiteY115" fmla="*/ 414337 h 1288255"/>
                <a:gd name="connsiteX116" fmla="*/ 1028700 w 1378744"/>
                <a:gd name="connsiteY116" fmla="*/ 371475 h 1288255"/>
                <a:gd name="connsiteX117" fmla="*/ 1023938 w 1378744"/>
                <a:gd name="connsiteY117" fmla="*/ 288131 h 1288255"/>
                <a:gd name="connsiteX118" fmla="*/ 1012032 w 1378744"/>
                <a:gd name="connsiteY118" fmla="*/ 269081 h 1288255"/>
                <a:gd name="connsiteX119" fmla="*/ 1012032 w 1378744"/>
                <a:gd name="connsiteY119" fmla="*/ 211931 h 1288255"/>
                <a:gd name="connsiteX120" fmla="*/ 959644 w 1378744"/>
                <a:gd name="connsiteY120" fmla="*/ 190500 h 1288255"/>
                <a:gd name="connsiteX121" fmla="*/ 914400 w 1378744"/>
                <a:gd name="connsiteY121" fmla="*/ 111918 h 1288255"/>
                <a:gd name="connsiteX122" fmla="*/ 854869 w 1378744"/>
                <a:gd name="connsiteY122" fmla="*/ 76200 h 1288255"/>
                <a:gd name="connsiteX123" fmla="*/ 873919 w 1378744"/>
                <a:gd name="connsiteY123" fmla="*/ 16668 h 1288255"/>
                <a:gd name="connsiteX124" fmla="*/ 783432 w 1378744"/>
                <a:gd name="connsiteY124" fmla="*/ 0 h 1288255"/>
                <a:gd name="connsiteX0" fmla="*/ 783432 w 1378744"/>
                <a:gd name="connsiteY0" fmla="*/ 0 h 1288255"/>
                <a:gd name="connsiteX1" fmla="*/ 738188 w 1378744"/>
                <a:gd name="connsiteY1" fmla="*/ 26193 h 1288255"/>
                <a:gd name="connsiteX2" fmla="*/ 685800 w 1378744"/>
                <a:gd name="connsiteY2" fmla="*/ 28575 h 1288255"/>
                <a:gd name="connsiteX3" fmla="*/ 635794 w 1378744"/>
                <a:gd name="connsiteY3" fmla="*/ 73818 h 1288255"/>
                <a:gd name="connsiteX4" fmla="*/ 633413 w 1378744"/>
                <a:gd name="connsiteY4" fmla="*/ 114300 h 1288255"/>
                <a:gd name="connsiteX5" fmla="*/ 561975 w 1378744"/>
                <a:gd name="connsiteY5" fmla="*/ 190500 h 1288255"/>
                <a:gd name="connsiteX6" fmla="*/ 519113 w 1378744"/>
                <a:gd name="connsiteY6" fmla="*/ 214312 h 1288255"/>
                <a:gd name="connsiteX7" fmla="*/ 485775 w 1378744"/>
                <a:gd name="connsiteY7" fmla="*/ 252412 h 1288255"/>
                <a:gd name="connsiteX8" fmla="*/ 461963 w 1378744"/>
                <a:gd name="connsiteY8" fmla="*/ 273843 h 1288255"/>
                <a:gd name="connsiteX9" fmla="*/ 423863 w 1378744"/>
                <a:gd name="connsiteY9" fmla="*/ 333375 h 1288255"/>
                <a:gd name="connsiteX10" fmla="*/ 378619 w 1378744"/>
                <a:gd name="connsiteY10" fmla="*/ 357187 h 1288255"/>
                <a:gd name="connsiteX11" fmla="*/ 292894 w 1378744"/>
                <a:gd name="connsiteY11" fmla="*/ 376237 h 1288255"/>
                <a:gd name="connsiteX12" fmla="*/ 264319 w 1378744"/>
                <a:gd name="connsiteY12" fmla="*/ 373856 h 1288255"/>
                <a:gd name="connsiteX13" fmla="*/ 240507 w 1378744"/>
                <a:gd name="connsiteY13" fmla="*/ 359568 h 1288255"/>
                <a:gd name="connsiteX14" fmla="*/ 226219 w 1378744"/>
                <a:gd name="connsiteY14" fmla="*/ 338137 h 1288255"/>
                <a:gd name="connsiteX15" fmla="*/ 219075 w 1378744"/>
                <a:gd name="connsiteY15" fmla="*/ 311943 h 1288255"/>
                <a:gd name="connsiteX16" fmla="*/ 204788 w 1378744"/>
                <a:gd name="connsiteY16" fmla="*/ 309562 h 1288255"/>
                <a:gd name="connsiteX17" fmla="*/ 188119 w 1378744"/>
                <a:gd name="connsiteY17" fmla="*/ 304800 h 1288255"/>
                <a:gd name="connsiteX18" fmla="*/ 173832 w 1378744"/>
                <a:gd name="connsiteY18" fmla="*/ 302418 h 1288255"/>
                <a:gd name="connsiteX19" fmla="*/ 128588 w 1378744"/>
                <a:gd name="connsiteY19" fmla="*/ 352425 h 1288255"/>
                <a:gd name="connsiteX20" fmla="*/ 97632 w 1378744"/>
                <a:gd name="connsiteY20" fmla="*/ 371475 h 1288255"/>
                <a:gd name="connsiteX21" fmla="*/ 80963 w 1378744"/>
                <a:gd name="connsiteY21" fmla="*/ 390525 h 1288255"/>
                <a:gd name="connsiteX22" fmla="*/ 66675 w 1378744"/>
                <a:gd name="connsiteY22" fmla="*/ 435768 h 1288255"/>
                <a:gd name="connsiteX23" fmla="*/ 54769 w 1378744"/>
                <a:gd name="connsiteY23" fmla="*/ 447675 h 1288255"/>
                <a:gd name="connsiteX24" fmla="*/ 9525 w 1378744"/>
                <a:gd name="connsiteY24" fmla="*/ 466725 h 1288255"/>
                <a:gd name="connsiteX25" fmla="*/ 2382 w 1378744"/>
                <a:gd name="connsiteY25" fmla="*/ 481012 h 1288255"/>
                <a:gd name="connsiteX26" fmla="*/ 4763 w 1378744"/>
                <a:gd name="connsiteY26" fmla="*/ 533400 h 1288255"/>
                <a:gd name="connsiteX27" fmla="*/ 0 w 1378744"/>
                <a:gd name="connsiteY27" fmla="*/ 545306 h 1288255"/>
                <a:gd name="connsiteX28" fmla="*/ 73819 w 1378744"/>
                <a:gd name="connsiteY28" fmla="*/ 588168 h 1288255"/>
                <a:gd name="connsiteX29" fmla="*/ 90488 w 1378744"/>
                <a:gd name="connsiteY29" fmla="*/ 628650 h 1288255"/>
                <a:gd name="connsiteX30" fmla="*/ 83344 w 1378744"/>
                <a:gd name="connsiteY30" fmla="*/ 654843 h 1288255"/>
                <a:gd name="connsiteX31" fmla="*/ 73819 w 1378744"/>
                <a:gd name="connsiteY31" fmla="*/ 697706 h 1288255"/>
                <a:gd name="connsiteX32" fmla="*/ 78582 w 1378744"/>
                <a:gd name="connsiteY32" fmla="*/ 726281 h 1288255"/>
                <a:gd name="connsiteX33" fmla="*/ 95250 w 1378744"/>
                <a:gd name="connsiteY33" fmla="*/ 738187 h 1288255"/>
                <a:gd name="connsiteX34" fmla="*/ 116682 w 1378744"/>
                <a:gd name="connsiteY34" fmla="*/ 735806 h 1288255"/>
                <a:gd name="connsiteX35" fmla="*/ 123825 w 1378744"/>
                <a:gd name="connsiteY35" fmla="*/ 762000 h 1288255"/>
                <a:gd name="connsiteX36" fmla="*/ 126207 w 1378744"/>
                <a:gd name="connsiteY36" fmla="*/ 783431 h 1288255"/>
                <a:gd name="connsiteX37" fmla="*/ 152400 w 1378744"/>
                <a:gd name="connsiteY37" fmla="*/ 812006 h 1288255"/>
                <a:gd name="connsiteX38" fmla="*/ 164307 w 1378744"/>
                <a:gd name="connsiteY38" fmla="*/ 823912 h 1288255"/>
                <a:gd name="connsiteX39" fmla="*/ 173832 w 1378744"/>
                <a:gd name="connsiteY39" fmla="*/ 850106 h 1288255"/>
                <a:gd name="connsiteX40" fmla="*/ 169069 w 1378744"/>
                <a:gd name="connsiteY40" fmla="*/ 878681 h 1288255"/>
                <a:gd name="connsiteX41" fmla="*/ 176213 w 1378744"/>
                <a:gd name="connsiteY41" fmla="*/ 897731 h 1288255"/>
                <a:gd name="connsiteX42" fmla="*/ 200025 w 1378744"/>
                <a:gd name="connsiteY42" fmla="*/ 916781 h 1288255"/>
                <a:gd name="connsiteX43" fmla="*/ 226219 w 1378744"/>
                <a:gd name="connsiteY43" fmla="*/ 916781 h 1288255"/>
                <a:gd name="connsiteX44" fmla="*/ 300038 w 1378744"/>
                <a:gd name="connsiteY44" fmla="*/ 921543 h 1288255"/>
                <a:gd name="connsiteX45" fmla="*/ 395288 w 1378744"/>
                <a:gd name="connsiteY45" fmla="*/ 952500 h 1288255"/>
                <a:gd name="connsiteX46" fmla="*/ 414338 w 1378744"/>
                <a:gd name="connsiteY46" fmla="*/ 988218 h 1288255"/>
                <a:gd name="connsiteX47" fmla="*/ 435769 w 1378744"/>
                <a:gd name="connsiteY47" fmla="*/ 992981 h 1288255"/>
                <a:gd name="connsiteX48" fmla="*/ 464344 w 1378744"/>
                <a:gd name="connsiteY48" fmla="*/ 995362 h 1288255"/>
                <a:gd name="connsiteX49" fmla="*/ 507207 w 1378744"/>
                <a:gd name="connsiteY49" fmla="*/ 1026318 h 1288255"/>
                <a:gd name="connsiteX50" fmla="*/ 521494 w 1378744"/>
                <a:gd name="connsiteY50" fmla="*/ 1069181 h 1288255"/>
                <a:gd name="connsiteX51" fmla="*/ 545307 w 1378744"/>
                <a:gd name="connsiteY51" fmla="*/ 1107281 h 1288255"/>
                <a:gd name="connsiteX52" fmla="*/ 573882 w 1378744"/>
                <a:gd name="connsiteY52" fmla="*/ 1121568 h 1288255"/>
                <a:gd name="connsiteX53" fmla="*/ 585788 w 1378744"/>
                <a:gd name="connsiteY53" fmla="*/ 1131093 h 1288255"/>
                <a:gd name="connsiteX54" fmla="*/ 597694 w 1378744"/>
                <a:gd name="connsiteY54" fmla="*/ 1181100 h 1288255"/>
                <a:gd name="connsiteX55" fmla="*/ 633413 w 1378744"/>
                <a:gd name="connsiteY55" fmla="*/ 1250156 h 1288255"/>
                <a:gd name="connsiteX56" fmla="*/ 692944 w 1378744"/>
                <a:gd name="connsiteY56" fmla="*/ 1278730 h 1288255"/>
                <a:gd name="connsiteX57" fmla="*/ 728663 w 1378744"/>
                <a:gd name="connsiteY57" fmla="*/ 1288255 h 1288255"/>
                <a:gd name="connsiteX58" fmla="*/ 771525 w 1378744"/>
                <a:gd name="connsiteY58" fmla="*/ 1269205 h 1288255"/>
                <a:gd name="connsiteX59" fmla="*/ 771525 w 1378744"/>
                <a:gd name="connsiteY59" fmla="*/ 1235868 h 1288255"/>
                <a:gd name="connsiteX60" fmla="*/ 795338 w 1378744"/>
                <a:gd name="connsiteY60" fmla="*/ 1209674 h 1288255"/>
                <a:gd name="connsiteX61" fmla="*/ 795337 w 1378744"/>
                <a:gd name="connsiteY61" fmla="*/ 1212055 h 1288255"/>
                <a:gd name="connsiteX62" fmla="*/ 828675 w 1378744"/>
                <a:gd name="connsiteY62" fmla="*/ 1109662 h 1288255"/>
                <a:gd name="connsiteX63" fmla="*/ 809625 w 1378744"/>
                <a:gd name="connsiteY63" fmla="*/ 1197768 h 1288255"/>
                <a:gd name="connsiteX64" fmla="*/ 833438 w 1378744"/>
                <a:gd name="connsiteY64" fmla="*/ 1085850 h 1288255"/>
                <a:gd name="connsiteX65" fmla="*/ 797719 w 1378744"/>
                <a:gd name="connsiteY65" fmla="*/ 1059656 h 1288255"/>
                <a:gd name="connsiteX66" fmla="*/ 790575 w 1378744"/>
                <a:gd name="connsiteY66" fmla="*/ 1038225 h 1288255"/>
                <a:gd name="connsiteX67" fmla="*/ 790575 w 1378744"/>
                <a:gd name="connsiteY67" fmla="*/ 1021556 h 1288255"/>
                <a:gd name="connsiteX68" fmla="*/ 845344 w 1378744"/>
                <a:gd name="connsiteY68" fmla="*/ 952500 h 1288255"/>
                <a:gd name="connsiteX69" fmla="*/ 845344 w 1378744"/>
                <a:gd name="connsiteY69" fmla="*/ 952500 h 1288255"/>
                <a:gd name="connsiteX70" fmla="*/ 888207 w 1378744"/>
                <a:gd name="connsiteY70" fmla="*/ 966787 h 1288255"/>
                <a:gd name="connsiteX71" fmla="*/ 907257 w 1378744"/>
                <a:gd name="connsiteY71" fmla="*/ 981075 h 1288255"/>
                <a:gd name="connsiteX72" fmla="*/ 938213 w 1378744"/>
                <a:gd name="connsiteY72" fmla="*/ 990600 h 1288255"/>
                <a:gd name="connsiteX73" fmla="*/ 964407 w 1378744"/>
                <a:gd name="connsiteY73" fmla="*/ 985837 h 1288255"/>
                <a:gd name="connsiteX74" fmla="*/ 985838 w 1378744"/>
                <a:gd name="connsiteY74" fmla="*/ 985837 h 1288255"/>
                <a:gd name="connsiteX75" fmla="*/ 995363 w 1378744"/>
                <a:gd name="connsiteY75" fmla="*/ 995362 h 1288255"/>
                <a:gd name="connsiteX76" fmla="*/ 978694 w 1378744"/>
                <a:gd name="connsiteY76" fmla="*/ 1012031 h 1288255"/>
                <a:gd name="connsiteX77" fmla="*/ 969169 w 1378744"/>
                <a:gd name="connsiteY77" fmla="*/ 1031081 h 1288255"/>
                <a:gd name="connsiteX78" fmla="*/ 954882 w 1378744"/>
                <a:gd name="connsiteY78" fmla="*/ 1054893 h 1288255"/>
                <a:gd name="connsiteX79" fmla="*/ 950119 w 1378744"/>
                <a:gd name="connsiteY79" fmla="*/ 1083468 h 1288255"/>
                <a:gd name="connsiteX80" fmla="*/ 962025 w 1378744"/>
                <a:gd name="connsiteY80" fmla="*/ 1107281 h 1288255"/>
                <a:gd name="connsiteX81" fmla="*/ 983457 w 1378744"/>
                <a:gd name="connsiteY81" fmla="*/ 1131093 h 1288255"/>
                <a:gd name="connsiteX82" fmla="*/ 1002507 w 1378744"/>
                <a:gd name="connsiteY82" fmla="*/ 1133475 h 1288255"/>
                <a:gd name="connsiteX83" fmla="*/ 1028700 w 1378744"/>
                <a:gd name="connsiteY83" fmla="*/ 1126331 h 1288255"/>
                <a:gd name="connsiteX84" fmla="*/ 1031082 w 1378744"/>
                <a:gd name="connsiteY84" fmla="*/ 1097756 h 1288255"/>
                <a:gd name="connsiteX85" fmla="*/ 1057275 w 1378744"/>
                <a:gd name="connsiteY85" fmla="*/ 1085850 h 1288255"/>
                <a:gd name="connsiteX86" fmla="*/ 1076325 w 1378744"/>
                <a:gd name="connsiteY86" fmla="*/ 1097756 h 1288255"/>
                <a:gd name="connsiteX87" fmla="*/ 1100138 w 1378744"/>
                <a:gd name="connsiteY87" fmla="*/ 1107281 h 1288255"/>
                <a:gd name="connsiteX88" fmla="*/ 1123950 w 1378744"/>
                <a:gd name="connsiteY88" fmla="*/ 1121568 h 1288255"/>
                <a:gd name="connsiteX89" fmla="*/ 1143000 w 1378744"/>
                <a:gd name="connsiteY89" fmla="*/ 1123950 h 1288255"/>
                <a:gd name="connsiteX90" fmla="*/ 1157288 w 1378744"/>
                <a:gd name="connsiteY90" fmla="*/ 1112043 h 1288255"/>
                <a:gd name="connsiteX91" fmla="*/ 1159669 w 1378744"/>
                <a:gd name="connsiteY91" fmla="*/ 1085850 h 1288255"/>
                <a:gd name="connsiteX92" fmla="*/ 1166813 w 1378744"/>
                <a:gd name="connsiteY92" fmla="*/ 1052512 h 1288255"/>
                <a:gd name="connsiteX93" fmla="*/ 1197769 w 1378744"/>
                <a:gd name="connsiteY93" fmla="*/ 1016793 h 1288255"/>
                <a:gd name="connsiteX94" fmla="*/ 1195388 w 1378744"/>
                <a:gd name="connsiteY94" fmla="*/ 954881 h 1288255"/>
                <a:gd name="connsiteX95" fmla="*/ 1209675 w 1378744"/>
                <a:gd name="connsiteY95" fmla="*/ 945356 h 1288255"/>
                <a:gd name="connsiteX96" fmla="*/ 1235869 w 1378744"/>
                <a:gd name="connsiteY96" fmla="*/ 945356 h 1288255"/>
                <a:gd name="connsiteX97" fmla="*/ 1235869 w 1378744"/>
                <a:gd name="connsiteY97" fmla="*/ 931068 h 1288255"/>
                <a:gd name="connsiteX98" fmla="*/ 1212057 w 1378744"/>
                <a:gd name="connsiteY98" fmla="*/ 912018 h 1288255"/>
                <a:gd name="connsiteX99" fmla="*/ 1195388 w 1378744"/>
                <a:gd name="connsiteY99" fmla="*/ 881062 h 1288255"/>
                <a:gd name="connsiteX100" fmla="*/ 1157288 w 1378744"/>
                <a:gd name="connsiteY100" fmla="*/ 871537 h 1288255"/>
                <a:gd name="connsiteX101" fmla="*/ 1119188 w 1378744"/>
                <a:gd name="connsiteY101" fmla="*/ 859631 h 1288255"/>
                <a:gd name="connsiteX102" fmla="*/ 1119188 w 1378744"/>
                <a:gd name="connsiteY102" fmla="*/ 831056 h 1288255"/>
                <a:gd name="connsiteX103" fmla="*/ 1135857 w 1378744"/>
                <a:gd name="connsiteY103" fmla="*/ 807243 h 1288255"/>
                <a:gd name="connsiteX104" fmla="*/ 1197769 w 1378744"/>
                <a:gd name="connsiteY104" fmla="*/ 759618 h 1288255"/>
                <a:gd name="connsiteX105" fmla="*/ 1247775 w 1378744"/>
                <a:gd name="connsiteY105" fmla="*/ 762000 h 1288255"/>
                <a:gd name="connsiteX106" fmla="*/ 1278732 w 1378744"/>
                <a:gd name="connsiteY106" fmla="*/ 762000 h 1288255"/>
                <a:gd name="connsiteX107" fmla="*/ 1271588 w 1378744"/>
                <a:gd name="connsiteY107" fmla="*/ 735806 h 1288255"/>
                <a:gd name="connsiteX108" fmla="*/ 1378744 w 1378744"/>
                <a:gd name="connsiteY108" fmla="*/ 678656 h 1288255"/>
                <a:gd name="connsiteX109" fmla="*/ 1331119 w 1378744"/>
                <a:gd name="connsiteY109" fmla="*/ 552450 h 1288255"/>
                <a:gd name="connsiteX110" fmla="*/ 1278732 w 1378744"/>
                <a:gd name="connsiteY110" fmla="*/ 514350 h 1288255"/>
                <a:gd name="connsiteX111" fmla="*/ 1252538 w 1378744"/>
                <a:gd name="connsiteY111" fmla="*/ 431006 h 1288255"/>
                <a:gd name="connsiteX112" fmla="*/ 1181100 w 1378744"/>
                <a:gd name="connsiteY112" fmla="*/ 431006 h 1288255"/>
                <a:gd name="connsiteX113" fmla="*/ 1166813 w 1378744"/>
                <a:gd name="connsiteY113" fmla="*/ 395287 h 1288255"/>
                <a:gd name="connsiteX114" fmla="*/ 1107282 w 1378744"/>
                <a:gd name="connsiteY114" fmla="*/ 421481 h 1288255"/>
                <a:gd name="connsiteX115" fmla="*/ 1054894 w 1378744"/>
                <a:gd name="connsiteY115" fmla="*/ 414337 h 1288255"/>
                <a:gd name="connsiteX116" fmla="*/ 1028700 w 1378744"/>
                <a:gd name="connsiteY116" fmla="*/ 371475 h 1288255"/>
                <a:gd name="connsiteX117" fmla="*/ 1023938 w 1378744"/>
                <a:gd name="connsiteY117" fmla="*/ 288131 h 1288255"/>
                <a:gd name="connsiteX118" fmla="*/ 1012032 w 1378744"/>
                <a:gd name="connsiteY118" fmla="*/ 269081 h 1288255"/>
                <a:gd name="connsiteX119" fmla="*/ 1012032 w 1378744"/>
                <a:gd name="connsiteY119" fmla="*/ 211931 h 1288255"/>
                <a:gd name="connsiteX120" fmla="*/ 959644 w 1378744"/>
                <a:gd name="connsiteY120" fmla="*/ 190500 h 1288255"/>
                <a:gd name="connsiteX121" fmla="*/ 914400 w 1378744"/>
                <a:gd name="connsiteY121" fmla="*/ 111918 h 1288255"/>
                <a:gd name="connsiteX122" fmla="*/ 854869 w 1378744"/>
                <a:gd name="connsiteY122" fmla="*/ 76200 h 1288255"/>
                <a:gd name="connsiteX123" fmla="*/ 873919 w 1378744"/>
                <a:gd name="connsiteY123" fmla="*/ 16668 h 1288255"/>
                <a:gd name="connsiteX124" fmla="*/ 783432 w 1378744"/>
                <a:gd name="connsiteY124" fmla="*/ 0 h 1288255"/>
                <a:gd name="connsiteX0" fmla="*/ 783432 w 1378744"/>
                <a:gd name="connsiteY0" fmla="*/ 0 h 1288255"/>
                <a:gd name="connsiteX1" fmla="*/ 738188 w 1378744"/>
                <a:gd name="connsiteY1" fmla="*/ 26193 h 1288255"/>
                <a:gd name="connsiteX2" fmla="*/ 685800 w 1378744"/>
                <a:gd name="connsiteY2" fmla="*/ 28575 h 1288255"/>
                <a:gd name="connsiteX3" fmla="*/ 635794 w 1378744"/>
                <a:gd name="connsiteY3" fmla="*/ 73818 h 1288255"/>
                <a:gd name="connsiteX4" fmla="*/ 633413 w 1378744"/>
                <a:gd name="connsiteY4" fmla="*/ 114300 h 1288255"/>
                <a:gd name="connsiteX5" fmla="*/ 561975 w 1378744"/>
                <a:gd name="connsiteY5" fmla="*/ 190500 h 1288255"/>
                <a:gd name="connsiteX6" fmla="*/ 519113 w 1378744"/>
                <a:gd name="connsiteY6" fmla="*/ 214312 h 1288255"/>
                <a:gd name="connsiteX7" fmla="*/ 485775 w 1378744"/>
                <a:gd name="connsiteY7" fmla="*/ 252412 h 1288255"/>
                <a:gd name="connsiteX8" fmla="*/ 461963 w 1378744"/>
                <a:gd name="connsiteY8" fmla="*/ 273843 h 1288255"/>
                <a:gd name="connsiteX9" fmla="*/ 423863 w 1378744"/>
                <a:gd name="connsiteY9" fmla="*/ 333375 h 1288255"/>
                <a:gd name="connsiteX10" fmla="*/ 378619 w 1378744"/>
                <a:gd name="connsiteY10" fmla="*/ 357187 h 1288255"/>
                <a:gd name="connsiteX11" fmla="*/ 292894 w 1378744"/>
                <a:gd name="connsiteY11" fmla="*/ 376237 h 1288255"/>
                <a:gd name="connsiteX12" fmla="*/ 264319 w 1378744"/>
                <a:gd name="connsiteY12" fmla="*/ 373856 h 1288255"/>
                <a:gd name="connsiteX13" fmla="*/ 240507 w 1378744"/>
                <a:gd name="connsiteY13" fmla="*/ 359568 h 1288255"/>
                <a:gd name="connsiteX14" fmla="*/ 226219 w 1378744"/>
                <a:gd name="connsiteY14" fmla="*/ 338137 h 1288255"/>
                <a:gd name="connsiteX15" fmla="*/ 219075 w 1378744"/>
                <a:gd name="connsiteY15" fmla="*/ 311943 h 1288255"/>
                <a:gd name="connsiteX16" fmla="*/ 204788 w 1378744"/>
                <a:gd name="connsiteY16" fmla="*/ 309562 h 1288255"/>
                <a:gd name="connsiteX17" fmla="*/ 188119 w 1378744"/>
                <a:gd name="connsiteY17" fmla="*/ 304800 h 1288255"/>
                <a:gd name="connsiteX18" fmla="*/ 173832 w 1378744"/>
                <a:gd name="connsiteY18" fmla="*/ 302418 h 1288255"/>
                <a:gd name="connsiteX19" fmla="*/ 128588 w 1378744"/>
                <a:gd name="connsiteY19" fmla="*/ 352425 h 1288255"/>
                <a:gd name="connsiteX20" fmla="*/ 97632 w 1378744"/>
                <a:gd name="connsiteY20" fmla="*/ 371475 h 1288255"/>
                <a:gd name="connsiteX21" fmla="*/ 80963 w 1378744"/>
                <a:gd name="connsiteY21" fmla="*/ 390525 h 1288255"/>
                <a:gd name="connsiteX22" fmla="*/ 66675 w 1378744"/>
                <a:gd name="connsiteY22" fmla="*/ 435768 h 1288255"/>
                <a:gd name="connsiteX23" fmla="*/ 54769 w 1378744"/>
                <a:gd name="connsiteY23" fmla="*/ 447675 h 1288255"/>
                <a:gd name="connsiteX24" fmla="*/ 9525 w 1378744"/>
                <a:gd name="connsiteY24" fmla="*/ 466725 h 1288255"/>
                <a:gd name="connsiteX25" fmla="*/ 2382 w 1378744"/>
                <a:gd name="connsiteY25" fmla="*/ 481012 h 1288255"/>
                <a:gd name="connsiteX26" fmla="*/ 4763 w 1378744"/>
                <a:gd name="connsiteY26" fmla="*/ 533400 h 1288255"/>
                <a:gd name="connsiteX27" fmla="*/ 0 w 1378744"/>
                <a:gd name="connsiteY27" fmla="*/ 545306 h 1288255"/>
                <a:gd name="connsiteX28" fmla="*/ 73819 w 1378744"/>
                <a:gd name="connsiteY28" fmla="*/ 588168 h 1288255"/>
                <a:gd name="connsiteX29" fmla="*/ 90488 w 1378744"/>
                <a:gd name="connsiteY29" fmla="*/ 628650 h 1288255"/>
                <a:gd name="connsiteX30" fmla="*/ 83344 w 1378744"/>
                <a:gd name="connsiteY30" fmla="*/ 654843 h 1288255"/>
                <a:gd name="connsiteX31" fmla="*/ 73819 w 1378744"/>
                <a:gd name="connsiteY31" fmla="*/ 697706 h 1288255"/>
                <a:gd name="connsiteX32" fmla="*/ 78582 w 1378744"/>
                <a:gd name="connsiteY32" fmla="*/ 726281 h 1288255"/>
                <a:gd name="connsiteX33" fmla="*/ 95250 w 1378744"/>
                <a:gd name="connsiteY33" fmla="*/ 738187 h 1288255"/>
                <a:gd name="connsiteX34" fmla="*/ 116682 w 1378744"/>
                <a:gd name="connsiteY34" fmla="*/ 735806 h 1288255"/>
                <a:gd name="connsiteX35" fmla="*/ 123825 w 1378744"/>
                <a:gd name="connsiteY35" fmla="*/ 762000 h 1288255"/>
                <a:gd name="connsiteX36" fmla="*/ 126207 w 1378744"/>
                <a:gd name="connsiteY36" fmla="*/ 783431 h 1288255"/>
                <a:gd name="connsiteX37" fmla="*/ 152400 w 1378744"/>
                <a:gd name="connsiteY37" fmla="*/ 812006 h 1288255"/>
                <a:gd name="connsiteX38" fmla="*/ 164307 w 1378744"/>
                <a:gd name="connsiteY38" fmla="*/ 823912 h 1288255"/>
                <a:gd name="connsiteX39" fmla="*/ 173832 w 1378744"/>
                <a:gd name="connsiteY39" fmla="*/ 850106 h 1288255"/>
                <a:gd name="connsiteX40" fmla="*/ 169069 w 1378744"/>
                <a:gd name="connsiteY40" fmla="*/ 878681 h 1288255"/>
                <a:gd name="connsiteX41" fmla="*/ 176213 w 1378744"/>
                <a:gd name="connsiteY41" fmla="*/ 897731 h 1288255"/>
                <a:gd name="connsiteX42" fmla="*/ 200025 w 1378744"/>
                <a:gd name="connsiteY42" fmla="*/ 916781 h 1288255"/>
                <a:gd name="connsiteX43" fmla="*/ 226219 w 1378744"/>
                <a:gd name="connsiteY43" fmla="*/ 916781 h 1288255"/>
                <a:gd name="connsiteX44" fmla="*/ 300038 w 1378744"/>
                <a:gd name="connsiteY44" fmla="*/ 921543 h 1288255"/>
                <a:gd name="connsiteX45" fmla="*/ 395288 w 1378744"/>
                <a:gd name="connsiteY45" fmla="*/ 952500 h 1288255"/>
                <a:gd name="connsiteX46" fmla="*/ 414338 w 1378744"/>
                <a:gd name="connsiteY46" fmla="*/ 988218 h 1288255"/>
                <a:gd name="connsiteX47" fmla="*/ 435769 w 1378744"/>
                <a:gd name="connsiteY47" fmla="*/ 992981 h 1288255"/>
                <a:gd name="connsiteX48" fmla="*/ 464344 w 1378744"/>
                <a:gd name="connsiteY48" fmla="*/ 995362 h 1288255"/>
                <a:gd name="connsiteX49" fmla="*/ 507207 w 1378744"/>
                <a:gd name="connsiteY49" fmla="*/ 1026318 h 1288255"/>
                <a:gd name="connsiteX50" fmla="*/ 521494 w 1378744"/>
                <a:gd name="connsiteY50" fmla="*/ 1069181 h 1288255"/>
                <a:gd name="connsiteX51" fmla="*/ 545307 w 1378744"/>
                <a:gd name="connsiteY51" fmla="*/ 1107281 h 1288255"/>
                <a:gd name="connsiteX52" fmla="*/ 573882 w 1378744"/>
                <a:gd name="connsiteY52" fmla="*/ 1121568 h 1288255"/>
                <a:gd name="connsiteX53" fmla="*/ 585788 w 1378744"/>
                <a:gd name="connsiteY53" fmla="*/ 1131093 h 1288255"/>
                <a:gd name="connsiteX54" fmla="*/ 597694 w 1378744"/>
                <a:gd name="connsiteY54" fmla="*/ 1181100 h 1288255"/>
                <a:gd name="connsiteX55" fmla="*/ 633413 w 1378744"/>
                <a:gd name="connsiteY55" fmla="*/ 1250156 h 1288255"/>
                <a:gd name="connsiteX56" fmla="*/ 692944 w 1378744"/>
                <a:gd name="connsiteY56" fmla="*/ 1278730 h 1288255"/>
                <a:gd name="connsiteX57" fmla="*/ 728663 w 1378744"/>
                <a:gd name="connsiteY57" fmla="*/ 1288255 h 1288255"/>
                <a:gd name="connsiteX58" fmla="*/ 771525 w 1378744"/>
                <a:gd name="connsiteY58" fmla="*/ 1269205 h 1288255"/>
                <a:gd name="connsiteX59" fmla="*/ 771525 w 1378744"/>
                <a:gd name="connsiteY59" fmla="*/ 1235868 h 1288255"/>
                <a:gd name="connsiteX60" fmla="*/ 795338 w 1378744"/>
                <a:gd name="connsiteY60" fmla="*/ 1209674 h 1288255"/>
                <a:gd name="connsiteX61" fmla="*/ 795337 w 1378744"/>
                <a:gd name="connsiteY61" fmla="*/ 1212055 h 1288255"/>
                <a:gd name="connsiteX62" fmla="*/ 809625 w 1378744"/>
                <a:gd name="connsiteY62" fmla="*/ 1197768 h 1288255"/>
                <a:gd name="connsiteX63" fmla="*/ 833438 w 1378744"/>
                <a:gd name="connsiteY63" fmla="*/ 1085850 h 1288255"/>
                <a:gd name="connsiteX64" fmla="*/ 797719 w 1378744"/>
                <a:gd name="connsiteY64" fmla="*/ 1059656 h 1288255"/>
                <a:gd name="connsiteX65" fmla="*/ 790575 w 1378744"/>
                <a:gd name="connsiteY65" fmla="*/ 1038225 h 1288255"/>
                <a:gd name="connsiteX66" fmla="*/ 790575 w 1378744"/>
                <a:gd name="connsiteY66" fmla="*/ 1021556 h 1288255"/>
                <a:gd name="connsiteX67" fmla="*/ 845344 w 1378744"/>
                <a:gd name="connsiteY67" fmla="*/ 952500 h 1288255"/>
                <a:gd name="connsiteX68" fmla="*/ 845344 w 1378744"/>
                <a:gd name="connsiteY68" fmla="*/ 952500 h 1288255"/>
                <a:gd name="connsiteX69" fmla="*/ 888207 w 1378744"/>
                <a:gd name="connsiteY69" fmla="*/ 966787 h 1288255"/>
                <a:gd name="connsiteX70" fmla="*/ 907257 w 1378744"/>
                <a:gd name="connsiteY70" fmla="*/ 981075 h 1288255"/>
                <a:gd name="connsiteX71" fmla="*/ 938213 w 1378744"/>
                <a:gd name="connsiteY71" fmla="*/ 990600 h 1288255"/>
                <a:gd name="connsiteX72" fmla="*/ 964407 w 1378744"/>
                <a:gd name="connsiteY72" fmla="*/ 985837 h 1288255"/>
                <a:gd name="connsiteX73" fmla="*/ 985838 w 1378744"/>
                <a:gd name="connsiteY73" fmla="*/ 985837 h 1288255"/>
                <a:gd name="connsiteX74" fmla="*/ 995363 w 1378744"/>
                <a:gd name="connsiteY74" fmla="*/ 995362 h 1288255"/>
                <a:gd name="connsiteX75" fmla="*/ 978694 w 1378744"/>
                <a:gd name="connsiteY75" fmla="*/ 1012031 h 1288255"/>
                <a:gd name="connsiteX76" fmla="*/ 969169 w 1378744"/>
                <a:gd name="connsiteY76" fmla="*/ 1031081 h 1288255"/>
                <a:gd name="connsiteX77" fmla="*/ 954882 w 1378744"/>
                <a:gd name="connsiteY77" fmla="*/ 1054893 h 1288255"/>
                <a:gd name="connsiteX78" fmla="*/ 950119 w 1378744"/>
                <a:gd name="connsiteY78" fmla="*/ 1083468 h 1288255"/>
                <a:gd name="connsiteX79" fmla="*/ 962025 w 1378744"/>
                <a:gd name="connsiteY79" fmla="*/ 1107281 h 1288255"/>
                <a:gd name="connsiteX80" fmla="*/ 983457 w 1378744"/>
                <a:gd name="connsiteY80" fmla="*/ 1131093 h 1288255"/>
                <a:gd name="connsiteX81" fmla="*/ 1002507 w 1378744"/>
                <a:gd name="connsiteY81" fmla="*/ 1133475 h 1288255"/>
                <a:gd name="connsiteX82" fmla="*/ 1028700 w 1378744"/>
                <a:gd name="connsiteY82" fmla="*/ 1126331 h 1288255"/>
                <a:gd name="connsiteX83" fmla="*/ 1031082 w 1378744"/>
                <a:gd name="connsiteY83" fmla="*/ 1097756 h 1288255"/>
                <a:gd name="connsiteX84" fmla="*/ 1057275 w 1378744"/>
                <a:gd name="connsiteY84" fmla="*/ 1085850 h 1288255"/>
                <a:gd name="connsiteX85" fmla="*/ 1076325 w 1378744"/>
                <a:gd name="connsiteY85" fmla="*/ 1097756 h 1288255"/>
                <a:gd name="connsiteX86" fmla="*/ 1100138 w 1378744"/>
                <a:gd name="connsiteY86" fmla="*/ 1107281 h 1288255"/>
                <a:gd name="connsiteX87" fmla="*/ 1123950 w 1378744"/>
                <a:gd name="connsiteY87" fmla="*/ 1121568 h 1288255"/>
                <a:gd name="connsiteX88" fmla="*/ 1143000 w 1378744"/>
                <a:gd name="connsiteY88" fmla="*/ 1123950 h 1288255"/>
                <a:gd name="connsiteX89" fmla="*/ 1157288 w 1378744"/>
                <a:gd name="connsiteY89" fmla="*/ 1112043 h 1288255"/>
                <a:gd name="connsiteX90" fmla="*/ 1159669 w 1378744"/>
                <a:gd name="connsiteY90" fmla="*/ 1085850 h 1288255"/>
                <a:gd name="connsiteX91" fmla="*/ 1166813 w 1378744"/>
                <a:gd name="connsiteY91" fmla="*/ 1052512 h 1288255"/>
                <a:gd name="connsiteX92" fmla="*/ 1197769 w 1378744"/>
                <a:gd name="connsiteY92" fmla="*/ 1016793 h 1288255"/>
                <a:gd name="connsiteX93" fmla="*/ 1195388 w 1378744"/>
                <a:gd name="connsiteY93" fmla="*/ 954881 h 1288255"/>
                <a:gd name="connsiteX94" fmla="*/ 1209675 w 1378744"/>
                <a:gd name="connsiteY94" fmla="*/ 945356 h 1288255"/>
                <a:gd name="connsiteX95" fmla="*/ 1235869 w 1378744"/>
                <a:gd name="connsiteY95" fmla="*/ 945356 h 1288255"/>
                <a:gd name="connsiteX96" fmla="*/ 1235869 w 1378744"/>
                <a:gd name="connsiteY96" fmla="*/ 931068 h 1288255"/>
                <a:gd name="connsiteX97" fmla="*/ 1212057 w 1378744"/>
                <a:gd name="connsiteY97" fmla="*/ 912018 h 1288255"/>
                <a:gd name="connsiteX98" fmla="*/ 1195388 w 1378744"/>
                <a:gd name="connsiteY98" fmla="*/ 881062 h 1288255"/>
                <a:gd name="connsiteX99" fmla="*/ 1157288 w 1378744"/>
                <a:gd name="connsiteY99" fmla="*/ 871537 h 1288255"/>
                <a:gd name="connsiteX100" fmla="*/ 1119188 w 1378744"/>
                <a:gd name="connsiteY100" fmla="*/ 859631 h 1288255"/>
                <a:gd name="connsiteX101" fmla="*/ 1119188 w 1378744"/>
                <a:gd name="connsiteY101" fmla="*/ 831056 h 1288255"/>
                <a:gd name="connsiteX102" fmla="*/ 1135857 w 1378744"/>
                <a:gd name="connsiteY102" fmla="*/ 807243 h 1288255"/>
                <a:gd name="connsiteX103" fmla="*/ 1197769 w 1378744"/>
                <a:gd name="connsiteY103" fmla="*/ 759618 h 1288255"/>
                <a:gd name="connsiteX104" fmla="*/ 1247775 w 1378744"/>
                <a:gd name="connsiteY104" fmla="*/ 762000 h 1288255"/>
                <a:gd name="connsiteX105" fmla="*/ 1278732 w 1378744"/>
                <a:gd name="connsiteY105" fmla="*/ 762000 h 1288255"/>
                <a:gd name="connsiteX106" fmla="*/ 1271588 w 1378744"/>
                <a:gd name="connsiteY106" fmla="*/ 735806 h 1288255"/>
                <a:gd name="connsiteX107" fmla="*/ 1378744 w 1378744"/>
                <a:gd name="connsiteY107" fmla="*/ 678656 h 1288255"/>
                <a:gd name="connsiteX108" fmla="*/ 1331119 w 1378744"/>
                <a:gd name="connsiteY108" fmla="*/ 552450 h 1288255"/>
                <a:gd name="connsiteX109" fmla="*/ 1278732 w 1378744"/>
                <a:gd name="connsiteY109" fmla="*/ 514350 h 1288255"/>
                <a:gd name="connsiteX110" fmla="*/ 1252538 w 1378744"/>
                <a:gd name="connsiteY110" fmla="*/ 431006 h 1288255"/>
                <a:gd name="connsiteX111" fmla="*/ 1181100 w 1378744"/>
                <a:gd name="connsiteY111" fmla="*/ 431006 h 1288255"/>
                <a:gd name="connsiteX112" fmla="*/ 1166813 w 1378744"/>
                <a:gd name="connsiteY112" fmla="*/ 395287 h 1288255"/>
                <a:gd name="connsiteX113" fmla="*/ 1107282 w 1378744"/>
                <a:gd name="connsiteY113" fmla="*/ 421481 h 1288255"/>
                <a:gd name="connsiteX114" fmla="*/ 1054894 w 1378744"/>
                <a:gd name="connsiteY114" fmla="*/ 414337 h 1288255"/>
                <a:gd name="connsiteX115" fmla="*/ 1028700 w 1378744"/>
                <a:gd name="connsiteY115" fmla="*/ 371475 h 1288255"/>
                <a:gd name="connsiteX116" fmla="*/ 1023938 w 1378744"/>
                <a:gd name="connsiteY116" fmla="*/ 288131 h 1288255"/>
                <a:gd name="connsiteX117" fmla="*/ 1012032 w 1378744"/>
                <a:gd name="connsiteY117" fmla="*/ 269081 h 1288255"/>
                <a:gd name="connsiteX118" fmla="*/ 1012032 w 1378744"/>
                <a:gd name="connsiteY118" fmla="*/ 211931 h 1288255"/>
                <a:gd name="connsiteX119" fmla="*/ 959644 w 1378744"/>
                <a:gd name="connsiteY119" fmla="*/ 190500 h 1288255"/>
                <a:gd name="connsiteX120" fmla="*/ 914400 w 1378744"/>
                <a:gd name="connsiteY120" fmla="*/ 111918 h 1288255"/>
                <a:gd name="connsiteX121" fmla="*/ 854869 w 1378744"/>
                <a:gd name="connsiteY121" fmla="*/ 76200 h 1288255"/>
                <a:gd name="connsiteX122" fmla="*/ 873919 w 1378744"/>
                <a:gd name="connsiteY122" fmla="*/ 16668 h 1288255"/>
                <a:gd name="connsiteX123" fmla="*/ 783432 w 1378744"/>
                <a:gd name="connsiteY123" fmla="*/ 0 h 1288255"/>
                <a:gd name="connsiteX0" fmla="*/ 783432 w 1378744"/>
                <a:gd name="connsiteY0" fmla="*/ 0 h 1288255"/>
                <a:gd name="connsiteX1" fmla="*/ 738188 w 1378744"/>
                <a:gd name="connsiteY1" fmla="*/ 26193 h 1288255"/>
                <a:gd name="connsiteX2" fmla="*/ 685800 w 1378744"/>
                <a:gd name="connsiteY2" fmla="*/ 28575 h 1288255"/>
                <a:gd name="connsiteX3" fmla="*/ 635794 w 1378744"/>
                <a:gd name="connsiteY3" fmla="*/ 73818 h 1288255"/>
                <a:gd name="connsiteX4" fmla="*/ 633413 w 1378744"/>
                <a:gd name="connsiteY4" fmla="*/ 114300 h 1288255"/>
                <a:gd name="connsiteX5" fmla="*/ 561975 w 1378744"/>
                <a:gd name="connsiteY5" fmla="*/ 190500 h 1288255"/>
                <a:gd name="connsiteX6" fmla="*/ 519113 w 1378744"/>
                <a:gd name="connsiteY6" fmla="*/ 214312 h 1288255"/>
                <a:gd name="connsiteX7" fmla="*/ 485775 w 1378744"/>
                <a:gd name="connsiteY7" fmla="*/ 252412 h 1288255"/>
                <a:gd name="connsiteX8" fmla="*/ 461963 w 1378744"/>
                <a:gd name="connsiteY8" fmla="*/ 273843 h 1288255"/>
                <a:gd name="connsiteX9" fmla="*/ 423863 w 1378744"/>
                <a:gd name="connsiteY9" fmla="*/ 333375 h 1288255"/>
                <a:gd name="connsiteX10" fmla="*/ 378619 w 1378744"/>
                <a:gd name="connsiteY10" fmla="*/ 357187 h 1288255"/>
                <a:gd name="connsiteX11" fmla="*/ 292894 w 1378744"/>
                <a:gd name="connsiteY11" fmla="*/ 376237 h 1288255"/>
                <a:gd name="connsiteX12" fmla="*/ 264319 w 1378744"/>
                <a:gd name="connsiteY12" fmla="*/ 373856 h 1288255"/>
                <a:gd name="connsiteX13" fmla="*/ 240507 w 1378744"/>
                <a:gd name="connsiteY13" fmla="*/ 359568 h 1288255"/>
                <a:gd name="connsiteX14" fmla="*/ 226219 w 1378744"/>
                <a:gd name="connsiteY14" fmla="*/ 338137 h 1288255"/>
                <a:gd name="connsiteX15" fmla="*/ 219075 w 1378744"/>
                <a:gd name="connsiteY15" fmla="*/ 311943 h 1288255"/>
                <a:gd name="connsiteX16" fmla="*/ 204788 w 1378744"/>
                <a:gd name="connsiteY16" fmla="*/ 309562 h 1288255"/>
                <a:gd name="connsiteX17" fmla="*/ 188119 w 1378744"/>
                <a:gd name="connsiteY17" fmla="*/ 304800 h 1288255"/>
                <a:gd name="connsiteX18" fmla="*/ 173832 w 1378744"/>
                <a:gd name="connsiteY18" fmla="*/ 302418 h 1288255"/>
                <a:gd name="connsiteX19" fmla="*/ 128588 w 1378744"/>
                <a:gd name="connsiteY19" fmla="*/ 352425 h 1288255"/>
                <a:gd name="connsiteX20" fmla="*/ 97632 w 1378744"/>
                <a:gd name="connsiteY20" fmla="*/ 371475 h 1288255"/>
                <a:gd name="connsiteX21" fmla="*/ 80963 w 1378744"/>
                <a:gd name="connsiteY21" fmla="*/ 390525 h 1288255"/>
                <a:gd name="connsiteX22" fmla="*/ 66675 w 1378744"/>
                <a:gd name="connsiteY22" fmla="*/ 435768 h 1288255"/>
                <a:gd name="connsiteX23" fmla="*/ 54769 w 1378744"/>
                <a:gd name="connsiteY23" fmla="*/ 447675 h 1288255"/>
                <a:gd name="connsiteX24" fmla="*/ 9525 w 1378744"/>
                <a:gd name="connsiteY24" fmla="*/ 466725 h 1288255"/>
                <a:gd name="connsiteX25" fmla="*/ 2382 w 1378744"/>
                <a:gd name="connsiteY25" fmla="*/ 481012 h 1288255"/>
                <a:gd name="connsiteX26" fmla="*/ 4763 w 1378744"/>
                <a:gd name="connsiteY26" fmla="*/ 533400 h 1288255"/>
                <a:gd name="connsiteX27" fmla="*/ 0 w 1378744"/>
                <a:gd name="connsiteY27" fmla="*/ 545306 h 1288255"/>
                <a:gd name="connsiteX28" fmla="*/ 73819 w 1378744"/>
                <a:gd name="connsiteY28" fmla="*/ 588168 h 1288255"/>
                <a:gd name="connsiteX29" fmla="*/ 90488 w 1378744"/>
                <a:gd name="connsiteY29" fmla="*/ 628650 h 1288255"/>
                <a:gd name="connsiteX30" fmla="*/ 83344 w 1378744"/>
                <a:gd name="connsiteY30" fmla="*/ 654843 h 1288255"/>
                <a:gd name="connsiteX31" fmla="*/ 73819 w 1378744"/>
                <a:gd name="connsiteY31" fmla="*/ 697706 h 1288255"/>
                <a:gd name="connsiteX32" fmla="*/ 78582 w 1378744"/>
                <a:gd name="connsiteY32" fmla="*/ 726281 h 1288255"/>
                <a:gd name="connsiteX33" fmla="*/ 95250 w 1378744"/>
                <a:gd name="connsiteY33" fmla="*/ 738187 h 1288255"/>
                <a:gd name="connsiteX34" fmla="*/ 116682 w 1378744"/>
                <a:gd name="connsiteY34" fmla="*/ 735806 h 1288255"/>
                <a:gd name="connsiteX35" fmla="*/ 123825 w 1378744"/>
                <a:gd name="connsiteY35" fmla="*/ 762000 h 1288255"/>
                <a:gd name="connsiteX36" fmla="*/ 126207 w 1378744"/>
                <a:gd name="connsiteY36" fmla="*/ 783431 h 1288255"/>
                <a:gd name="connsiteX37" fmla="*/ 152400 w 1378744"/>
                <a:gd name="connsiteY37" fmla="*/ 812006 h 1288255"/>
                <a:gd name="connsiteX38" fmla="*/ 164307 w 1378744"/>
                <a:gd name="connsiteY38" fmla="*/ 823912 h 1288255"/>
                <a:gd name="connsiteX39" fmla="*/ 173832 w 1378744"/>
                <a:gd name="connsiteY39" fmla="*/ 850106 h 1288255"/>
                <a:gd name="connsiteX40" fmla="*/ 169069 w 1378744"/>
                <a:gd name="connsiteY40" fmla="*/ 878681 h 1288255"/>
                <a:gd name="connsiteX41" fmla="*/ 176213 w 1378744"/>
                <a:gd name="connsiteY41" fmla="*/ 897731 h 1288255"/>
                <a:gd name="connsiteX42" fmla="*/ 200025 w 1378744"/>
                <a:gd name="connsiteY42" fmla="*/ 916781 h 1288255"/>
                <a:gd name="connsiteX43" fmla="*/ 226219 w 1378744"/>
                <a:gd name="connsiteY43" fmla="*/ 916781 h 1288255"/>
                <a:gd name="connsiteX44" fmla="*/ 300038 w 1378744"/>
                <a:gd name="connsiteY44" fmla="*/ 921543 h 1288255"/>
                <a:gd name="connsiteX45" fmla="*/ 395288 w 1378744"/>
                <a:gd name="connsiteY45" fmla="*/ 952500 h 1288255"/>
                <a:gd name="connsiteX46" fmla="*/ 414338 w 1378744"/>
                <a:gd name="connsiteY46" fmla="*/ 988218 h 1288255"/>
                <a:gd name="connsiteX47" fmla="*/ 435769 w 1378744"/>
                <a:gd name="connsiteY47" fmla="*/ 992981 h 1288255"/>
                <a:gd name="connsiteX48" fmla="*/ 464344 w 1378744"/>
                <a:gd name="connsiteY48" fmla="*/ 995362 h 1288255"/>
                <a:gd name="connsiteX49" fmla="*/ 507207 w 1378744"/>
                <a:gd name="connsiteY49" fmla="*/ 1026318 h 1288255"/>
                <a:gd name="connsiteX50" fmla="*/ 521494 w 1378744"/>
                <a:gd name="connsiteY50" fmla="*/ 1069181 h 1288255"/>
                <a:gd name="connsiteX51" fmla="*/ 545307 w 1378744"/>
                <a:gd name="connsiteY51" fmla="*/ 1107281 h 1288255"/>
                <a:gd name="connsiteX52" fmla="*/ 573882 w 1378744"/>
                <a:gd name="connsiteY52" fmla="*/ 1121568 h 1288255"/>
                <a:gd name="connsiteX53" fmla="*/ 585788 w 1378744"/>
                <a:gd name="connsiteY53" fmla="*/ 1131093 h 1288255"/>
                <a:gd name="connsiteX54" fmla="*/ 597694 w 1378744"/>
                <a:gd name="connsiteY54" fmla="*/ 1181100 h 1288255"/>
                <a:gd name="connsiteX55" fmla="*/ 633413 w 1378744"/>
                <a:gd name="connsiteY55" fmla="*/ 1250156 h 1288255"/>
                <a:gd name="connsiteX56" fmla="*/ 692944 w 1378744"/>
                <a:gd name="connsiteY56" fmla="*/ 1278730 h 1288255"/>
                <a:gd name="connsiteX57" fmla="*/ 728663 w 1378744"/>
                <a:gd name="connsiteY57" fmla="*/ 1288255 h 1288255"/>
                <a:gd name="connsiteX58" fmla="*/ 771525 w 1378744"/>
                <a:gd name="connsiteY58" fmla="*/ 1269205 h 1288255"/>
                <a:gd name="connsiteX59" fmla="*/ 771525 w 1378744"/>
                <a:gd name="connsiteY59" fmla="*/ 1235868 h 1288255"/>
                <a:gd name="connsiteX60" fmla="*/ 795338 w 1378744"/>
                <a:gd name="connsiteY60" fmla="*/ 1209674 h 1288255"/>
                <a:gd name="connsiteX61" fmla="*/ 795337 w 1378744"/>
                <a:gd name="connsiteY61" fmla="*/ 1212055 h 1288255"/>
                <a:gd name="connsiteX62" fmla="*/ 809625 w 1378744"/>
                <a:gd name="connsiteY62" fmla="*/ 1197768 h 1288255"/>
                <a:gd name="connsiteX63" fmla="*/ 821532 w 1378744"/>
                <a:gd name="connsiteY63" fmla="*/ 1133474 h 1288255"/>
                <a:gd name="connsiteX64" fmla="*/ 833438 w 1378744"/>
                <a:gd name="connsiteY64" fmla="*/ 1085850 h 1288255"/>
                <a:gd name="connsiteX65" fmla="*/ 797719 w 1378744"/>
                <a:gd name="connsiteY65" fmla="*/ 1059656 h 1288255"/>
                <a:gd name="connsiteX66" fmla="*/ 790575 w 1378744"/>
                <a:gd name="connsiteY66" fmla="*/ 1038225 h 1288255"/>
                <a:gd name="connsiteX67" fmla="*/ 790575 w 1378744"/>
                <a:gd name="connsiteY67" fmla="*/ 1021556 h 1288255"/>
                <a:gd name="connsiteX68" fmla="*/ 845344 w 1378744"/>
                <a:gd name="connsiteY68" fmla="*/ 952500 h 1288255"/>
                <a:gd name="connsiteX69" fmla="*/ 845344 w 1378744"/>
                <a:gd name="connsiteY69" fmla="*/ 952500 h 1288255"/>
                <a:gd name="connsiteX70" fmla="*/ 888207 w 1378744"/>
                <a:gd name="connsiteY70" fmla="*/ 966787 h 1288255"/>
                <a:gd name="connsiteX71" fmla="*/ 907257 w 1378744"/>
                <a:gd name="connsiteY71" fmla="*/ 981075 h 1288255"/>
                <a:gd name="connsiteX72" fmla="*/ 938213 w 1378744"/>
                <a:gd name="connsiteY72" fmla="*/ 990600 h 1288255"/>
                <a:gd name="connsiteX73" fmla="*/ 964407 w 1378744"/>
                <a:gd name="connsiteY73" fmla="*/ 985837 h 1288255"/>
                <a:gd name="connsiteX74" fmla="*/ 985838 w 1378744"/>
                <a:gd name="connsiteY74" fmla="*/ 985837 h 1288255"/>
                <a:gd name="connsiteX75" fmla="*/ 995363 w 1378744"/>
                <a:gd name="connsiteY75" fmla="*/ 995362 h 1288255"/>
                <a:gd name="connsiteX76" fmla="*/ 978694 w 1378744"/>
                <a:gd name="connsiteY76" fmla="*/ 1012031 h 1288255"/>
                <a:gd name="connsiteX77" fmla="*/ 969169 w 1378744"/>
                <a:gd name="connsiteY77" fmla="*/ 1031081 h 1288255"/>
                <a:gd name="connsiteX78" fmla="*/ 954882 w 1378744"/>
                <a:gd name="connsiteY78" fmla="*/ 1054893 h 1288255"/>
                <a:gd name="connsiteX79" fmla="*/ 950119 w 1378744"/>
                <a:gd name="connsiteY79" fmla="*/ 1083468 h 1288255"/>
                <a:gd name="connsiteX80" fmla="*/ 962025 w 1378744"/>
                <a:gd name="connsiteY80" fmla="*/ 1107281 h 1288255"/>
                <a:gd name="connsiteX81" fmla="*/ 983457 w 1378744"/>
                <a:gd name="connsiteY81" fmla="*/ 1131093 h 1288255"/>
                <a:gd name="connsiteX82" fmla="*/ 1002507 w 1378744"/>
                <a:gd name="connsiteY82" fmla="*/ 1133475 h 1288255"/>
                <a:gd name="connsiteX83" fmla="*/ 1028700 w 1378744"/>
                <a:gd name="connsiteY83" fmla="*/ 1126331 h 1288255"/>
                <a:gd name="connsiteX84" fmla="*/ 1031082 w 1378744"/>
                <a:gd name="connsiteY84" fmla="*/ 1097756 h 1288255"/>
                <a:gd name="connsiteX85" fmla="*/ 1057275 w 1378744"/>
                <a:gd name="connsiteY85" fmla="*/ 1085850 h 1288255"/>
                <a:gd name="connsiteX86" fmla="*/ 1076325 w 1378744"/>
                <a:gd name="connsiteY86" fmla="*/ 1097756 h 1288255"/>
                <a:gd name="connsiteX87" fmla="*/ 1100138 w 1378744"/>
                <a:gd name="connsiteY87" fmla="*/ 1107281 h 1288255"/>
                <a:gd name="connsiteX88" fmla="*/ 1123950 w 1378744"/>
                <a:gd name="connsiteY88" fmla="*/ 1121568 h 1288255"/>
                <a:gd name="connsiteX89" fmla="*/ 1143000 w 1378744"/>
                <a:gd name="connsiteY89" fmla="*/ 1123950 h 1288255"/>
                <a:gd name="connsiteX90" fmla="*/ 1157288 w 1378744"/>
                <a:gd name="connsiteY90" fmla="*/ 1112043 h 1288255"/>
                <a:gd name="connsiteX91" fmla="*/ 1159669 w 1378744"/>
                <a:gd name="connsiteY91" fmla="*/ 1085850 h 1288255"/>
                <a:gd name="connsiteX92" fmla="*/ 1166813 w 1378744"/>
                <a:gd name="connsiteY92" fmla="*/ 1052512 h 1288255"/>
                <a:gd name="connsiteX93" fmla="*/ 1197769 w 1378744"/>
                <a:gd name="connsiteY93" fmla="*/ 1016793 h 1288255"/>
                <a:gd name="connsiteX94" fmla="*/ 1195388 w 1378744"/>
                <a:gd name="connsiteY94" fmla="*/ 954881 h 1288255"/>
                <a:gd name="connsiteX95" fmla="*/ 1209675 w 1378744"/>
                <a:gd name="connsiteY95" fmla="*/ 945356 h 1288255"/>
                <a:gd name="connsiteX96" fmla="*/ 1235869 w 1378744"/>
                <a:gd name="connsiteY96" fmla="*/ 945356 h 1288255"/>
                <a:gd name="connsiteX97" fmla="*/ 1235869 w 1378744"/>
                <a:gd name="connsiteY97" fmla="*/ 931068 h 1288255"/>
                <a:gd name="connsiteX98" fmla="*/ 1212057 w 1378744"/>
                <a:gd name="connsiteY98" fmla="*/ 912018 h 1288255"/>
                <a:gd name="connsiteX99" fmla="*/ 1195388 w 1378744"/>
                <a:gd name="connsiteY99" fmla="*/ 881062 h 1288255"/>
                <a:gd name="connsiteX100" fmla="*/ 1157288 w 1378744"/>
                <a:gd name="connsiteY100" fmla="*/ 871537 h 1288255"/>
                <a:gd name="connsiteX101" fmla="*/ 1119188 w 1378744"/>
                <a:gd name="connsiteY101" fmla="*/ 859631 h 1288255"/>
                <a:gd name="connsiteX102" fmla="*/ 1119188 w 1378744"/>
                <a:gd name="connsiteY102" fmla="*/ 831056 h 1288255"/>
                <a:gd name="connsiteX103" fmla="*/ 1135857 w 1378744"/>
                <a:gd name="connsiteY103" fmla="*/ 807243 h 1288255"/>
                <a:gd name="connsiteX104" fmla="*/ 1197769 w 1378744"/>
                <a:gd name="connsiteY104" fmla="*/ 759618 h 1288255"/>
                <a:gd name="connsiteX105" fmla="*/ 1247775 w 1378744"/>
                <a:gd name="connsiteY105" fmla="*/ 762000 h 1288255"/>
                <a:gd name="connsiteX106" fmla="*/ 1278732 w 1378744"/>
                <a:gd name="connsiteY106" fmla="*/ 762000 h 1288255"/>
                <a:gd name="connsiteX107" fmla="*/ 1271588 w 1378744"/>
                <a:gd name="connsiteY107" fmla="*/ 735806 h 1288255"/>
                <a:gd name="connsiteX108" fmla="*/ 1378744 w 1378744"/>
                <a:gd name="connsiteY108" fmla="*/ 678656 h 1288255"/>
                <a:gd name="connsiteX109" fmla="*/ 1331119 w 1378744"/>
                <a:gd name="connsiteY109" fmla="*/ 552450 h 1288255"/>
                <a:gd name="connsiteX110" fmla="*/ 1278732 w 1378744"/>
                <a:gd name="connsiteY110" fmla="*/ 514350 h 1288255"/>
                <a:gd name="connsiteX111" fmla="*/ 1252538 w 1378744"/>
                <a:gd name="connsiteY111" fmla="*/ 431006 h 1288255"/>
                <a:gd name="connsiteX112" fmla="*/ 1181100 w 1378744"/>
                <a:gd name="connsiteY112" fmla="*/ 431006 h 1288255"/>
                <a:gd name="connsiteX113" fmla="*/ 1166813 w 1378744"/>
                <a:gd name="connsiteY113" fmla="*/ 395287 h 1288255"/>
                <a:gd name="connsiteX114" fmla="*/ 1107282 w 1378744"/>
                <a:gd name="connsiteY114" fmla="*/ 421481 h 1288255"/>
                <a:gd name="connsiteX115" fmla="*/ 1054894 w 1378744"/>
                <a:gd name="connsiteY115" fmla="*/ 414337 h 1288255"/>
                <a:gd name="connsiteX116" fmla="*/ 1028700 w 1378744"/>
                <a:gd name="connsiteY116" fmla="*/ 371475 h 1288255"/>
                <a:gd name="connsiteX117" fmla="*/ 1023938 w 1378744"/>
                <a:gd name="connsiteY117" fmla="*/ 288131 h 1288255"/>
                <a:gd name="connsiteX118" fmla="*/ 1012032 w 1378744"/>
                <a:gd name="connsiteY118" fmla="*/ 269081 h 1288255"/>
                <a:gd name="connsiteX119" fmla="*/ 1012032 w 1378744"/>
                <a:gd name="connsiteY119" fmla="*/ 211931 h 1288255"/>
                <a:gd name="connsiteX120" fmla="*/ 959644 w 1378744"/>
                <a:gd name="connsiteY120" fmla="*/ 190500 h 1288255"/>
                <a:gd name="connsiteX121" fmla="*/ 914400 w 1378744"/>
                <a:gd name="connsiteY121" fmla="*/ 111918 h 1288255"/>
                <a:gd name="connsiteX122" fmla="*/ 854869 w 1378744"/>
                <a:gd name="connsiteY122" fmla="*/ 76200 h 1288255"/>
                <a:gd name="connsiteX123" fmla="*/ 873919 w 1378744"/>
                <a:gd name="connsiteY123" fmla="*/ 16668 h 1288255"/>
                <a:gd name="connsiteX124" fmla="*/ 783432 w 1378744"/>
                <a:gd name="connsiteY124" fmla="*/ 0 h 1288255"/>
                <a:gd name="connsiteX0" fmla="*/ 783432 w 1378744"/>
                <a:gd name="connsiteY0" fmla="*/ 0 h 1288255"/>
                <a:gd name="connsiteX1" fmla="*/ 738188 w 1378744"/>
                <a:gd name="connsiteY1" fmla="*/ 26193 h 1288255"/>
                <a:gd name="connsiteX2" fmla="*/ 685800 w 1378744"/>
                <a:gd name="connsiteY2" fmla="*/ 28575 h 1288255"/>
                <a:gd name="connsiteX3" fmla="*/ 635794 w 1378744"/>
                <a:gd name="connsiteY3" fmla="*/ 73818 h 1288255"/>
                <a:gd name="connsiteX4" fmla="*/ 633413 w 1378744"/>
                <a:gd name="connsiteY4" fmla="*/ 114300 h 1288255"/>
                <a:gd name="connsiteX5" fmla="*/ 561975 w 1378744"/>
                <a:gd name="connsiteY5" fmla="*/ 190500 h 1288255"/>
                <a:gd name="connsiteX6" fmla="*/ 519113 w 1378744"/>
                <a:gd name="connsiteY6" fmla="*/ 214312 h 1288255"/>
                <a:gd name="connsiteX7" fmla="*/ 485775 w 1378744"/>
                <a:gd name="connsiteY7" fmla="*/ 252412 h 1288255"/>
                <a:gd name="connsiteX8" fmla="*/ 461963 w 1378744"/>
                <a:gd name="connsiteY8" fmla="*/ 273843 h 1288255"/>
                <a:gd name="connsiteX9" fmla="*/ 423863 w 1378744"/>
                <a:gd name="connsiteY9" fmla="*/ 333375 h 1288255"/>
                <a:gd name="connsiteX10" fmla="*/ 378619 w 1378744"/>
                <a:gd name="connsiteY10" fmla="*/ 357187 h 1288255"/>
                <a:gd name="connsiteX11" fmla="*/ 292894 w 1378744"/>
                <a:gd name="connsiteY11" fmla="*/ 376237 h 1288255"/>
                <a:gd name="connsiteX12" fmla="*/ 264319 w 1378744"/>
                <a:gd name="connsiteY12" fmla="*/ 373856 h 1288255"/>
                <a:gd name="connsiteX13" fmla="*/ 240507 w 1378744"/>
                <a:gd name="connsiteY13" fmla="*/ 359568 h 1288255"/>
                <a:gd name="connsiteX14" fmla="*/ 226219 w 1378744"/>
                <a:gd name="connsiteY14" fmla="*/ 338137 h 1288255"/>
                <a:gd name="connsiteX15" fmla="*/ 219075 w 1378744"/>
                <a:gd name="connsiteY15" fmla="*/ 311943 h 1288255"/>
                <a:gd name="connsiteX16" fmla="*/ 204788 w 1378744"/>
                <a:gd name="connsiteY16" fmla="*/ 309562 h 1288255"/>
                <a:gd name="connsiteX17" fmla="*/ 188119 w 1378744"/>
                <a:gd name="connsiteY17" fmla="*/ 304800 h 1288255"/>
                <a:gd name="connsiteX18" fmla="*/ 173832 w 1378744"/>
                <a:gd name="connsiteY18" fmla="*/ 302418 h 1288255"/>
                <a:gd name="connsiteX19" fmla="*/ 128588 w 1378744"/>
                <a:gd name="connsiteY19" fmla="*/ 352425 h 1288255"/>
                <a:gd name="connsiteX20" fmla="*/ 97632 w 1378744"/>
                <a:gd name="connsiteY20" fmla="*/ 371475 h 1288255"/>
                <a:gd name="connsiteX21" fmla="*/ 80963 w 1378744"/>
                <a:gd name="connsiteY21" fmla="*/ 390525 h 1288255"/>
                <a:gd name="connsiteX22" fmla="*/ 66675 w 1378744"/>
                <a:gd name="connsiteY22" fmla="*/ 435768 h 1288255"/>
                <a:gd name="connsiteX23" fmla="*/ 54769 w 1378744"/>
                <a:gd name="connsiteY23" fmla="*/ 447675 h 1288255"/>
                <a:gd name="connsiteX24" fmla="*/ 9525 w 1378744"/>
                <a:gd name="connsiteY24" fmla="*/ 466725 h 1288255"/>
                <a:gd name="connsiteX25" fmla="*/ 2382 w 1378744"/>
                <a:gd name="connsiteY25" fmla="*/ 481012 h 1288255"/>
                <a:gd name="connsiteX26" fmla="*/ 4763 w 1378744"/>
                <a:gd name="connsiteY26" fmla="*/ 533400 h 1288255"/>
                <a:gd name="connsiteX27" fmla="*/ 0 w 1378744"/>
                <a:gd name="connsiteY27" fmla="*/ 545306 h 1288255"/>
                <a:gd name="connsiteX28" fmla="*/ 73819 w 1378744"/>
                <a:gd name="connsiteY28" fmla="*/ 588168 h 1288255"/>
                <a:gd name="connsiteX29" fmla="*/ 90488 w 1378744"/>
                <a:gd name="connsiteY29" fmla="*/ 628650 h 1288255"/>
                <a:gd name="connsiteX30" fmla="*/ 83344 w 1378744"/>
                <a:gd name="connsiteY30" fmla="*/ 654843 h 1288255"/>
                <a:gd name="connsiteX31" fmla="*/ 73819 w 1378744"/>
                <a:gd name="connsiteY31" fmla="*/ 697706 h 1288255"/>
                <a:gd name="connsiteX32" fmla="*/ 78582 w 1378744"/>
                <a:gd name="connsiteY32" fmla="*/ 726281 h 1288255"/>
                <a:gd name="connsiteX33" fmla="*/ 95250 w 1378744"/>
                <a:gd name="connsiteY33" fmla="*/ 738187 h 1288255"/>
                <a:gd name="connsiteX34" fmla="*/ 116682 w 1378744"/>
                <a:gd name="connsiteY34" fmla="*/ 735806 h 1288255"/>
                <a:gd name="connsiteX35" fmla="*/ 123825 w 1378744"/>
                <a:gd name="connsiteY35" fmla="*/ 762000 h 1288255"/>
                <a:gd name="connsiteX36" fmla="*/ 126207 w 1378744"/>
                <a:gd name="connsiteY36" fmla="*/ 783431 h 1288255"/>
                <a:gd name="connsiteX37" fmla="*/ 152400 w 1378744"/>
                <a:gd name="connsiteY37" fmla="*/ 812006 h 1288255"/>
                <a:gd name="connsiteX38" fmla="*/ 164307 w 1378744"/>
                <a:gd name="connsiteY38" fmla="*/ 823912 h 1288255"/>
                <a:gd name="connsiteX39" fmla="*/ 173832 w 1378744"/>
                <a:gd name="connsiteY39" fmla="*/ 850106 h 1288255"/>
                <a:gd name="connsiteX40" fmla="*/ 169069 w 1378744"/>
                <a:gd name="connsiteY40" fmla="*/ 878681 h 1288255"/>
                <a:gd name="connsiteX41" fmla="*/ 176213 w 1378744"/>
                <a:gd name="connsiteY41" fmla="*/ 897731 h 1288255"/>
                <a:gd name="connsiteX42" fmla="*/ 200025 w 1378744"/>
                <a:gd name="connsiteY42" fmla="*/ 916781 h 1288255"/>
                <a:gd name="connsiteX43" fmla="*/ 226219 w 1378744"/>
                <a:gd name="connsiteY43" fmla="*/ 916781 h 1288255"/>
                <a:gd name="connsiteX44" fmla="*/ 300038 w 1378744"/>
                <a:gd name="connsiteY44" fmla="*/ 921543 h 1288255"/>
                <a:gd name="connsiteX45" fmla="*/ 395288 w 1378744"/>
                <a:gd name="connsiteY45" fmla="*/ 952500 h 1288255"/>
                <a:gd name="connsiteX46" fmla="*/ 414338 w 1378744"/>
                <a:gd name="connsiteY46" fmla="*/ 988218 h 1288255"/>
                <a:gd name="connsiteX47" fmla="*/ 435769 w 1378744"/>
                <a:gd name="connsiteY47" fmla="*/ 992981 h 1288255"/>
                <a:gd name="connsiteX48" fmla="*/ 464344 w 1378744"/>
                <a:gd name="connsiteY48" fmla="*/ 995362 h 1288255"/>
                <a:gd name="connsiteX49" fmla="*/ 507207 w 1378744"/>
                <a:gd name="connsiteY49" fmla="*/ 1026318 h 1288255"/>
                <a:gd name="connsiteX50" fmla="*/ 521494 w 1378744"/>
                <a:gd name="connsiteY50" fmla="*/ 1069181 h 1288255"/>
                <a:gd name="connsiteX51" fmla="*/ 545307 w 1378744"/>
                <a:gd name="connsiteY51" fmla="*/ 1107281 h 1288255"/>
                <a:gd name="connsiteX52" fmla="*/ 573882 w 1378744"/>
                <a:gd name="connsiteY52" fmla="*/ 1121568 h 1288255"/>
                <a:gd name="connsiteX53" fmla="*/ 585788 w 1378744"/>
                <a:gd name="connsiteY53" fmla="*/ 1131093 h 1288255"/>
                <a:gd name="connsiteX54" fmla="*/ 597694 w 1378744"/>
                <a:gd name="connsiteY54" fmla="*/ 1181100 h 1288255"/>
                <a:gd name="connsiteX55" fmla="*/ 633413 w 1378744"/>
                <a:gd name="connsiteY55" fmla="*/ 1250156 h 1288255"/>
                <a:gd name="connsiteX56" fmla="*/ 692944 w 1378744"/>
                <a:gd name="connsiteY56" fmla="*/ 1278730 h 1288255"/>
                <a:gd name="connsiteX57" fmla="*/ 728663 w 1378744"/>
                <a:gd name="connsiteY57" fmla="*/ 1288255 h 1288255"/>
                <a:gd name="connsiteX58" fmla="*/ 771525 w 1378744"/>
                <a:gd name="connsiteY58" fmla="*/ 1269205 h 1288255"/>
                <a:gd name="connsiteX59" fmla="*/ 771525 w 1378744"/>
                <a:gd name="connsiteY59" fmla="*/ 1235868 h 1288255"/>
                <a:gd name="connsiteX60" fmla="*/ 795338 w 1378744"/>
                <a:gd name="connsiteY60" fmla="*/ 1209674 h 1288255"/>
                <a:gd name="connsiteX61" fmla="*/ 795337 w 1378744"/>
                <a:gd name="connsiteY61" fmla="*/ 1212055 h 1288255"/>
                <a:gd name="connsiteX62" fmla="*/ 809625 w 1378744"/>
                <a:gd name="connsiteY62" fmla="*/ 1197768 h 1288255"/>
                <a:gd name="connsiteX63" fmla="*/ 823914 w 1378744"/>
                <a:gd name="connsiteY63" fmla="*/ 1147762 h 1288255"/>
                <a:gd name="connsiteX64" fmla="*/ 833438 w 1378744"/>
                <a:gd name="connsiteY64" fmla="*/ 1085850 h 1288255"/>
                <a:gd name="connsiteX65" fmla="*/ 797719 w 1378744"/>
                <a:gd name="connsiteY65" fmla="*/ 1059656 h 1288255"/>
                <a:gd name="connsiteX66" fmla="*/ 790575 w 1378744"/>
                <a:gd name="connsiteY66" fmla="*/ 1038225 h 1288255"/>
                <a:gd name="connsiteX67" fmla="*/ 790575 w 1378744"/>
                <a:gd name="connsiteY67" fmla="*/ 1021556 h 1288255"/>
                <a:gd name="connsiteX68" fmla="*/ 845344 w 1378744"/>
                <a:gd name="connsiteY68" fmla="*/ 952500 h 1288255"/>
                <a:gd name="connsiteX69" fmla="*/ 845344 w 1378744"/>
                <a:gd name="connsiteY69" fmla="*/ 952500 h 1288255"/>
                <a:gd name="connsiteX70" fmla="*/ 888207 w 1378744"/>
                <a:gd name="connsiteY70" fmla="*/ 966787 h 1288255"/>
                <a:gd name="connsiteX71" fmla="*/ 907257 w 1378744"/>
                <a:gd name="connsiteY71" fmla="*/ 981075 h 1288255"/>
                <a:gd name="connsiteX72" fmla="*/ 938213 w 1378744"/>
                <a:gd name="connsiteY72" fmla="*/ 990600 h 1288255"/>
                <a:gd name="connsiteX73" fmla="*/ 964407 w 1378744"/>
                <a:gd name="connsiteY73" fmla="*/ 985837 h 1288255"/>
                <a:gd name="connsiteX74" fmla="*/ 985838 w 1378744"/>
                <a:gd name="connsiteY74" fmla="*/ 985837 h 1288255"/>
                <a:gd name="connsiteX75" fmla="*/ 995363 w 1378744"/>
                <a:gd name="connsiteY75" fmla="*/ 995362 h 1288255"/>
                <a:gd name="connsiteX76" fmla="*/ 978694 w 1378744"/>
                <a:gd name="connsiteY76" fmla="*/ 1012031 h 1288255"/>
                <a:gd name="connsiteX77" fmla="*/ 969169 w 1378744"/>
                <a:gd name="connsiteY77" fmla="*/ 1031081 h 1288255"/>
                <a:gd name="connsiteX78" fmla="*/ 954882 w 1378744"/>
                <a:gd name="connsiteY78" fmla="*/ 1054893 h 1288255"/>
                <a:gd name="connsiteX79" fmla="*/ 950119 w 1378744"/>
                <a:gd name="connsiteY79" fmla="*/ 1083468 h 1288255"/>
                <a:gd name="connsiteX80" fmla="*/ 962025 w 1378744"/>
                <a:gd name="connsiteY80" fmla="*/ 1107281 h 1288255"/>
                <a:gd name="connsiteX81" fmla="*/ 983457 w 1378744"/>
                <a:gd name="connsiteY81" fmla="*/ 1131093 h 1288255"/>
                <a:gd name="connsiteX82" fmla="*/ 1002507 w 1378744"/>
                <a:gd name="connsiteY82" fmla="*/ 1133475 h 1288255"/>
                <a:gd name="connsiteX83" fmla="*/ 1028700 w 1378744"/>
                <a:gd name="connsiteY83" fmla="*/ 1126331 h 1288255"/>
                <a:gd name="connsiteX84" fmla="*/ 1031082 w 1378744"/>
                <a:gd name="connsiteY84" fmla="*/ 1097756 h 1288255"/>
                <a:gd name="connsiteX85" fmla="*/ 1057275 w 1378744"/>
                <a:gd name="connsiteY85" fmla="*/ 1085850 h 1288255"/>
                <a:gd name="connsiteX86" fmla="*/ 1076325 w 1378744"/>
                <a:gd name="connsiteY86" fmla="*/ 1097756 h 1288255"/>
                <a:gd name="connsiteX87" fmla="*/ 1100138 w 1378744"/>
                <a:gd name="connsiteY87" fmla="*/ 1107281 h 1288255"/>
                <a:gd name="connsiteX88" fmla="*/ 1123950 w 1378744"/>
                <a:gd name="connsiteY88" fmla="*/ 1121568 h 1288255"/>
                <a:gd name="connsiteX89" fmla="*/ 1143000 w 1378744"/>
                <a:gd name="connsiteY89" fmla="*/ 1123950 h 1288255"/>
                <a:gd name="connsiteX90" fmla="*/ 1157288 w 1378744"/>
                <a:gd name="connsiteY90" fmla="*/ 1112043 h 1288255"/>
                <a:gd name="connsiteX91" fmla="*/ 1159669 w 1378744"/>
                <a:gd name="connsiteY91" fmla="*/ 1085850 h 1288255"/>
                <a:gd name="connsiteX92" fmla="*/ 1166813 w 1378744"/>
                <a:gd name="connsiteY92" fmla="*/ 1052512 h 1288255"/>
                <a:gd name="connsiteX93" fmla="*/ 1197769 w 1378744"/>
                <a:gd name="connsiteY93" fmla="*/ 1016793 h 1288255"/>
                <a:gd name="connsiteX94" fmla="*/ 1195388 w 1378744"/>
                <a:gd name="connsiteY94" fmla="*/ 954881 h 1288255"/>
                <a:gd name="connsiteX95" fmla="*/ 1209675 w 1378744"/>
                <a:gd name="connsiteY95" fmla="*/ 945356 h 1288255"/>
                <a:gd name="connsiteX96" fmla="*/ 1235869 w 1378744"/>
                <a:gd name="connsiteY96" fmla="*/ 945356 h 1288255"/>
                <a:gd name="connsiteX97" fmla="*/ 1235869 w 1378744"/>
                <a:gd name="connsiteY97" fmla="*/ 931068 h 1288255"/>
                <a:gd name="connsiteX98" fmla="*/ 1212057 w 1378744"/>
                <a:gd name="connsiteY98" fmla="*/ 912018 h 1288255"/>
                <a:gd name="connsiteX99" fmla="*/ 1195388 w 1378744"/>
                <a:gd name="connsiteY99" fmla="*/ 881062 h 1288255"/>
                <a:gd name="connsiteX100" fmla="*/ 1157288 w 1378744"/>
                <a:gd name="connsiteY100" fmla="*/ 871537 h 1288255"/>
                <a:gd name="connsiteX101" fmla="*/ 1119188 w 1378744"/>
                <a:gd name="connsiteY101" fmla="*/ 859631 h 1288255"/>
                <a:gd name="connsiteX102" fmla="*/ 1119188 w 1378744"/>
                <a:gd name="connsiteY102" fmla="*/ 831056 h 1288255"/>
                <a:gd name="connsiteX103" fmla="*/ 1135857 w 1378744"/>
                <a:gd name="connsiteY103" fmla="*/ 807243 h 1288255"/>
                <a:gd name="connsiteX104" fmla="*/ 1197769 w 1378744"/>
                <a:gd name="connsiteY104" fmla="*/ 759618 h 1288255"/>
                <a:gd name="connsiteX105" fmla="*/ 1247775 w 1378744"/>
                <a:gd name="connsiteY105" fmla="*/ 762000 h 1288255"/>
                <a:gd name="connsiteX106" fmla="*/ 1278732 w 1378744"/>
                <a:gd name="connsiteY106" fmla="*/ 762000 h 1288255"/>
                <a:gd name="connsiteX107" fmla="*/ 1271588 w 1378744"/>
                <a:gd name="connsiteY107" fmla="*/ 735806 h 1288255"/>
                <a:gd name="connsiteX108" fmla="*/ 1378744 w 1378744"/>
                <a:gd name="connsiteY108" fmla="*/ 678656 h 1288255"/>
                <a:gd name="connsiteX109" fmla="*/ 1331119 w 1378744"/>
                <a:gd name="connsiteY109" fmla="*/ 552450 h 1288255"/>
                <a:gd name="connsiteX110" fmla="*/ 1278732 w 1378744"/>
                <a:gd name="connsiteY110" fmla="*/ 514350 h 1288255"/>
                <a:gd name="connsiteX111" fmla="*/ 1252538 w 1378744"/>
                <a:gd name="connsiteY111" fmla="*/ 431006 h 1288255"/>
                <a:gd name="connsiteX112" fmla="*/ 1181100 w 1378744"/>
                <a:gd name="connsiteY112" fmla="*/ 431006 h 1288255"/>
                <a:gd name="connsiteX113" fmla="*/ 1166813 w 1378744"/>
                <a:gd name="connsiteY113" fmla="*/ 395287 h 1288255"/>
                <a:gd name="connsiteX114" fmla="*/ 1107282 w 1378744"/>
                <a:gd name="connsiteY114" fmla="*/ 421481 h 1288255"/>
                <a:gd name="connsiteX115" fmla="*/ 1054894 w 1378744"/>
                <a:gd name="connsiteY115" fmla="*/ 414337 h 1288255"/>
                <a:gd name="connsiteX116" fmla="*/ 1028700 w 1378744"/>
                <a:gd name="connsiteY116" fmla="*/ 371475 h 1288255"/>
                <a:gd name="connsiteX117" fmla="*/ 1023938 w 1378744"/>
                <a:gd name="connsiteY117" fmla="*/ 288131 h 1288255"/>
                <a:gd name="connsiteX118" fmla="*/ 1012032 w 1378744"/>
                <a:gd name="connsiteY118" fmla="*/ 269081 h 1288255"/>
                <a:gd name="connsiteX119" fmla="*/ 1012032 w 1378744"/>
                <a:gd name="connsiteY119" fmla="*/ 211931 h 1288255"/>
                <a:gd name="connsiteX120" fmla="*/ 959644 w 1378744"/>
                <a:gd name="connsiteY120" fmla="*/ 190500 h 1288255"/>
                <a:gd name="connsiteX121" fmla="*/ 914400 w 1378744"/>
                <a:gd name="connsiteY121" fmla="*/ 111918 h 1288255"/>
                <a:gd name="connsiteX122" fmla="*/ 854869 w 1378744"/>
                <a:gd name="connsiteY122" fmla="*/ 76200 h 1288255"/>
                <a:gd name="connsiteX123" fmla="*/ 873919 w 1378744"/>
                <a:gd name="connsiteY123" fmla="*/ 16668 h 1288255"/>
                <a:gd name="connsiteX124" fmla="*/ 783432 w 1378744"/>
                <a:gd name="connsiteY124" fmla="*/ 0 h 1288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1378744" h="1288255">
                  <a:moveTo>
                    <a:pt x="783432" y="0"/>
                  </a:moveTo>
                  <a:lnTo>
                    <a:pt x="738188" y="26193"/>
                  </a:lnTo>
                  <a:lnTo>
                    <a:pt x="685800" y="28575"/>
                  </a:lnTo>
                  <a:lnTo>
                    <a:pt x="635794" y="73818"/>
                  </a:lnTo>
                  <a:lnTo>
                    <a:pt x="633413" y="114300"/>
                  </a:lnTo>
                  <a:lnTo>
                    <a:pt x="561975" y="190500"/>
                  </a:lnTo>
                  <a:lnTo>
                    <a:pt x="519113" y="214312"/>
                  </a:lnTo>
                  <a:lnTo>
                    <a:pt x="485775" y="252412"/>
                  </a:lnTo>
                  <a:lnTo>
                    <a:pt x="461963" y="273843"/>
                  </a:lnTo>
                  <a:lnTo>
                    <a:pt x="423863" y="333375"/>
                  </a:lnTo>
                  <a:lnTo>
                    <a:pt x="378619" y="357187"/>
                  </a:lnTo>
                  <a:lnTo>
                    <a:pt x="292894" y="376237"/>
                  </a:lnTo>
                  <a:lnTo>
                    <a:pt x="264319" y="373856"/>
                  </a:lnTo>
                  <a:lnTo>
                    <a:pt x="240507" y="359568"/>
                  </a:lnTo>
                  <a:lnTo>
                    <a:pt x="226219" y="338137"/>
                  </a:lnTo>
                  <a:lnTo>
                    <a:pt x="219075" y="311943"/>
                  </a:lnTo>
                  <a:lnTo>
                    <a:pt x="204788" y="309562"/>
                  </a:lnTo>
                  <a:lnTo>
                    <a:pt x="188119" y="304800"/>
                  </a:lnTo>
                  <a:lnTo>
                    <a:pt x="173832" y="302418"/>
                  </a:lnTo>
                  <a:lnTo>
                    <a:pt x="128588" y="352425"/>
                  </a:lnTo>
                  <a:lnTo>
                    <a:pt x="97632" y="371475"/>
                  </a:lnTo>
                  <a:lnTo>
                    <a:pt x="80963" y="390525"/>
                  </a:lnTo>
                  <a:lnTo>
                    <a:pt x="66675" y="435768"/>
                  </a:lnTo>
                  <a:lnTo>
                    <a:pt x="54769" y="447675"/>
                  </a:lnTo>
                  <a:lnTo>
                    <a:pt x="9525" y="466725"/>
                  </a:lnTo>
                  <a:lnTo>
                    <a:pt x="2382" y="481012"/>
                  </a:lnTo>
                  <a:lnTo>
                    <a:pt x="4763" y="533400"/>
                  </a:lnTo>
                  <a:lnTo>
                    <a:pt x="0" y="545306"/>
                  </a:lnTo>
                  <a:lnTo>
                    <a:pt x="73819" y="588168"/>
                  </a:lnTo>
                  <a:lnTo>
                    <a:pt x="90488" y="628650"/>
                  </a:lnTo>
                  <a:lnTo>
                    <a:pt x="83344" y="654843"/>
                  </a:lnTo>
                  <a:lnTo>
                    <a:pt x="73819" y="697706"/>
                  </a:lnTo>
                  <a:lnTo>
                    <a:pt x="78582" y="726281"/>
                  </a:lnTo>
                  <a:lnTo>
                    <a:pt x="95250" y="738187"/>
                  </a:lnTo>
                  <a:lnTo>
                    <a:pt x="116682" y="735806"/>
                  </a:lnTo>
                  <a:lnTo>
                    <a:pt x="123825" y="762000"/>
                  </a:lnTo>
                  <a:lnTo>
                    <a:pt x="126207" y="783431"/>
                  </a:lnTo>
                  <a:lnTo>
                    <a:pt x="152400" y="812006"/>
                  </a:lnTo>
                  <a:lnTo>
                    <a:pt x="164307" y="823912"/>
                  </a:lnTo>
                  <a:lnTo>
                    <a:pt x="173832" y="850106"/>
                  </a:lnTo>
                  <a:lnTo>
                    <a:pt x="169069" y="878681"/>
                  </a:lnTo>
                  <a:lnTo>
                    <a:pt x="176213" y="897731"/>
                  </a:lnTo>
                  <a:lnTo>
                    <a:pt x="200025" y="916781"/>
                  </a:lnTo>
                  <a:lnTo>
                    <a:pt x="226219" y="916781"/>
                  </a:lnTo>
                  <a:lnTo>
                    <a:pt x="300038" y="921543"/>
                  </a:lnTo>
                  <a:lnTo>
                    <a:pt x="395288" y="952500"/>
                  </a:lnTo>
                  <a:lnTo>
                    <a:pt x="414338" y="988218"/>
                  </a:lnTo>
                  <a:lnTo>
                    <a:pt x="435769" y="992981"/>
                  </a:lnTo>
                  <a:lnTo>
                    <a:pt x="464344" y="995362"/>
                  </a:lnTo>
                  <a:lnTo>
                    <a:pt x="507207" y="1026318"/>
                  </a:lnTo>
                  <a:lnTo>
                    <a:pt x="521494" y="1069181"/>
                  </a:lnTo>
                  <a:lnTo>
                    <a:pt x="545307" y="1107281"/>
                  </a:lnTo>
                  <a:lnTo>
                    <a:pt x="573882" y="1121568"/>
                  </a:lnTo>
                  <a:lnTo>
                    <a:pt x="585788" y="1131093"/>
                  </a:lnTo>
                  <a:lnTo>
                    <a:pt x="597694" y="1181100"/>
                  </a:lnTo>
                  <a:lnTo>
                    <a:pt x="633413" y="1250156"/>
                  </a:lnTo>
                  <a:lnTo>
                    <a:pt x="692944" y="1278730"/>
                  </a:lnTo>
                  <a:lnTo>
                    <a:pt x="728663" y="1288255"/>
                  </a:lnTo>
                  <a:lnTo>
                    <a:pt x="771525" y="1269205"/>
                  </a:lnTo>
                  <a:lnTo>
                    <a:pt x="771525" y="1235868"/>
                  </a:lnTo>
                  <a:lnTo>
                    <a:pt x="795338" y="1209674"/>
                  </a:lnTo>
                  <a:cubicBezTo>
                    <a:pt x="795338" y="1210468"/>
                    <a:pt x="795337" y="1211261"/>
                    <a:pt x="795337" y="1212055"/>
                  </a:cubicBezTo>
                  <a:lnTo>
                    <a:pt x="809625" y="1197768"/>
                  </a:lnTo>
                  <a:lnTo>
                    <a:pt x="823914" y="1147762"/>
                  </a:lnTo>
                  <a:lnTo>
                    <a:pt x="833438" y="1085850"/>
                  </a:lnTo>
                  <a:lnTo>
                    <a:pt x="797719" y="1059656"/>
                  </a:lnTo>
                  <a:lnTo>
                    <a:pt x="790575" y="1038225"/>
                  </a:lnTo>
                  <a:lnTo>
                    <a:pt x="790575" y="1021556"/>
                  </a:lnTo>
                  <a:lnTo>
                    <a:pt x="845344" y="952500"/>
                  </a:lnTo>
                  <a:lnTo>
                    <a:pt x="845344" y="952500"/>
                  </a:lnTo>
                  <a:lnTo>
                    <a:pt x="888207" y="966787"/>
                  </a:lnTo>
                  <a:lnTo>
                    <a:pt x="907257" y="981075"/>
                  </a:lnTo>
                  <a:lnTo>
                    <a:pt x="938213" y="990600"/>
                  </a:lnTo>
                  <a:lnTo>
                    <a:pt x="964407" y="985837"/>
                  </a:lnTo>
                  <a:lnTo>
                    <a:pt x="985838" y="985837"/>
                  </a:lnTo>
                  <a:lnTo>
                    <a:pt x="995363" y="995362"/>
                  </a:lnTo>
                  <a:lnTo>
                    <a:pt x="978694" y="1012031"/>
                  </a:lnTo>
                  <a:lnTo>
                    <a:pt x="969169" y="1031081"/>
                  </a:lnTo>
                  <a:lnTo>
                    <a:pt x="954882" y="1054893"/>
                  </a:lnTo>
                  <a:lnTo>
                    <a:pt x="950119" y="1083468"/>
                  </a:lnTo>
                  <a:lnTo>
                    <a:pt x="962025" y="1107281"/>
                  </a:lnTo>
                  <a:lnTo>
                    <a:pt x="983457" y="1131093"/>
                  </a:lnTo>
                  <a:lnTo>
                    <a:pt x="1002507" y="1133475"/>
                  </a:lnTo>
                  <a:lnTo>
                    <a:pt x="1028700" y="1126331"/>
                  </a:lnTo>
                  <a:lnTo>
                    <a:pt x="1031082" y="1097756"/>
                  </a:lnTo>
                  <a:lnTo>
                    <a:pt x="1057275" y="1085850"/>
                  </a:lnTo>
                  <a:lnTo>
                    <a:pt x="1076325" y="1097756"/>
                  </a:lnTo>
                  <a:lnTo>
                    <a:pt x="1100138" y="1107281"/>
                  </a:lnTo>
                  <a:lnTo>
                    <a:pt x="1123950" y="1121568"/>
                  </a:lnTo>
                  <a:lnTo>
                    <a:pt x="1143000" y="1123950"/>
                  </a:lnTo>
                  <a:lnTo>
                    <a:pt x="1157288" y="1112043"/>
                  </a:lnTo>
                  <a:lnTo>
                    <a:pt x="1159669" y="1085850"/>
                  </a:lnTo>
                  <a:lnTo>
                    <a:pt x="1166813" y="1052512"/>
                  </a:lnTo>
                  <a:lnTo>
                    <a:pt x="1197769" y="1016793"/>
                  </a:lnTo>
                  <a:cubicBezTo>
                    <a:pt x="1196975" y="996156"/>
                    <a:pt x="1196182" y="975518"/>
                    <a:pt x="1195388" y="954881"/>
                  </a:cubicBezTo>
                  <a:lnTo>
                    <a:pt x="1209675" y="945356"/>
                  </a:lnTo>
                  <a:lnTo>
                    <a:pt x="1235869" y="945356"/>
                  </a:lnTo>
                  <a:lnTo>
                    <a:pt x="1235869" y="931068"/>
                  </a:lnTo>
                  <a:lnTo>
                    <a:pt x="1212057" y="912018"/>
                  </a:lnTo>
                  <a:lnTo>
                    <a:pt x="1195388" y="881062"/>
                  </a:lnTo>
                  <a:lnTo>
                    <a:pt x="1157288" y="871537"/>
                  </a:lnTo>
                  <a:lnTo>
                    <a:pt x="1119188" y="859631"/>
                  </a:lnTo>
                  <a:lnTo>
                    <a:pt x="1119188" y="831056"/>
                  </a:lnTo>
                  <a:lnTo>
                    <a:pt x="1135857" y="807243"/>
                  </a:lnTo>
                  <a:lnTo>
                    <a:pt x="1197769" y="759618"/>
                  </a:lnTo>
                  <a:lnTo>
                    <a:pt x="1247775" y="762000"/>
                  </a:lnTo>
                  <a:lnTo>
                    <a:pt x="1278732" y="762000"/>
                  </a:lnTo>
                  <a:lnTo>
                    <a:pt x="1271588" y="735806"/>
                  </a:lnTo>
                  <a:lnTo>
                    <a:pt x="1378744" y="678656"/>
                  </a:lnTo>
                  <a:lnTo>
                    <a:pt x="1331119" y="552450"/>
                  </a:lnTo>
                  <a:lnTo>
                    <a:pt x="1278732" y="514350"/>
                  </a:lnTo>
                  <a:lnTo>
                    <a:pt x="1252538" y="431006"/>
                  </a:lnTo>
                  <a:lnTo>
                    <a:pt x="1181100" y="431006"/>
                  </a:lnTo>
                  <a:lnTo>
                    <a:pt x="1166813" y="395287"/>
                  </a:lnTo>
                  <a:lnTo>
                    <a:pt x="1107282" y="421481"/>
                  </a:lnTo>
                  <a:lnTo>
                    <a:pt x="1054894" y="414337"/>
                  </a:lnTo>
                  <a:lnTo>
                    <a:pt x="1028700" y="371475"/>
                  </a:lnTo>
                  <a:lnTo>
                    <a:pt x="1023938" y="288131"/>
                  </a:lnTo>
                  <a:lnTo>
                    <a:pt x="1012032" y="269081"/>
                  </a:lnTo>
                  <a:lnTo>
                    <a:pt x="1012032" y="211931"/>
                  </a:lnTo>
                  <a:lnTo>
                    <a:pt x="959644" y="190500"/>
                  </a:lnTo>
                  <a:lnTo>
                    <a:pt x="914400" y="111918"/>
                  </a:lnTo>
                  <a:lnTo>
                    <a:pt x="854869" y="76200"/>
                  </a:lnTo>
                  <a:lnTo>
                    <a:pt x="873919" y="16668"/>
                  </a:lnTo>
                  <a:lnTo>
                    <a:pt x="783432" y="0"/>
                  </a:lnTo>
                  <a:close/>
                </a:path>
              </a:pathLst>
            </a:custGeom>
            <a:solidFill>
              <a:schemeClr val="bg1"/>
            </a:solidFill>
            <a:ln w="317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a:lstStyle/>
            <a:p>
              <a:pPr>
                <a:defRPr/>
              </a:pPr>
              <a:endParaRPr lang="en-GB"/>
            </a:p>
          </p:txBody>
        </p:sp>
        <p:sp>
          <p:nvSpPr>
            <p:cNvPr id="42" name="Freeform 41"/>
            <p:cNvSpPr/>
            <p:nvPr/>
          </p:nvSpPr>
          <p:spPr>
            <a:xfrm>
              <a:off x="3751660" y="2616746"/>
              <a:ext cx="1584325" cy="1038225"/>
            </a:xfrm>
            <a:custGeom>
              <a:avLst/>
              <a:gdLst>
                <a:gd name="connsiteX0" fmla="*/ 33338 w 1583531"/>
                <a:gd name="connsiteY0" fmla="*/ 840582 h 1038225"/>
                <a:gd name="connsiteX1" fmla="*/ 116681 w 1583531"/>
                <a:gd name="connsiteY1" fmla="*/ 862013 h 1038225"/>
                <a:gd name="connsiteX2" fmla="*/ 126206 w 1583531"/>
                <a:gd name="connsiteY2" fmla="*/ 878682 h 1038225"/>
                <a:gd name="connsiteX3" fmla="*/ 123825 w 1583531"/>
                <a:gd name="connsiteY3" fmla="*/ 935832 h 1038225"/>
                <a:gd name="connsiteX4" fmla="*/ 130969 w 1583531"/>
                <a:gd name="connsiteY4" fmla="*/ 942975 h 1038225"/>
                <a:gd name="connsiteX5" fmla="*/ 188119 w 1583531"/>
                <a:gd name="connsiteY5" fmla="*/ 964407 h 1038225"/>
                <a:gd name="connsiteX6" fmla="*/ 204788 w 1583531"/>
                <a:gd name="connsiteY6" fmla="*/ 997744 h 1038225"/>
                <a:gd name="connsiteX7" fmla="*/ 228600 w 1583531"/>
                <a:gd name="connsiteY7" fmla="*/ 1002507 h 1038225"/>
                <a:gd name="connsiteX8" fmla="*/ 250031 w 1583531"/>
                <a:gd name="connsiteY8" fmla="*/ 990600 h 1038225"/>
                <a:gd name="connsiteX9" fmla="*/ 278606 w 1583531"/>
                <a:gd name="connsiteY9" fmla="*/ 973932 h 1038225"/>
                <a:gd name="connsiteX10" fmla="*/ 300038 w 1583531"/>
                <a:gd name="connsiteY10" fmla="*/ 981075 h 1038225"/>
                <a:gd name="connsiteX11" fmla="*/ 316706 w 1583531"/>
                <a:gd name="connsiteY11" fmla="*/ 1004888 h 1038225"/>
                <a:gd name="connsiteX12" fmla="*/ 326231 w 1583531"/>
                <a:gd name="connsiteY12" fmla="*/ 1023938 h 1038225"/>
                <a:gd name="connsiteX13" fmla="*/ 347663 w 1583531"/>
                <a:gd name="connsiteY13" fmla="*/ 1035844 h 1038225"/>
                <a:gd name="connsiteX14" fmla="*/ 402431 w 1583531"/>
                <a:gd name="connsiteY14" fmla="*/ 1038225 h 1038225"/>
                <a:gd name="connsiteX15" fmla="*/ 407194 w 1583531"/>
                <a:gd name="connsiteY15" fmla="*/ 1014413 h 1038225"/>
                <a:gd name="connsiteX16" fmla="*/ 411956 w 1583531"/>
                <a:gd name="connsiteY16" fmla="*/ 985838 h 1038225"/>
                <a:gd name="connsiteX17" fmla="*/ 428625 w 1583531"/>
                <a:gd name="connsiteY17" fmla="*/ 959644 h 1038225"/>
                <a:gd name="connsiteX18" fmla="*/ 535781 w 1583531"/>
                <a:gd name="connsiteY18" fmla="*/ 912019 h 1038225"/>
                <a:gd name="connsiteX19" fmla="*/ 557213 w 1583531"/>
                <a:gd name="connsiteY19" fmla="*/ 931069 h 1038225"/>
                <a:gd name="connsiteX20" fmla="*/ 566738 w 1583531"/>
                <a:gd name="connsiteY20" fmla="*/ 1004888 h 1038225"/>
                <a:gd name="connsiteX21" fmla="*/ 631031 w 1583531"/>
                <a:gd name="connsiteY21" fmla="*/ 1019175 h 1038225"/>
                <a:gd name="connsiteX22" fmla="*/ 669131 w 1583531"/>
                <a:gd name="connsiteY22" fmla="*/ 1019175 h 1038225"/>
                <a:gd name="connsiteX23" fmla="*/ 700088 w 1583531"/>
                <a:gd name="connsiteY23" fmla="*/ 995363 h 1038225"/>
                <a:gd name="connsiteX24" fmla="*/ 750094 w 1583531"/>
                <a:gd name="connsiteY24" fmla="*/ 978694 h 1038225"/>
                <a:gd name="connsiteX25" fmla="*/ 771525 w 1583531"/>
                <a:gd name="connsiteY25" fmla="*/ 985838 h 1038225"/>
                <a:gd name="connsiteX26" fmla="*/ 812006 w 1583531"/>
                <a:gd name="connsiteY26" fmla="*/ 1028700 h 1038225"/>
                <a:gd name="connsiteX27" fmla="*/ 826294 w 1583531"/>
                <a:gd name="connsiteY27" fmla="*/ 1028700 h 1038225"/>
                <a:gd name="connsiteX28" fmla="*/ 850106 w 1583531"/>
                <a:gd name="connsiteY28" fmla="*/ 992982 h 1038225"/>
                <a:gd name="connsiteX29" fmla="*/ 871538 w 1583531"/>
                <a:gd name="connsiteY29" fmla="*/ 966788 h 1038225"/>
                <a:gd name="connsiteX30" fmla="*/ 902494 w 1583531"/>
                <a:gd name="connsiteY30" fmla="*/ 959644 h 1038225"/>
                <a:gd name="connsiteX31" fmla="*/ 928688 w 1583531"/>
                <a:gd name="connsiteY31" fmla="*/ 964407 h 1038225"/>
                <a:gd name="connsiteX32" fmla="*/ 981075 w 1583531"/>
                <a:gd name="connsiteY32" fmla="*/ 995363 h 1038225"/>
                <a:gd name="connsiteX33" fmla="*/ 1047750 w 1583531"/>
                <a:gd name="connsiteY33" fmla="*/ 995363 h 1038225"/>
                <a:gd name="connsiteX34" fmla="*/ 1100138 w 1583531"/>
                <a:gd name="connsiteY34" fmla="*/ 1012032 h 1038225"/>
                <a:gd name="connsiteX35" fmla="*/ 1202531 w 1583531"/>
                <a:gd name="connsiteY35" fmla="*/ 862013 h 1038225"/>
                <a:gd name="connsiteX36" fmla="*/ 1243013 w 1583531"/>
                <a:gd name="connsiteY36" fmla="*/ 876300 h 1038225"/>
                <a:gd name="connsiteX37" fmla="*/ 1331119 w 1583531"/>
                <a:gd name="connsiteY37" fmla="*/ 752475 h 1038225"/>
                <a:gd name="connsiteX38" fmla="*/ 1269206 w 1583531"/>
                <a:gd name="connsiteY38" fmla="*/ 695325 h 1038225"/>
                <a:gd name="connsiteX39" fmla="*/ 1269206 w 1583531"/>
                <a:gd name="connsiteY39" fmla="*/ 685800 h 1038225"/>
                <a:gd name="connsiteX40" fmla="*/ 1364456 w 1583531"/>
                <a:gd name="connsiteY40" fmla="*/ 683419 h 1038225"/>
                <a:gd name="connsiteX41" fmla="*/ 1407319 w 1583531"/>
                <a:gd name="connsiteY41" fmla="*/ 700088 h 1038225"/>
                <a:gd name="connsiteX42" fmla="*/ 1431131 w 1583531"/>
                <a:gd name="connsiteY42" fmla="*/ 657225 h 1038225"/>
                <a:gd name="connsiteX43" fmla="*/ 1531144 w 1583531"/>
                <a:gd name="connsiteY43" fmla="*/ 623888 h 1038225"/>
                <a:gd name="connsiteX44" fmla="*/ 1578769 w 1583531"/>
                <a:gd name="connsiteY44" fmla="*/ 588169 h 1038225"/>
                <a:gd name="connsiteX45" fmla="*/ 1583531 w 1583531"/>
                <a:gd name="connsiteY45" fmla="*/ 564357 h 1038225"/>
                <a:gd name="connsiteX46" fmla="*/ 1564481 w 1583531"/>
                <a:gd name="connsiteY46" fmla="*/ 557213 h 1038225"/>
                <a:gd name="connsiteX47" fmla="*/ 1547813 w 1583531"/>
                <a:gd name="connsiteY47" fmla="*/ 466725 h 1038225"/>
                <a:gd name="connsiteX48" fmla="*/ 1519238 w 1583531"/>
                <a:gd name="connsiteY48" fmla="*/ 433388 h 1038225"/>
                <a:gd name="connsiteX49" fmla="*/ 1443038 w 1583531"/>
                <a:gd name="connsiteY49" fmla="*/ 426244 h 1038225"/>
                <a:gd name="connsiteX50" fmla="*/ 1431131 w 1583531"/>
                <a:gd name="connsiteY50" fmla="*/ 404813 h 1038225"/>
                <a:gd name="connsiteX51" fmla="*/ 1412081 w 1583531"/>
                <a:gd name="connsiteY51" fmla="*/ 388144 h 1038225"/>
                <a:gd name="connsiteX52" fmla="*/ 1373981 w 1583531"/>
                <a:gd name="connsiteY52" fmla="*/ 385763 h 1038225"/>
                <a:gd name="connsiteX53" fmla="*/ 1323975 w 1583531"/>
                <a:gd name="connsiteY53" fmla="*/ 342900 h 1038225"/>
                <a:gd name="connsiteX54" fmla="*/ 1276350 w 1583531"/>
                <a:gd name="connsiteY54" fmla="*/ 383382 h 1038225"/>
                <a:gd name="connsiteX55" fmla="*/ 1252538 w 1583531"/>
                <a:gd name="connsiteY55" fmla="*/ 383382 h 1038225"/>
                <a:gd name="connsiteX56" fmla="*/ 1219200 w 1583531"/>
                <a:gd name="connsiteY56" fmla="*/ 340519 h 1038225"/>
                <a:gd name="connsiteX57" fmla="*/ 1171575 w 1583531"/>
                <a:gd name="connsiteY57" fmla="*/ 340519 h 1038225"/>
                <a:gd name="connsiteX58" fmla="*/ 1135856 w 1583531"/>
                <a:gd name="connsiteY58" fmla="*/ 311944 h 1038225"/>
                <a:gd name="connsiteX59" fmla="*/ 1095375 w 1583531"/>
                <a:gd name="connsiteY59" fmla="*/ 319088 h 1038225"/>
                <a:gd name="connsiteX60" fmla="*/ 992981 w 1583531"/>
                <a:gd name="connsiteY60" fmla="*/ 309563 h 1038225"/>
                <a:gd name="connsiteX61" fmla="*/ 940594 w 1583531"/>
                <a:gd name="connsiteY61" fmla="*/ 326232 h 1038225"/>
                <a:gd name="connsiteX62" fmla="*/ 919163 w 1583531"/>
                <a:gd name="connsiteY62" fmla="*/ 304800 h 1038225"/>
                <a:gd name="connsiteX63" fmla="*/ 904875 w 1583531"/>
                <a:gd name="connsiteY63" fmla="*/ 302419 h 1038225"/>
                <a:gd name="connsiteX64" fmla="*/ 900113 w 1583531"/>
                <a:gd name="connsiteY64" fmla="*/ 269082 h 1038225"/>
                <a:gd name="connsiteX65" fmla="*/ 895350 w 1583531"/>
                <a:gd name="connsiteY65" fmla="*/ 261938 h 1038225"/>
                <a:gd name="connsiteX66" fmla="*/ 845344 w 1583531"/>
                <a:gd name="connsiteY66" fmla="*/ 297657 h 1038225"/>
                <a:gd name="connsiteX67" fmla="*/ 833438 w 1583531"/>
                <a:gd name="connsiteY67" fmla="*/ 345282 h 1038225"/>
                <a:gd name="connsiteX68" fmla="*/ 850106 w 1583531"/>
                <a:gd name="connsiteY68" fmla="*/ 369094 h 1038225"/>
                <a:gd name="connsiteX69" fmla="*/ 850106 w 1583531"/>
                <a:gd name="connsiteY69" fmla="*/ 438150 h 1038225"/>
                <a:gd name="connsiteX70" fmla="*/ 876300 w 1583531"/>
                <a:gd name="connsiteY70" fmla="*/ 450057 h 1038225"/>
                <a:gd name="connsiteX71" fmla="*/ 881063 w 1583531"/>
                <a:gd name="connsiteY71" fmla="*/ 469107 h 1038225"/>
                <a:gd name="connsiteX72" fmla="*/ 864394 w 1583531"/>
                <a:gd name="connsiteY72" fmla="*/ 495300 h 1038225"/>
                <a:gd name="connsiteX73" fmla="*/ 842963 w 1583531"/>
                <a:gd name="connsiteY73" fmla="*/ 495300 h 1038225"/>
                <a:gd name="connsiteX74" fmla="*/ 821531 w 1583531"/>
                <a:gd name="connsiteY74" fmla="*/ 447675 h 1038225"/>
                <a:gd name="connsiteX75" fmla="*/ 778669 w 1583531"/>
                <a:gd name="connsiteY75" fmla="*/ 433388 h 1038225"/>
                <a:gd name="connsiteX76" fmla="*/ 771525 w 1583531"/>
                <a:gd name="connsiteY76" fmla="*/ 414338 h 1038225"/>
                <a:gd name="connsiteX77" fmla="*/ 807244 w 1583531"/>
                <a:gd name="connsiteY77" fmla="*/ 340519 h 1038225"/>
                <a:gd name="connsiteX78" fmla="*/ 826294 w 1583531"/>
                <a:gd name="connsiteY78" fmla="*/ 269082 h 1038225"/>
                <a:gd name="connsiteX79" fmla="*/ 842963 w 1583531"/>
                <a:gd name="connsiteY79" fmla="*/ 259557 h 1038225"/>
                <a:gd name="connsiteX80" fmla="*/ 883444 w 1583531"/>
                <a:gd name="connsiteY80" fmla="*/ 192882 h 1038225"/>
                <a:gd name="connsiteX81" fmla="*/ 931069 w 1583531"/>
                <a:gd name="connsiteY81" fmla="*/ 171450 h 1038225"/>
                <a:gd name="connsiteX82" fmla="*/ 935831 w 1583531"/>
                <a:gd name="connsiteY82" fmla="*/ 140494 h 1038225"/>
                <a:gd name="connsiteX83" fmla="*/ 950119 w 1583531"/>
                <a:gd name="connsiteY83" fmla="*/ 123825 h 1038225"/>
                <a:gd name="connsiteX84" fmla="*/ 945356 w 1583531"/>
                <a:gd name="connsiteY84" fmla="*/ 83344 h 1038225"/>
                <a:gd name="connsiteX85" fmla="*/ 890588 w 1583531"/>
                <a:gd name="connsiteY85" fmla="*/ 69057 h 1038225"/>
                <a:gd name="connsiteX86" fmla="*/ 864394 w 1583531"/>
                <a:gd name="connsiteY86" fmla="*/ 38100 h 1038225"/>
                <a:gd name="connsiteX87" fmla="*/ 792956 w 1583531"/>
                <a:gd name="connsiteY87" fmla="*/ 33338 h 1038225"/>
                <a:gd name="connsiteX88" fmla="*/ 759619 w 1583531"/>
                <a:gd name="connsiteY88" fmla="*/ 0 h 1038225"/>
                <a:gd name="connsiteX89" fmla="*/ 757238 w 1583531"/>
                <a:gd name="connsiteY89" fmla="*/ 30957 h 1038225"/>
                <a:gd name="connsiteX90" fmla="*/ 745331 w 1583531"/>
                <a:gd name="connsiteY90" fmla="*/ 52388 h 1038225"/>
                <a:gd name="connsiteX91" fmla="*/ 635794 w 1583531"/>
                <a:gd name="connsiteY91" fmla="*/ 114300 h 1038225"/>
                <a:gd name="connsiteX92" fmla="*/ 642938 w 1583531"/>
                <a:gd name="connsiteY92" fmla="*/ 135732 h 1038225"/>
                <a:gd name="connsiteX93" fmla="*/ 561975 w 1583531"/>
                <a:gd name="connsiteY93" fmla="*/ 138113 h 1038225"/>
                <a:gd name="connsiteX94" fmla="*/ 495300 w 1583531"/>
                <a:gd name="connsiteY94" fmla="*/ 185738 h 1038225"/>
                <a:gd name="connsiteX95" fmla="*/ 483394 w 1583531"/>
                <a:gd name="connsiteY95" fmla="*/ 202407 h 1038225"/>
                <a:gd name="connsiteX96" fmla="*/ 485775 w 1583531"/>
                <a:gd name="connsiteY96" fmla="*/ 233363 h 1038225"/>
                <a:gd name="connsiteX97" fmla="*/ 552450 w 1583531"/>
                <a:gd name="connsiteY97" fmla="*/ 257175 h 1038225"/>
                <a:gd name="connsiteX98" fmla="*/ 571500 w 1583531"/>
                <a:gd name="connsiteY98" fmla="*/ 283369 h 1038225"/>
                <a:gd name="connsiteX99" fmla="*/ 597694 w 1583531"/>
                <a:gd name="connsiteY99" fmla="*/ 307182 h 1038225"/>
                <a:gd name="connsiteX100" fmla="*/ 597694 w 1583531"/>
                <a:gd name="connsiteY100" fmla="*/ 321469 h 1038225"/>
                <a:gd name="connsiteX101" fmla="*/ 573881 w 1583531"/>
                <a:gd name="connsiteY101" fmla="*/ 321469 h 1038225"/>
                <a:gd name="connsiteX102" fmla="*/ 566738 w 1583531"/>
                <a:gd name="connsiteY102" fmla="*/ 330994 h 1038225"/>
                <a:gd name="connsiteX103" fmla="*/ 557213 w 1583531"/>
                <a:gd name="connsiteY103" fmla="*/ 400050 h 1038225"/>
                <a:gd name="connsiteX104" fmla="*/ 538163 w 1583531"/>
                <a:gd name="connsiteY104" fmla="*/ 426244 h 1038225"/>
                <a:gd name="connsiteX105" fmla="*/ 523875 w 1583531"/>
                <a:gd name="connsiteY105" fmla="*/ 490538 h 1038225"/>
                <a:gd name="connsiteX106" fmla="*/ 495300 w 1583531"/>
                <a:gd name="connsiteY106" fmla="*/ 500063 h 1038225"/>
                <a:gd name="connsiteX107" fmla="*/ 454819 w 1583531"/>
                <a:gd name="connsiteY107" fmla="*/ 481013 h 1038225"/>
                <a:gd name="connsiteX108" fmla="*/ 428625 w 1583531"/>
                <a:gd name="connsiteY108" fmla="*/ 471488 h 1038225"/>
                <a:gd name="connsiteX109" fmla="*/ 428625 w 1583531"/>
                <a:gd name="connsiteY109" fmla="*/ 471488 h 1038225"/>
                <a:gd name="connsiteX110" fmla="*/ 392906 w 1583531"/>
                <a:gd name="connsiteY110" fmla="*/ 478632 h 1038225"/>
                <a:gd name="connsiteX111" fmla="*/ 388144 w 1583531"/>
                <a:gd name="connsiteY111" fmla="*/ 502444 h 1038225"/>
                <a:gd name="connsiteX112" fmla="*/ 352425 w 1583531"/>
                <a:gd name="connsiteY112" fmla="*/ 507207 h 1038225"/>
                <a:gd name="connsiteX113" fmla="*/ 319088 w 1583531"/>
                <a:gd name="connsiteY113" fmla="*/ 466725 h 1038225"/>
                <a:gd name="connsiteX114" fmla="*/ 316706 w 1583531"/>
                <a:gd name="connsiteY114" fmla="*/ 442913 h 1038225"/>
                <a:gd name="connsiteX115" fmla="*/ 326231 w 1583531"/>
                <a:gd name="connsiteY115" fmla="*/ 407194 h 1038225"/>
                <a:gd name="connsiteX116" fmla="*/ 345281 w 1583531"/>
                <a:gd name="connsiteY116" fmla="*/ 383382 h 1038225"/>
                <a:gd name="connsiteX117" fmla="*/ 359569 w 1583531"/>
                <a:gd name="connsiteY117" fmla="*/ 369094 h 1038225"/>
                <a:gd name="connsiteX118" fmla="*/ 345281 w 1583531"/>
                <a:gd name="connsiteY118" fmla="*/ 357188 h 1038225"/>
                <a:gd name="connsiteX119" fmla="*/ 302419 w 1583531"/>
                <a:gd name="connsiteY119" fmla="*/ 366713 h 1038225"/>
                <a:gd name="connsiteX120" fmla="*/ 266700 w 1583531"/>
                <a:gd name="connsiteY120" fmla="*/ 352425 h 1038225"/>
                <a:gd name="connsiteX121" fmla="*/ 242888 w 1583531"/>
                <a:gd name="connsiteY121" fmla="*/ 342900 h 1038225"/>
                <a:gd name="connsiteX122" fmla="*/ 211931 w 1583531"/>
                <a:gd name="connsiteY122" fmla="*/ 328613 h 1038225"/>
                <a:gd name="connsiteX123" fmla="*/ 154781 w 1583531"/>
                <a:gd name="connsiteY123" fmla="*/ 392907 h 1038225"/>
                <a:gd name="connsiteX124" fmla="*/ 157163 w 1583531"/>
                <a:gd name="connsiteY124" fmla="*/ 435769 h 1038225"/>
                <a:gd name="connsiteX125" fmla="*/ 190500 w 1583531"/>
                <a:gd name="connsiteY125" fmla="*/ 466725 h 1038225"/>
                <a:gd name="connsiteX126" fmla="*/ 169069 w 1583531"/>
                <a:gd name="connsiteY126" fmla="*/ 578644 h 1038225"/>
                <a:gd name="connsiteX127" fmla="*/ 138113 w 1583531"/>
                <a:gd name="connsiteY127" fmla="*/ 604838 h 1038225"/>
                <a:gd name="connsiteX128" fmla="*/ 130969 w 1583531"/>
                <a:gd name="connsiteY128" fmla="*/ 650082 h 1038225"/>
                <a:gd name="connsiteX129" fmla="*/ 85725 w 1583531"/>
                <a:gd name="connsiteY129" fmla="*/ 661988 h 1038225"/>
                <a:gd name="connsiteX130" fmla="*/ 80963 w 1583531"/>
                <a:gd name="connsiteY130" fmla="*/ 688182 h 1038225"/>
                <a:gd name="connsiteX131" fmla="*/ 11906 w 1583531"/>
                <a:gd name="connsiteY131" fmla="*/ 721519 h 1038225"/>
                <a:gd name="connsiteX132" fmla="*/ 0 w 1583531"/>
                <a:gd name="connsiteY132" fmla="*/ 738188 h 1038225"/>
                <a:gd name="connsiteX133" fmla="*/ 16669 w 1583531"/>
                <a:gd name="connsiteY133" fmla="*/ 771525 h 1038225"/>
                <a:gd name="connsiteX134" fmla="*/ 33338 w 1583531"/>
                <a:gd name="connsiteY134" fmla="*/ 840582 h 1038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583531" h="1038225">
                  <a:moveTo>
                    <a:pt x="33338" y="840582"/>
                  </a:moveTo>
                  <a:lnTo>
                    <a:pt x="116681" y="862013"/>
                  </a:lnTo>
                  <a:lnTo>
                    <a:pt x="126206" y="878682"/>
                  </a:lnTo>
                  <a:cubicBezTo>
                    <a:pt x="125412" y="897732"/>
                    <a:pt x="124619" y="916782"/>
                    <a:pt x="123825" y="935832"/>
                  </a:cubicBezTo>
                  <a:lnTo>
                    <a:pt x="130969" y="942975"/>
                  </a:lnTo>
                  <a:lnTo>
                    <a:pt x="188119" y="964407"/>
                  </a:lnTo>
                  <a:lnTo>
                    <a:pt x="204788" y="997744"/>
                  </a:lnTo>
                  <a:lnTo>
                    <a:pt x="228600" y="1002507"/>
                  </a:lnTo>
                  <a:lnTo>
                    <a:pt x="250031" y="990600"/>
                  </a:lnTo>
                  <a:lnTo>
                    <a:pt x="278606" y="973932"/>
                  </a:lnTo>
                  <a:lnTo>
                    <a:pt x="300038" y="981075"/>
                  </a:lnTo>
                  <a:lnTo>
                    <a:pt x="316706" y="1004888"/>
                  </a:lnTo>
                  <a:lnTo>
                    <a:pt x="326231" y="1023938"/>
                  </a:lnTo>
                  <a:lnTo>
                    <a:pt x="347663" y="1035844"/>
                  </a:lnTo>
                  <a:lnTo>
                    <a:pt x="402431" y="1038225"/>
                  </a:lnTo>
                  <a:lnTo>
                    <a:pt x="407194" y="1014413"/>
                  </a:lnTo>
                  <a:lnTo>
                    <a:pt x="411956" y="985838"/>
                  </a:lnTo>
                  <a:lnTo>
                    <a:pt x="428625" y="959644"/>
                  </a:lnTo>
                  <a:lnTo>
                    <a:pt x="535781" y="912019"/>
                  </a:lnTo>
                  <a:lnTo>
                    <a:pt x="557213" y="931069"/>
                  </a:lnTo>
                  <a:lnTo>
                    <a:pt x="566738" y="1004888"/>
                  </a:lnTo>
                  <a:lnTo>
                    <a:pt x="631031" y="1019175"/>
                  </a:lnTo>
                  <a:lnTo>
                    <a:pt x="669131" y="1019175"/>
                  </a:lnTo>
                  <a:lnTo>
                    <a:pt x="700088" y="995363"/>
                  </a:lnTo>
                  <a:lnTo>
                    <a:pt x="750094" y="978694"/>
                  </a:lnTo>
                  <a:lnTo>
                    <a:pt x="771525" y="985838"/>
                  </a:lnTo>
                  <a:lnTo>
                    <a:pt x="812006" y="1028700"/>
                  </a:lnTo>
                  <a:lnTo>
                    <a:pt x="826294" y="1028700"/>
                  </a:lnTo>
                  <a:lnTo>
                    <a:pt x="850106" y="992982"/>
                  </a:lnTo>
                  <a:lnTo>
                    <a:pt x="871538" y="966788"/>
                  </a:lnTo>
                  <a:lnTo>
                    <a:pt x="902494" y="959644"/>
                  </a:lnTo>
                  <a:lnTo>
                    <a:pt x="928688" y="964407"/>
                  </a:lnTo>
                  <a:lnTo>
                    <a:pt x="981075" y="995363"/>
                  </a:lnTo>
                  <a:lnTo>
                    <a:pt x="1047750" y="995363"/>
                  </a:lnTo>
                  <a:lnTo>
                    <a:pt x="1100138" y="1012032"/>
                  </a:lnTo>
                  <a:lnTo>
                    <a:pt x="1202531" y="862013"/>
                  </a:lnTo>
                  <a:lnTo>
                    <a:pt x="1243013" y="876300"/>
                  </a:lnTo>
                  <a:lnTo>
                    <a:pt x="1331119" y="752475"/>
                  </a:lnTo>
                  <a:lnTo>
                    <a:pt x="1269206" y="695325"/>
                  </a:lnTo>
                  <a:lnTo>
                    <a:pt x="1269206" y="685800"/>
                  </a:lnTo>
                  <a:lnTo>
                    <a:pt x="1364456" y="683419"/>
                  </a:lnTo>
                  <a:lnTo>
                    <a:pt x="1407319" y="700088"/>
                  </a:lnTo>
                  <a:lnTo>
                    <a:pt x="1431131" y="657225"/>
                  </a:lnTo>
                  <a:lnTo>
                    <a:pt x="1531144" y="623888"/>
                  </a:lnTo>
                  <a:lnTo>
                    <a:pt x="1578769" y="588169"/>
                  </a:lnTo>
                  <a:lnTo>
                    <a:pt x="1583531" y="564357"/>
                  </a:lnTo>
                  <a:lnTo>
                    <a:pt x="1564481" y="557213"/>
                  </a:lnTo>
                  <a:lnTo>
                    <a:pt x="1547813" y="466725"/>
                  </a:lnTo>
                  <a:lnTo>
                    <a:pt x="1519238" y="433388"/>
                  </a:lnTo>
                  <a:lnTo>
                    <a:pt x="1443038" y="426244"/>
                  </a:lnTo>
                  <a:lnTo>
                    <a:pt x="1431131" y="404813"/>
                  </a:lnTo>
                  <a:lnTo>
                    <a:pt x="1412081" y="388144"/>
                  </a:lnTo>
                  <a:lnTo>
                    <a:pt x="1373981" y="385763"/>
                  </a:lnTo>
                  <a:lnTo>
                    <a:pt x="1323975" y="342900"/>
                  </a:lnTo>
                  <a:lnTo>
                    <a:pt x="1276350" y="383382"/>
                  </a:lnTo>
                  <a:lnTo>
                    <a:pt x="1252538" y="383382"/>
                  </a:lnTo>
                  <a:lnTo>
                    <a:pt x="1219200" y="340519"/>
                  </a:lnTo>
                  <a:lnTo>
                    <a:pt x="1171575" y="340519"/>
                  </a:lnTo>
                  <a:lnTo>
                    <a:pt x="1135856" y="311944"/>
                  </a:lnTo>
                  <a:lnTo>
                    <a:pt x="1095375" y="319088"/>
                  </a:lnTo>
                  <a:lnTo>
                    <a:pt x="992981" y="309563"/>
                  </a:lnTo>
                  <a:lnTo>
                    <a:pt x="940594" y="326232"/>
                  </a:lnTo>
                  <a:lnTo>
                    <a:pt x="919163" y="304800"/>
                  </a:lnTo>
                  <a:lnTo>
                    <a:pt x="904875" y="302419"/>
                  </a:lnTo>
                  <a:lnTo>
                    <a:pt x="900113" y="269082"/>
                  </a:lnTo>
                  <a:lnTo>
                    <a:pt x="895350" y="261938"/>
                  </a:lnTo>
                  <a:lnTo>
                    <a:pt x="845344" y="297657"/>
                  </a:lnTo>
                  <a:lnTo>
                    <a:pt x="833438" y="345282"/>
                  </a:lnTo>
                  <a:lnTo>
                    <a:pt x="850106" y="369094"/>
                  </a:lnTo>
                  <a:lnTo>
                    <a:pt x="850106" y="438150"/>
                  </a:lnTo>
                  <a:lnTo>
                    <a:pt x="876300" y="450057"/>
                  </a:lnTo>
                  <a:lnTo>
                    <a:pt x="881063" y="469107"/>
                  </a:lnTo>
                  <a:lnTo>
                    <a:pt x="864394" y="495300"/>
                  </a:lnTo>
                  <a:lnTo>
                    <a:pt x="842963" y="495300"/>
                  </a:lnTo>
                  <a:lnTo>
                    <a:pt x="821531" y="447675"/>
                  </a:lnTo>
                  <a:lnTo>
                    <a:pt x="778669" y="433388"/>
                  </a:lnTo>
                  <a:lnTo>
                    <a:pt x="771525" y="414338"/>
                  </a:lnTo>
                  <a:lnTo>
                    <a:pt x="807244" y="340519"/>
                  </a:lnTo>
                  <a:lnTo>
                    <a:pt x="826294" y="269082"/>
                  </a:lnTo>
                  <a:lnTo>
                    <a:pt x="842963" y="259557"/>
                  </a:lnTo>
                  <a:lnTo>
                    <a:pt x="883444" y="192882"/>
                  </a:lnTo>
                  <a:lnTo>
                    <a:pt x="931069" y="171450"/>
                  </a:lnTo>
                  <a:lnTo>
                    <a:pt x="935831" y="140494"/>
                  </a:lnTo>
                  <a:lnTo>
                    <a:pt x="950119" y="123825"/>
                  </a:lnTo>
                  <a:lnTo>
                    <a:pt x="945356" y="83344"/>
                  </a:lnTo>
                  <a:lnTo>
                    <a:pt x="890588" y="69057"/>
                  </a:lnTo>
                  <a:lnTo>
                    <a:pt x="864394" y="38100"/>
                  </a:lnTo>
                  <a:lnTo>
                    <a:pt x="792956" y="33338"/>
                  </a:lnTo>
                  <a:lnTo>
                    <a:pt x="759619" y="0"/>
                  </a:lnTo>
                  <a:lnTo>
                    <a:pt x="757238" y="30957"/>
                  </a:lnTo>
                  <a:lnTo>
                    <a:pt x="745331" y="52388"/>
                  </a:lnTo>
                  <a:lnTo>
                    <a:pt x="635794" y="114300"/>
                  </a:lnTo>
                  <a:lnTo>
                    <a:pt x="642938" y="135732"/>
                  </a:lnTo>
                  <a:lnTo>
                    <a:pt x="561975" y="138113"/>
                  </a:lnTo>
                  <a:lnTo>
                    <a:pt x="495300" y="185738"/>
                  </a:lnTo>
                  <a:lnTo>
                    <a:pt x="483394" y="202407"/>
                  </a:lnTo>
                  <a:lnTo>
                    <a:pt x="485775" y="233363"/>
                  </a:lnTo>
                  <a:lnTo>
                    <a:pt x="552450" y="257175"/>
                  </a:lnTo>
                  <a:lnTo>
                    <a:pt x="571500" y="283369"/>
                  </a:lnTo>
                  <a:lnTo>
                    <a:pt x="597694" y="307182"/>
                  </a:lnTo>
                  <a:lnTo>
                    <a:pt x="597694" y="321469"/>
                  </a:lnTo>
                  <a:lnTo>
                    <a:pt x="573881" y="321469"/>
                  </a:lnTo>
                  <a:lnTo>
                    <a:pt x="566738" y="330994"/>
                  </a:lnTo>
                  <a:lnTo>
                    <a:pt x="557213" y="400050"/>
                  </a:lnTo>
                  <a:lnTo>
                    <a:pt x="538163" y="426244"/>
                  </a:lnTo>
                  <a:lnTo>
                    <a:pt x="523875" y="490538"/>
                  </a:lnTo>
                  <a:lnTo>
                    <a:pt x="495300" y="500063"/>
                  </a:lnTo>
                  <a:lnTo>
                    <a:pt x="454819" y="481013"/>
                  </a:lnTo>
                  <a:lnTo>
                    <a:pt x="428625" y="471488"/>
                  </a:lnTo>
                  <a:lnTo>
                    <a:pt x="428625" y="471488"/>
                  </a:lnTo>
                  <a:lnTo>
                    <a:pt x="392906" y="478632"/>
                  </a:lnTo>
                  <a:lnTo>
                    <a:pt x="388144" y="502444"/>
                  </a:lnTo>
                  <a:lnTo>
                    <a:pt x="352425" y="507207"/>
                  </a:lnTo>
                  <a:lnTo>
                    <a:pt x="319088" y="466725"/>
                  </a:lnTo>
                  <a:lnTo>
                    <a:pt x="316706" y="442913"/>
                  </a:lnTo>
                  <a:lnTo>
                    <a:pt x="326231" y="407194"/>
                  </a:lnTo>
                  <a:lnTo>
                    <a:pt x="345281" y="383382"/>
                  </a:lnTo>
                  <a:lnTo>
                    <a:pt x="359569" y="369094"/>
                  </a:lnTo>
                  <a:lnTo>
                    <a:pt x="345281" y="357188"/>
                  </a:lnTo>
                  <a:lnTo>
                    <a:pt x="302419" y="366713"/>
                  </a:lnTo>
                  <a:lnTo>
                    <a:pt x="266700" y="352425"/>
                  </a:lnTo>
                  <a:lnTo>
                    <a:pt x="242888" y="342900"/>
                  </a:lnTo>
                  <a:lnTo>
                    <a:pt x="211931" y="328613"/>
                  </a:lnTo>
                  <a:lnTo>
                    <a:pt x="154781" y="392907"/>
                  </a:lnTo>
                  <a:lnTo>
                    <a:pt x="157163" y="435769"/>
                  </a:lnTo>
                  <a:lnTo>
                    <a:pt x="190500" y="466725"/>
                  </a:lnTo>
                  <a:lnTo>
                    <a:pt x="169069" y="578644"/>
                  </a:lnTo>
                  <a:lnTo>
                    <a:pt x="138113" y="604838"/>
                  </a:lnTo>
                  <a:lnTo>
                    <a:pt x="130969" y="650082"/>
                  </a:lnTo>
                  <a:lnTo>
                    <a:pt x="85725" y="661988"/>
                  </a:lnTo>
                  <a:lnTo>
                    <a:pt x="80963" y="688182"/>
                  </a:lnTo>
                  <a:lnTo>
                    <a:pt x="11906" y="721519"/>
                  </a:lnTo>
                  <a:lnTo>
                    <a:pt x="0" y="738188"/>
                  </a:lnTo>
                  <a:lnTo>
                    <a:pt x="16669" y="771525"/>
                  </a:lnTo>
                  <a:lnTo>
                    <a:pt x="33338" y="840582"/>
                  </a:lnTo>
                  <a:close/>
                </a:path>
              </a:pathLst>
            </a:custGeom>
            <a:solidFill>
              <a:schemeClr val="bg1"/>
            </a:solidFill>
            <a:ln w="317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a:lstStyle/>
            <a:p>
              <a:pPr>
                <a:defRPr/>
              </a:pPr>
              <a:endParaRPr lang="en-GB"/>
            </a:p>
          </p:txBody>
        </p:sp>
        <p:sp>
          <p:nvSpPr>
            <p:cNvPr id="44" name="Freeform 43"/>
            <p:cNvSpPr/>
            <p:nvPr/>
          </p:nvSpPr>
          <p:spPr>
            <a:xfrm>
              <a:off x="5428060" y="2540546"/>
              <a:ext cx="766762" cy="592138"/>
            </a:xfrm>
            <a:custGeom>
              <a:avLst/>
              <a:gdLst>
                <a:gd name="connsiteX0" fmla="*/ 0 w 766763"/>
                <a:gd name="connsiteY0" fmla="*/ 559594 h 592932"/>
                <a:gd name="connsiteX1" fmla="*/ 97631 w 766763"/>
                <a:gd name="connsiteY1" fmla="*/ 564357 h 592932"/>
                <a:gd name="connsiteX2" fmla="*/ 111919 w 766763"/>
                <a:gd name="connsiteY2" fmla="*/ 573882 h 592932"/>
                <a:gd name="connsiteX3" fmla="*/ 123825 w 766763"/>
                <a:gd name="connsiteY3" fmla="*/ 571500 h 592932"/>
                <a:gd name="connsiteX4" fmla="*/ 154781 w 766763"/>
                <a:gd name="connsiteY4" fmla="*/ 592932 h 592932"/>
                <a:gd name="connsiteX5" fmla="*/ 192881 w 766763"/>
                <a:gd name="connsiteY5" fmla="*/ 566738 h 592932"/>
                <a:gd name="connsiteX6" fmla="*/ 192881 w 766763"/>
                <a:gd name="connsiteY6" fmla="*/ 566738 h 592932"/>
                <a:gd name="connsiteX7" fmla="*/ 269081 w 766763"/>
                <a:gd name="connsiteY7" fmla="*/ 588169 h 592932"/>
                <a:gd name="connsiteX8" fmla="*/ 290513 w 766763"/>
                <a:gd name="connsiteY8" fmla="*/ 550069 h 592932"/>
                <a:gd name="connsiteX9" fmla="*/ 350044 w 766763"/>
                <a:gd name="connsiteY9" fmla="*/ 550069 h 592932"/>
                <a:gd name="connsiteX10" fmla="*/ 385763 w 766763"/>
                <a:gd name="connsiteY10" fmla="*/ 523875 h 592932"/>
                <a:gd name="connsiteX11" fmla="*/ 414338 w 766763"/>
                <a:gd name="connsiteY11" fmla="*/ 521494 h 592932"/>
                <a:gd name="connsiteX12" fmla="*/ 464344 w 766763"/>
                <a:gd name="connsiteY12" fmla="*/ 540544 h 592932"/>
                <a:gd name="connsiteX13" fmla="*/ 497681 w 766763"/>
                <a:gd name="connsiteY13" fmla="*/ 561975 h 592932"/>
                <a:gd name="connsiteX14" fmla="*/ 550069 w 766763"/>
                <a:gd name="connsiteY14" fmla="*/ 528638 h 592932"/>
                <a:gd name="connsiteX15" fmla="*/ 590550 w 766763"/>
                <a:gd name="connsiteY15" fmla="*/ 533400 h 592932"/>
                <a:gd name="connsiteX16" fmla="*/ 604838 w 766763"/>
                <a:gd name="connsiteY16" fmla="*/ 464344 h 592932"/>
                <a:gd name="connsiteX17" fmla="*/ 602456 w 766763"/>
                <a:gd name="connsiteY17" fmla="*/ 445294 h 592932"/>
                <a:gd name="connsiteX18" fmla="*/ 688181 w 766763"/>
                <a:gd name="connsiteY18" fmla="*/ 395288 h 592932"/>
                <a:gd name="connsiteX19" fmla="*/ 702469 w 766763"/>
                <a:gd name="connsiteY19" fmla="*/ 381000 h 592932"/>
                <a:gd name="connsiteX20" fmla="*/ 762000 w 766763"/>
                <a:gd name="connsiteY20" fmla="*/ 361950 h 592932"/>
                <a:gd name="connsiteX21" fmla="*/ 762000 w 766763"/>
                <a:gd name="connsiteY21" fmla="*/ 316707 h 592932"/>
                <a:gd name="connsiteX22" fmla="*/ 733425 w 766763"/>
                <a:gd name="connsiteY22" fmla="*/ 307182 h 592932"/>
                <a:gd name="connsiteX23" fmla="*/ 719138 w 766763"/>
                <a:gd name="connsiteY23" fmla="*/ 283369 h 592932"/>
                <a:gd name="connsiteX24" fmla="*/ 726281 w 766763"/>
                <a:gd name="connsiteY24" fmla="*/ 254794 h 592932"/>
                <a:gd name="connsiteX25" fmla="*/ 762000 w 766763"/>
                <a:gd name="connsiteY25" fmla="*/ 245269 h 592932"/>
                <a:gd name="connsiteX26" fmla="*/ 766763 w 766763"/>
                <a:gd name="connsiteY26" fmla="*/ 223838 h 592932"/>
                <a:gd name="connsiteX27" fmla="*/ 754856 w 766763"/>
                <a:gd name="connsiteY27" fmla="*/ 214313 h 592932"/>
                <a:gd name="connsiteX28" fmla="*/ 754856 w 766763"/>
                <a:gd name="connsiteY28" fmla="*/ 183357 h 592932"/>
                <a:gd name="connsiteX29" fmla="*/ 650081 w 766763"/>
                <a:gd name="connsiteY29" fmla="*/ 214313 h 592932"/>
                <a:gd name="connsiteX30" fmla="*/ 631031 w 766763"/>
                <a:gd name="connsiteY30" fmla="*/ 214313 h 592932"/>
                <a:gd name="connsiteX31" fmla="*/ 592931 w 766763"/>
                <a:gd name="connsiteY31" fmla="*/ 180975 h 592932"/>
                <a:gd name="connsiteX32" fmla="*/ 561975 w 766763"/>
                <a:gd name="connsiteY32" fmla="*/ 188119 h 592932"/>
                <a:gd name="connsiteX33" fmla="*/ 540544 w 766763"/>
                <a:gd name="connsiteY33" fmla="*/ 202407 h 592932"/>
                <a:gd name="connsiteX34" fmla="*/ 509588 w 766763"/>
                <a:gd name="connsiteY34" fmla="*/ 195263 h 592932"/>
                <a:gd name="connsiteX35" fmla="*/ 473869 w 766763"/>
                <a:gd name="connsiteY35" fmla="*/ 190500 h 592932"/>
                <a:gd name="connsiteX36" fmla="*/ 414338 w 766763"/>
                <a:gd name="connsiteY36" fmla="*/ 185738 h 592932"/>
                <a:gd name="connsiteX37" fmla="*/ 392906 w 766763"/>
                <a:gd name="connsiteY37" fmla="*/ 154782 h 592932"/>
                <a:gd name="connsiteX38" fmla="*/ 371475 w 766763"/>
                <a:gd name="connsiteY38" fmla="*/ 126207 h 592932"/>
                <a:gd name="connsiteX39" fmla="*/ 342900 w 766763"/>
                <a:gd name="connsiteY39" fmla="*/ 126207 h 592932"/>
                <a:gd name="connsiteX40" fmla="*/ 311944 w 766763"/>
                <a:gd name="connsiteY40" fmla="*/ 142875 h 592932"/>
                <a:gd name="connsiteX41" fmla="*/ 283369 w 766763"/>
                <a:gd name="connsiteY41" fmla="*/ 135732 h 592932"/>
                <a:gd name="connsiteX42" fmla="*/ 259556 w 766763"/>
                <a:gd name="connsiteY42" fmla="*/ 97632 h 592932"/>
                <a:gd name="connsiteX43" fmla="*/ 233363 w 766763"/>
                <a:gd name="connsiteY43" fmla="*/ 76200 h 592932"/>
                <a:gd name="connsiteX44" fmla="*/ 221456 w 766763"/>
                <a:gd name="connsiteY44" fmla="*/ 73819 h 592932"/>
                <a:gd name="connsiteX45" fmla="*/ 180975 w 766763"/>
                <a:gd name="connsiteY45" fmla="*/ 21432 h 592932"/>
                <a:gd name="connsiteX46" fmla="*/ 159544 w 766763"/>
                <a:gd name="connsiteY46" fmla="*/ 0 h 592932"/>
                <a:gd name="connsiteX47" fmla="*/ 107156 w 766763"/>
                <a:gd name="connsiteY47" fmla="*/ 2382 h 592932"/>
                <a:gd name="connsiteX48" fmla="*/ 83344 w 766763"/>
                <a:gd name="connsiteY48" fmla="*/ 42863 h 592932"/>
                <a:gd name="connsiteX49" fmla="*/ 85725 w 766763"/>
                <a:gd name="connsiteY49" fmla="*/ 69057 h 592932"/>
                <a:gd name="connsiteX50" fmla="*/ 104775 w 766763"/>
                <a:gd name="connsiteY50" fmla="*/ 90488 h 592932"/>
                <a:gd name="connsiteX51" fmla="*/ 116681 w 766763"/>
                <a:gd name="connsiteY51" fmla="*/ 102394 h 592932"/>
                <a:gd name="connsiteX52" fmla="*/ 145256 w 766763"/>
                <a:gd name="connsiteY52" fmla="*/ 109538 h 592932"/>
                <a:gd name="connsiteX53" fmla="*/ 161925 w 766763"/>
                <a:gd name="connsiteY53" fmla="*/ 121444 h 592932"/>
                <a:gd name="connsiteX54" fmla="*/ 159544 w 766763"/>
                <a:gd name="connsiteY54" fmla="*/ 138113 h 592932"/>
                <a:gd name="connsiteX55" fmla="*/ 104775 w 766763"/>
                <a:gd name="connsiteY55" fmla="*/ 200025 h 592932"/>
                <a:gd name="connsiteX56" fmla="*/ 107156 w 766763"/>
                <a:gd name="connsiteY56" fmla="*/ 245269 h 592932"/>
                <a:gd name="connsiteX57" fmla="*/ 140494 w 766763"/>
                <a:gd name="connsiteY57" fmla="*/ 300038 h 592932"/>
                <a:gd name="connsiteX58" fmla="*/ 166688 w 766763"/>
                <a:gd name="connsiteY58" fmla="*/ 338138 h 592932"/>
                <a:gd name="connsiteX59" fmla="*/ 133350 w 766763"/>
                <a:gd name="connsiteY59" fmla="*/ 381000 h 592932"/>
                <a:gd name="connsiteX60" fmla="*/ 80963 w 766763"/>
                <a:gd name="connsiteY60" fmla="*/ 359569 h 592932"/>
                <a:gd name="connsiteX61" fmla="*/ 50006 w 766763"/>
                <a:gd name="connsiteY61" fmla="*/ 404813 h 592932"/>
                <a:gd name="connsiteX62" fmla="*/ 19050 w 766763"/>
                <a:gd name="connsiteY62" fmla="*/ 421482 h 592932"/>
                <a:gd name="connsiteX63" fmla="*/ 4763 w 766763"/>
                <a:gd name="connsiteY63" fmla="*/ 457200 h 592932"/>
                <a:gd name="connsiteX64" fmla="*/ 0 w 766763"/>
                <a:gd name="connsiteY64" fmla="*/ 559594 h 592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766763" h="592932">
                  <a:moveTo>
                    <a:pt x="0" y="559594"/>
                  </a:moveTo>
                  <a:lnTo>
                    <a:pt x="97631" y="564357"/>
                  </a:lnTo>
                  <a:lnTo>
                    <a:pt x="111919" y="573882"/>
                  </a:lnTo>
                  <a:lnTo>
                    <a:pt x="123825" y="571500"/>
                  </a:lnTo>
                  <a:lnTo>
                    <a:pt x="154781" y="592932"/>
                  </a:lnTo>
                  <a:lnTo>
                    <a:pt x="192881" y="566738"/>
                  </a:lnTo>
                  <a:lnTo>
                    <a:pt x="192881" y="566738"/>
                  </a:lnTo>
                  <a:lnTo>
                    <a:pt x="269081" y="588169"/>
                  </a:lnTo>
                  <a:lnTo>
                    <a:pt x="290513" y="550069"/>
                  </a:lnTo>
                  <a:lnTo>
                    <a:pt x="350044" y="550069"/>
                  </a:lnTo>
                  <a:lnTo>
                    <a:pt x="385763" y="523875"/>
                  </a:lnTo>
                  <a:lnTo>
                    <a:pt x="414338" y="521494"/>
                  </a:lnTo>
                  <a:lnTo>
                    <a:pt x="464344" y="540544"/>
                  </a:lnTo>
                  <a:lnTo>
                    <a:pt x="497681" y="561975"/>
                  </a:lnTo>
                  <a:lnTo>
                    <a:pt x="550069" y="528638"/>
                  </a:lnTo>
                  <a:lnTo>
                    <a:pt x="590550" y="533400"/>
                  </a:lnTo>
                  <a:lnTo>
                    <a:pt x="604838" y="464344"/>
                  </a:lnTo>
                  <a:lnTo>
                    <a:pt x="602456" y="445294"/>
                  </a:lnTo>
                  <a:lnTo>
                    <a:pt x="688181" y="395288"/>
                  </a:lnTo>
                  <a:lnTo>
                    <a:pt x="702469" y="381000"/>
                  </a:lnTo>
                  <a:lnTo>
                    <a:pt x="762000" y="361950"/>
                  </a:lnTo>
                  <a:lnTo>
                    <a:pt x="762000" y="316707"/>
                  </a:lnTo>
                  <a:lnTo>
                    <a:pt x="733425" y="307182"/>
                  </a:lnTo>
                  <a:lnTo>
                    <a:pt x="719138" y="283369"/>
                  </a:lnTo>
                  <a:lnTo>
                    <a:pt x="726281" y="254794"/>
                  </a:lnTo>
                  <a:lnTo>
                    <a:pt x="762000" y="245269"/>
                  </a:lnTo>
                  <a:lnTo>
                    <a:pt x="766763" y="223838"/>
                  </a:lnTo>
                  <a:lnTo>
                    <a:pt x="754856" y="214313"/>
                  </a:lnTo>
                  <a:lnTo>
                    <a:pt x="754856" y="183357"/>
                  </a:lnTo>
                  <a:lnTo>
                    <a:pt x="650081" y="214313"/>
                  </a:lnTo>
                  <a:lnTo>
                    <a:pt x="631031" y="214313"/>
                  </a:lnTo>
                  <a:lnTo>
                    <a:pt x="592931" y="180975"/>
                  </a:lnTo>
                  <a:lnTo>
                    <a:pt x="561975" y="188119"/>
                  </a:lnTo>
                  <a:lnTo>
                    <a:pt x="540544" y="202407"/>
                  </a:lnTo>
                  <a:lnTo>
                    <a:pt x="509588" y="195263"/>
                  </a:lnTo>
                  <a:lnTo>
                    <a:pt x="473869" y="190500"/>
                  </a:lnTo>
                  <a:lnTo>
                    <a:pt x="414338" y="185738"/>
                  </a:lnTo>
                  <a:lnTo>
                    <a:pt x="392906" y="154782"/>
                  </a:lnTo>
                  <a:lnTo>
                    <a:pt x="371475" y="126207"/>
                  </a:lnTo>
                  <a:lnTo>
                    <a:pt x="342900" y="126207"/>
                  </a:lnTo>
                  <a:lnTo>
                    <a:pt x="311944" y="142875"/>
                  </a:lnTo>
                  <a:lnTo>
                    <a:pt x="283369" y="135732"/>
                  </a:lnTo>
                  <a:lnTo>
                    <a:pt x="259556" y="97632"/>
                  </a:lnTo>
                  <a:lnTo>
                    <a:pt x="233363" y="76200"/>
                  </a:lnTo>
                  <a:lnTo>
                    <a:pt x="221456" y="73819"/>
                  </a:lnTo>
                  <a:lnTo>
                    <a:pt x="180975" y="21432"/>
                  </a:lnTo>
                  <a:lnTo>
                    <a:pt x="159544" y="0"/>
                  </a:lnTo>
                  <a:lnTo>
                    <a:pt x="107156" y="2382"/>
                  </a:lnTo>
                  <a:lnTo>
                    <a:pt x="83344" y="42863"/>
                  </a:lnTo>
                  <a:lnTo>
                    <a:pt x="85725" y="69057"/>
                  </a:lnTo>
                  <a:lnTo>
                    <a:pt x="104775" y="90488"/>
                  </a:lnTo>
                  <a:lnTo>
                    <a:pt x="116681" y="102394"/>
                  </a:lnTo>
                  <a:lnTo>
                    <a:pt x="145256" y="109538"/>
                  </a:lnTo>
                  <a:lnTo>
                    <a:pt x="161925" y="121444"/>
                  </a:lnTo>
                  <a:lnTo>
                    <a:pt x="159544" y="138113"/>
                  </a:lnTo>
                  <a:lnTo>
                    <a:pt x="104775" y="200025"/>
                  </a:lnTo>
                  <a:lnTo>
                    <a:pt x="107156" y="245269"/>
                  </a:lnTo>
                  <a:lnTo>
                    <a:pt x="140494" y="300038"/>
                  </a:lnTo>
                  <a:lnTo>
                    <a:pt x="166688" y="338138"/>
                  </a:lnTo>
                  <a:lnTo>
                    <a:pt x="133350" y="381000"/>
                  </a:lnTo>
                  <a:lnTo>
                    <a:pt x="80963" y="359569"/>
                  </a:lnTo>
                  <a:lnTo>
                    <a:pt x="50006" y="404813"/>
                  </a:lnTo>
                  <a:lnTo>
                    <a:pt x="19050" y="421482"/>
                  </a:lnTo>
                  <a:lnTo>
                    <a:pt x="4763" y="457200"/>
                  </a:lnTo>
                  <a:lnTo>
                    <a:pt x="0" y="559594"/>
                  </a:lnTo>
                  <a:close/>
                </a:path>
              </a:pathLst>
            </a:custGeom>
            <a:solidFill>
              <a:schemeClr val="bg1"/>
            </a:solidFill>
            <a:ln w="317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a:lstStyle/>
            <a:p>
              <a:pPr>
                <a:defRPr/>
              </a:pPr>
              <a:endParaRPr lang="en-GB"/>
            </a:p>
          </p:txBody>
        </p:sp>
        <p:sp>
          <p:nvSpPr>
            <p:cNvPr id="45" name="Freeform 44"/>
            <p:cNvSpPr/>
            <p:nvPr/>
          </p:nvSpPr>
          <p:spPr>
            <a:xfrm>
              <a:off x="6212285" y="2437359"/>
              <a:ext cx="128587" cy="190500"/>
            </a:xfrm>
            <a:custGeom>
              <a:avLst/>
              <a:gdLst>
                <a:gd name="connsiteX0" fmla="*/ 2382 w 128588"/>
                <a:gd name="connsiteY0" fmla="*/ 11906 h 183356"/>
                <a:gd name="connsiteX1" fmla="*/ 16669 w 128588"/>
                <a:gd name="connsiteY1" fmla="*/ 71437 h 183356"/>
                <a:gd name="connsiteX2" fmla="*/ 16669 w 128588"/>
                <a:gd name="connsiteY2" fmla="*/ 95250 h 183356"/>
                <a:gd name="connsiteX3" fmla="*/ 4763 w 128588"/>
                <a:gd name="connsiteY3" fmla="*/ 114300 h 183356"/>
                <a:gd name="connsiteX4" fmla="*/ 0 w 128588"/>
                <a:gd name="connsiteY4" fmla="*/ 169068 h 183356"/>
                <a:gd name="connsiteX5" fmla="*/ 26194 w 128588"/>
                <a:gd name="connsiteY5" fmla="*/ 183356 h 183356"/>
                <a:gd name="connsiteX6" fmla="*/ 61913 w 128588"/>
                <a:gd name="connsiteY6" fmla="*/ 178593 h 183356"/>
                <a:gd name="connsiteX7" fmla="*/ 61913 w 128588"/>
                <a:gd name="connsiteY7" fmla="*/ 178593 h 183356"/>
                <a:gd name="connsiteX8" fmla="*/ 95250 w 128588"/>
                <a:gd name="connsiteY8" fmla="*/ 142875 h 183356"/>
                <a:gd name="connsiteX9" fmla="*/ 128588 w 128588"/>
                <a:gd name="connsiteY9" fmla="*/ 107156 h 183356"/>
                <a:gd name="connsiteX10" fmla="*/ 119063 w 128588"/>
                <a:gd name="connsiteY10" fmla="*/ 85725 h 183356"/>
                <a:gd name="connsiteX11" fmla="*/ 114300 w 128588"/>
                <a:gd name="connsiteY11" fmla="*/ 28575 h 183356"/>
                <a:gd name="connsiteX12" fmla="*/ 88107 w 128588"/>
                <a:gd name="connsiteY12" fmla="*/ 7143 h 183356"/>
                <a:gd name="connsiteX13" fmla="*/ 54769 w 128588"/>
                <a:gd name="connsiteY13" fmla="*/ 0 h 183356"/>
                <a:gd name="connsiteX14" fmla="*/ 2382 w 128588"/>
                <a:gd name="connsiteY14" fmla="*/ 11906 h 183356"/>
                <a:gd name="connsiteX0" fmla="*/ 2382 w 128588"/>
                <a:gd name="connsiteY0" fmla="*/ 11906 h 183356"/>
                <a:gd name="connsiteX1" fmla="*/ 16669 w 128588"/>
                <a:gd name="connsiteY1" fmla="*/ 71437 h 183356"/>
                <a:gd name="connsiteX2" fmla="*/ 16669 w 128588"/>
                <a:gd name="connsiteY2" fmla="*/ 95250 h 183356"/>
                <a:gd name="connsiteX3" fmla="*/ 4763 w 128588"/>
                <a:gd name="connsiteY3" fmla="*/ 114300 h 183356"/>
                <a:gd name="connsiteX4" fmla="*/ 0 w 128588"/>
                <a:gd name="connsiteY4" fmla="*/ 169068 h 183356"/>
                <a:gd name="connsiteX5" fmla="*/ 26194 w 128588"/>
                <a:gd name="connsiteY5" fmla="*/ 183356 h 183356"/>
                <a:gd name="connsiteX6" fmla="*/ 61913 w 128588"/>
                <a:gd name="connsiteY6" fmla="*/ 178593 h 183356"/>
                <a:gd name="connsiteX7" fmla="*/ 61913 w 128588"/>
                <a:gd name="connsiteY7" fmla="*/ 178593 h 183356"/>
                <a:gd name="connsiteX8" fmla="*/ 90488 w 128588"/>
                <a:gd name="connsiteY8" fmla="*/ 171450 h 183356"/>
                <a:gd name="connsiteX9" fmla="*/ 128588 w 128588"/>
                <a:gd name="connsiteY9" fmla="*/ 107156 h 183356"/>
                <a:gd name="connsiteX10" fmla="*/ 119063 w 128588"/>
                <a:gd name="connsiteY10" fmla="*/ 85725 h 183356"/>
                <a:gd name="connsiteX11" fmla="*/ 114300 w 128588"/>
                <a:gd name="connsiteY11" fmla="*/ 28575 h 183356"/>
                <a:gd name="connsiteX12" fmla="*/ 88107 w 128588"/>
                <a:gd name="connsiteY12" fmla="*/ 7143 h 183356"/>
                <a:gd name="connsiteX13" fmla="*/ 54769 w 128588"/>
                <a:gd name="connsiteY13" fmla="*/ 0 h 183356"/>
                <a:gd name="connsiteX14" fmla="*/ 2382 w 128588"/>
                <a:gd name="connsiteY14" fmla="*/ 11906 h 183356"/>
                <a:gd name="connsiteX0" fmla="*/ 2382 w 128588"/>
                <a:gd name="connsiteY0" fmla="*/ 11906 h 188118"/>
                <a:gd name="connsiteX1" fmla="*/ 16669 w 128588"/>
                <a:gd name="connsiteY1" fmla="*/ 71437 h 188118"/>
                <a:gd name="connsiteX2" fmla="*/ 16669 w 128588"/>
                <a:gd name="connsiteY2" fmla="*/ 95250 h 188118"/>
                <a:gd name="connsiteX3" fmla="*/ 4763 w 128588"/>
                <a:gd name="connsiteY3" fmla="*/ 114300 h 188118"/>
                <a:gd name="connsiteX4" fmla="*/ 0 w 128588"/>
                <a:gd name="connsiteY4" fmla="*/ 169068 h 188118"/>
                <a:gd name="connsiteX5" fmla="*/ 26194 w 128588"/>
                <a:gd name="connsiteY5" fmla="*/ 183356 h 188118"/>
                <a:gd name="connsiteX6" fmla="*/ 61913 w 128588"/>
                <a:gd name="connsiteY6" fmla="*/ 178593 h 188118"/>
                <a:gd name="connsiteX7" fmla="*/ 66675 w 128588"/>
                <a:gd name="connsiteY7" fmla="*/ 188118 h 188118"/>
                <a:gd name="connsiteX8" fmla="*/ 90488 w 128588"/>
                <a:gd name="connsiteY8" fmla="*/ 171450 h 188118"/>
                <a:gd name="connsiteX9" fmla="*/ 128588 w 128588"/>
                <a:gd name="connsiteY9" fmla="*/ 107156 h 188118"/>
                <a:gd name="connsiteX10" fmla="*/ 119063 w 128588"/>
                <a:gd name="connsiteY10" fmla="*/ 85725 h 188118"/>
                <a:gd name="connsiteX11" fmla="*/ 114300 w 128588"/>
                <a:gd name="connsiteY11" fmla="*/ 28575 h 188118"/>
                <a:gd name="connsiteX12" fmla="*/ 88107 w 128588"/>
                <a:gd name="connsiteY12" fmla="*/ 7143 h 188118"/>
                <a:gd name="connsiteX13" fmla="*/ 54769 w 128588"/>
                <a:gd name="connsiteY13" fmla="*/ 0 h 188118"/>
                <a:gd name="connsiteX14" fmla="*/ 2382 w 128588"/>
                <a:gd name="connsiteY14" fmla="*/ 11906 h 188118"/>
                <a:gd name="connsiteX0" fmla="*/ 2382 w 128588"/>
                <a:gd name="connsiteY0" fmla="*/ 11906 h 190940"/>
                <a:gd name="connsiteX1" fmla="*/ 16669 w 128588"/>
                <a:gd name="connsiteY1" fmla="*/ 71437 h 190940"/>
                <a:gd name="connsiteX2" fmla="*/ 16669 w 128588"/>
                <a:gd name="connsiteY2" fmla="*/ 95250 h 190940"/>
                <a:gd name="connsiteX3" fmla="*/ 4763 w 128588"/>
                <a:gd name="connsiteY3" fmla="*/ 114300 h 190940"/>
                <a:gd name="connsiteX4" fmla="*/ 0 w 128588"/>
                <a:gd name="connsiteY4" fmla="*/ 169068 h 190940"/>
                <a:gd name="connsiteX5" fmla="*/ 26194 w 128588"/>
                <a:gd name="connsiteY5" fmla="*/ 183356 h 190940"/>
                <a:gd name="connsiteX6" fmla="*/ 57151 w 128588"/>
                <a:gd name="connsiteY6" fmla="*/ 190499 h 190940"/>
                <a:gd name="connsiteX7" fmla="*/ 66675 w 128588"/>
                <a:gd name="connsiteY7" fmla="*/ 188118 h 190940"/>
                <a:gd name="connsiteX8" fmla="*/ 90488 w 128588"/>
                <a:gd name="connsiteY8" fmla="*/ 171450 h 190940"/>
                <a:gd name="connsiteX9" fmla="*/ 128588 w 128588"/>
                <a:gd name="connsiteY9" fmla="*/ 107156 h 190940"/>
                <a:gd name="connsiteX10" fmla="*/ 119063 w 128588"/>
                <a:gd name="connsiteY10" fmla="*/ 85725 h 190940"/>
                <a:gd name="connsiteX11" fmla="*/ 114300 w 128588"/>
                <a:gd name="connsiteY11" fmla="*/ 28575 h 190940"/>
                <a:gd name="connsiteX12" fmla="*/ 88107 w 128588"/>
                <a:gd name="connsiteY12" fmla="*/ 7143 h 190940"/>
                <a:gd name="connsiteX13" fmla="*/ 54769 w 128588"/>
                <a:gd name="connsiteY13" fmla="*/ 0 h 190940"/>
                <a:gd name="connsiteX14" fmla="*/ 2382 w 128588"/>
                <a:gd name="connsiteY14" fmla="*/ 11906 h 190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8588" h="190940">
                  <a:moveTo>
                    <a:pt x="2382" y="11906"/>
                  </a:moveTo>
                  <a:lnTo>
                    <a:pt x="16669" y="71437"/>
                  </a:lnTo>
                  <a:lnTo>
                    <a:pt x="16669" y="95250"/>
                  </a:lnTo>
                  <a:lnTo>
                    <a:pt x="4763" y="114300"/>
                  </a:lnTo>
                  <a:lnTo>
                    <a:pt x="0" y="169068"/>
                  </a:lnTo>
                  <a:lnTo>
                    <a:pt x="26194" y="183356"/>
                  </a:lnTo>
                  <a:cubicBezTo>
                    <a:pt x="38100" y="181768"/>
                    <a:pt x="50404" y="189705"/>
                    <a:pt x="57151" y="190499"/>
                  </a:cubicBezTo>
                  <a:cubicBezTo>
                    <a:pt x="63898" y="191293"/>
                    <a:pt x="61119" y="191293"/>
                    <a:pt x="66675" y="188118"/>
                  </a:cubicBezTo>
                  <a:cubicBezTo>
                    <a:pt x="72231" y="184943"/>
                    <a:pt x="80169" y="184944"/>
                    <a:pt x="90488" y="171450"/>
                  </a:cubicBezTo>
                  <a:cubicBezTo>
                    <a:pt x="100807" y="157956"/>
                    <a:pt x="115888" y="128587"/>
                    <a:pt x="128588" y="107156"/>
                  </a:cubicBezTo>
                  <a:lnTo>
                    <a:pt x="119063" y="85725"/>
                  </a:lnTo>
                  <a:lnTo>
                    <a:pt x="114300" y="28575"/>
                  </a:lnTo>
                  <a:lnTo>
                    <a:pt x="88107" y="7143"/>
                  </a:lnTo>
                  <a:lnTo>
                    <a:pt x="54769" y="0"/>
                  </a:lnTo>
                  <a:lnTo>
                    <a:pt x="2382" y="11906"/>
                  </a:lnTo>
                  <a:close/>
                </a:path>
              </a:pathLst>
            </a:custGeom>
            <a:solidFill>
              <a:schemeClr val="bg1"/>
            </a:solidFill>
            <a:ln w="317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a:lstStyle/>
            <a:p>
              <a:pPr>
                <a:defRPr/>
              </a:pPr>
              <a:endParaRPr lang="en-GB"/>
            </a:p>
          </p:txBody>
        </p:sp>
        <p:sp>
          <p:nvSpPr>
            <p:cNvPr id="47" name="Freeform 46"/>
            <p:cNvSpPr/>
            <p:nvPr/>
          </p:nvSpPr>
          <p:spPr>
            <a:xfrm>
              <a:off x="5802710" y="2540546"/>
              <a:ext cx="763587" cy="1087438"/>
            </a:xfrm>
            <a:custGeom>
              <a:avLst/>
              <a:gdLst>
                <a:gd name="connsiteX0" fmla="*/ 319088 w 764382"/>
                <a:gd name="connsiteY0" fmla="*/ 392907 h 1088232"/>
                <a:gd name="connsiteX1" fmla="*/ 350044 w 764382"/>
                <a:gd name="connsiteY1" fmla="*/ 466725 h 1088232"/>
                <a:gd name="connsiteX2" fmla="*/ 340519 w 764382"/>
                <a:gd name="connsiteY2" fmla="*/ 509588 h 1088232"/>
                <a:gd name="connsiteX3" fmla="*/ 333375 w 764382"/>
                <a:gd name="connsiteY3" fmla="*/ 559594 h 1088232"/>
                <a:gd name="connsiteX4" fmla="*/ 247650 w 764382"/>
                <a:gd name="connsiteY4" fmla="*/ 633413 h 1088232"/>
                <a:gd name="connsiteX5" fmla="*/ 238125 w 764382"/>
                <a:gd name="connsiteY5" fmla="*/ 690563 h 1088232"/>
                <a:gd name="connsiteX6" fmla="*/ 135732 w 764382"/>
                <a:gd name="connsiteY6" fmla="*/ 711994 h 1088232"/>
                <a:gd name="connsiteX7" fmla="*/ 116682 w 764382"/>
                <a:gd name="connsiteY7" fmla="*/ 738188 h 1088232"/>
                <a:gd name="connsiteX8" fmla="*/ 30957 w 764382"/>
                <a:gd name="connsiteY8" fmla="*/ 707232 h 1088232"/>
                <a:gd name="connsiteX9" fmla="*/ 16669 w 764382"/>
                <a:gd name="connsiteY9" fmla="*/ 707232 h 1088232"/>
                <a:gd name="connsiteX10" fmla="*/ 7144 w 764382"/>
                <a:gd name="connsiteY10" fmla="*/ 735807 h 1088232"/>
                <a:gd name="connsiteX11" fmla="*/ 0 w 764382"/>
                <a:gd name="connsiteY11" fmla="*/ 752475 h 1088232"/>
                <a:gd name="connsiteX12" fmla="*/ 26194 w 764382"/>
                <a:gd name="connsiteY12" fmla="*/ 781050 h 1088232"/>
                <a:gd name="connsiteX13" fmla="*/ 45244 w 764382"/>
                <a:gd name="connsiteY13" fmla="*/ 778669 h 1088232"/>
                <a:gd name="connsiteX14" fmla="*/ 52388 w 764382"/>
                <a:gd name="connsiteY14" fmla="*/ 819150 h 1088232"/>
                <a:gd name="connsiteX15" fmla="*/ 66675 w 764382"/>
                <a:gd name="connsiteY15" fmla="*/ 840582 h 1088232"/>
                <a:gd name="connsiteX16" fmla="*/ 92869 w 764382"/>
                <a:gd name="connsiteY16" fmla="*/ 831057 h 1088232"/>
                <a:gd name="connsiteX17" fmla="*/ 109538 w 764382"/>
                <a:gd name="connsiteY17" fmla="*/ 819150 h 1088232"/>
                <a:gd name="connsiteX18" fmla="*/ 133350 w 764382"/>
                <a:gd name="connsiteY18" fmla="*/ 819150 h 1088232"/>
                <a:gd name="connsiteX19" fmla="*/ 142875 w 764382"/>
                <a:gd name="connsiteY19" fmla="*/ 912019 h 1088232"/>
                <a:gd name="connsiteX20" fmla="*/ 171450 w 764382"/>
                <a:gd name="connsiteY20" fmla="*/ 933450 h 1088232"/>
                <a:gd name="connsiteX21" fmla="*/ 180975 w 764382"/>
                <a:gd name="connsiteY21" fmla="*/ 966788 h 1088232"/>
                <a:gd name="connsiteX22" fmla="*/ 221457 w 764382"/>
                <a:gd name="connsiteY22" fmla="*/ 992982 h 1088232"/>
                <a:gd name="connsiteX23" fmla="*/ 254794 w 764382"/>
                <a:gd name="connsiteY23" fmla="*/ 1035844 h 1088232"/>
                <a:gd name="connsiteX24" fmla="*/ 280988 w 764382"/>
                <a:gd name="connsiteY24" fmla="*/ 1054894 h 1088232"/>
                <a:gd name="connsiteX25" fmla="*/ 307182 w 764382"/>
                <a:gd name="connsiteY25" fmla="*/ 1081088 h 1088232"/>
                <a:gd name="connsiteX26" fmla="*/ 319088 w 764382"/>
                <a:gd name="connsiteY26" fmla="*/ 1088232 h 1088232"/>
                <a:gd name="connsiteX27" fmla="*/ 347663 w 764382"/>
                <a:gd name="connsiteY27" fmla="*/ 1076325 h 1088232"/>
                <a:gd name="connsiteX28" fmla="*/ 357188 w 764382"/>
                <a:gd name="connsiteY28" fmla="*/ 1050132 h 1088232"/>
                <a:gd name="connsiteX29" fmla="*/ 392907 w 764382"/>
                <a:gd name="connsiteY29" fmla="*/ 1033463 h 1088232"/>
                <a:gd name="connsiteX30" fmla="*/ 414338 w 764382"/>
                <a:gd name="connsiteY30" fmla="*/ 1033463 h 1088232"/>
                <a:gd name="connsiteX31" fmla="*/ 438150 w 764382"/>
                <a:gd name="connsiteY31" fmla="*/ 1045369 h 1088232"/>
                <a:gd name="connsiteX32" fmla="*/ 461963 w 764382"/>
                <a:gd name="connsiteY32" fmla="*/ 1073944 h 1088232"/>
                <a:gd name="connsiteX33" fmla="*/ 461963 w 764382"/>
                <a:gd name="connsiteY33" fmla="*/ 1073944 h 1088232"/>
                <a:gd name="connsiteX34" fmla="*/ 511969 w 764382"/>
                <a:gd name="connsiteY34" fmla="*/ 1033463 h 1088232"/>
                <a:gd name="connsiteX35" fmla="*/ 547688 w 764382"/>
                <a:gd name="connsiteY35" fmla="*/ 1033463 h 1088232"/>
                <a:gd name="connsiteX36" fmla="*/ 585788 w 764382"/>
                <a:gd name="connsiteY36" fmla="*/ 1012032 h 1088232"/>
                <a:gd name="connsiteX37" fmla="*/ 583407 w 764382"/>
                <a:gd name="connsiteY37" fmla="*/ 964407 h 1088232"/>
                <a:gd name="connsiteX38" fmla="*/ 578644 w 764382"/>
                <a:gd name="connsiteY38" fmla="*/ 947738 h 1088232"/>
                <a:gd name="connsiteX39" fmla="*/ 583407 w 764382"/>
                <a:gd name="connsiteY39" fmla="*/ 902494 h 1088232"/>
                <a:gd name="connsiteX40" fmla="*/ 581025 w 764382"/>
                <a:gd name="connsiteY40" fmla="*/ 842963 h 1088232"/>
                <a:gd name="connsiteX41" fmla="*/ 573882 w 764382"/>
                <a:gd name="connsiteY41" fmla="*/ 812007 h 1088232"/>
                <a:gd name="connsiteX42" fmla="*/ 542925 w 764382"/>
                <a:gd name="connsiteY42" fmla="*/ 778669 h 1088232"/>
                <a:gd name="connsiteX43" fmla="*/ 526257 w 764382"/>
                <a:gd name="connsiteY43" fmla="*/ 762000 h 1088232"/>
                <a:gd name="connsiteX44" fmla="*/ 531019 w 764382"/>
                <a:gd name="connsiteY44" fmla="*/ 742950 h 1088232"/>
                <a:gd name="connsiteX45" fmla="*/ 526257 w 764382"/>
                <a:gd name="connsiteY45" fmla="*/ 726282 h 1088232"/>
                <a:gd name="connsiteX46" fmla="*/ 519113 w 764382"/>
                <a:gd name="connsiteY46" fmla="*/ 700088 h 1088232"/>
                <a:gd name="connsiteX47" fmla="*/ 531019 w 764382"/>
                <a:gd name="connsiteY47" fmla="*/ 673894 h 1088232"/>
                <a:gd name="connsiteX48" fmla="*/ 542925 w 764382"/>
                <a:gd name="connsiteY48" fmla="*/ 659607 h 1088232"/>
                <a:gd name="connsiteX49" fmla="*/ 528638 w 764382"/>
                <a:gd name="connsiteY49" fmla="*/ 640557 h 1088232"/>
                <a:gd name="connsiteX50" fmla="*/ 519113 w 764382"/>
                <a:gd name="connsiteY50" fmla="*/ 616744 h 1088232"/>
                <a:gd name="connsiteX51" fmla="*/ 502444 w 764382"/>
                <a:gd name="connsiteY51" fmla="*/ 611982 h 1088232"/>
                <a:gd name="connsiteX52" fmla="*/ 488157 w 764382"/>
                <a:gd name="connsiteY52" fmla="*/ 604838 h 1088232"/>
                <a:gd name="connsiteX53" fmla="*/ 481013 w 764382"/>
                <a:gd name="connsiteY53" fmla="*/ 607219 h 1088232"/>
                <a:gd name="connsiteX54" fmla="*/ 464344 w 764382"/>
                <a:gd name="connsiteY54" fmla="*/ 557213 h 1088232"/>
                <a:gd name="connsiteX55" fmla="*/ 450057 w 764382"/>
                <a:gd name="connsiteY55" fmla="*/ 540544 h 1088232"/>
                <a:gd name="connsiteX56" fmla="*/ 445294 w 764382"/>
                <a:gd name="connsiteY56" fmla="*/ 492919 h 1088232"/>
                <a:gd name="connsiteX57" fmla="*/ 464344 w 764382"/>
                <a:gd name="connsiteY57" fmla="*/ 473869 h 1088232"/>
                <a:gd name="connsiteX58" fmla="*/ 476250 w 764382"/>
                <a:gd name="connsiteY58" fmla="*/ 438150 h 1088232"/>
                <a:gd name="connsiteX59" fmla="*/ 528638 w 764382"/>
                <a:gd name="connsiteY59" fmla="*/ 428625 h 1088232"/>
                <a:gd name="connsiteX60" fmla="*/ 557213 w 764382"/>
                <a:gd name="connsiteY60" fmla="*/ 426244 h 1088232"/>
                <a:gd name="connsiteX61" fmla="*/ 559594 w 764382"/>
                <a:gd name="connsiteY61" fmla="*/ 395288 h 1088232"/>
                <a:gd name="connsiteX62" fmla="*/ 540544 w 764382"/>
                <a:gd name="connsiteY62" fmla="*/ 364332 h 1088232"/>
                <a:gd name="connsiteX63" fmla="*/ 521494 w 764382"/>
                <a:gd name="connsiteY63" fmla="*/ 364332 h 1088232"/>
                <a:gd name="connsiteX64" fmla="*/ 497682 w 764382"/>
                <a:gd name="connsiteY64" fmla="*/ 335757 h 1088232"/>
                <a:gd name="connsiteX65" fmla="*/ 461963 w 764382"/>
                <a:gd name="connsiteY65" fmla="*/ 323850 h 1088232"/>
                <a:gd name="connsiteX66" fmla="*/ 433388 w 764382"/>
                <a:gd name="connsiteY66" fmla="*/ 319088 h 1088232"/>
                <a:gd name="connsiteX67" fmla="*/ 445294 w 764382"/>
                <a:gd name="connsiteY67" fmla="*/ 278607 h 1088232"/>
                <a:gd name="connsiteX68" fmla="*/ 442913 w 764382"/>
                <a:gd name="connsiteY68" fmla="*/ 250032 h 1088232"/>
                <a:gd name="connsiteX69" fmla="*/ 457200 w 764382"/>
                <a:gd name="connsiteY69" fmla="*/ 202407 h 1088232"/>
                <a:gd name="connsiteX70" fmla="*/ 500063 w 764382"/>
                <a:gd name="connsiteY70" fmla="*/ 200025 h 1088232"/>
                <a:gd name="connsiteX71" fmla="*/ 531019 w 764382"/>
                <a:gd name="connsiteY71" fmla="*/ 216694 h 1088232"/>
                <a:gd name="connsiteX72" fmla="*/ 578644 w 764382"/>
                <a:gd name="connsiteY72" fmla="*/ 233363 h 1088232"/>
                <a:gd name="connsiteX73" fmla="*/ 604838 w 764382"/>
                <a:gd name="connsiteY73" fmla="*/ 252413 h 1088232"/>
                <a:gd name="connsiteX74" fmla="*/ 614363 w 764382"/>
                <a:gd name="connsiteY74" fmla="*/ 271463 h 1088232"/>
                <a:gd name="connsiteX75" fmla="*/ 626269 w 764382"/>
                <a:gd name="connsiteY75" fmla="*/ 280988 h 1088232"/>
                <a:gd name="connsiteX76" fmla="*/ 650082 w 764382"/>
                <a:gd name="connsiteY76" fmla="*/ 271463 h 1088232"/>
                <a:gd name="connsiteX77" fmla="*/ 671513 w 764382"/>
                <a:gd name="connsiteY77" fmla="*/ 259557 h 1088232"/>
                <a:gd name="connsiteX78" fmla="*/ 683419 w 764382"/>
                <a:gd name="connsiteY78" fmla="*/ 230982 h 1088232"/>
                <a:gd name="connsiteX79" fmla="*/ 697707 w 764382"/>
                <a:gd name="connsiteY79" fmla="*/ 204788 h 1088232"/>
                <a:gd name="connsiteX80" fmla="*/ 716757 w 764382"/>
                <a:gd name="connsiteY80" fmla="*/ 166688 h 1088232"/>
                <a:gd name="connsiteX81" fmla="*/ 719138 w 764382"/>
                <a:gd name="connsiteY81" fmla="*/ 150019 h 1088232"/>
                <a:gd name="connsiteX82" fmla="*/ 750094 w 764382"/>
                <a:gd name="connsiteY82" fmla="*/ 140494 h 1088232"/>
                <a:gd name="connsiteX83" fmla="*/ 764382 w 764382"/>
                <a:gd name="connsiteY83" fmla="*/ 119063 h 1088232"/>
                <a:gd name="connsiteX84" fmla="*/ 759619 w 764382"/>
                <a:gd name="connsiteY84" fmla="*/ 102394 h 1088232"/>
                <a:gd name="connsiteX85" fmla="*/ 728663 w 764382"/>
                <a:gd name="connsiteY85" fmla="*/ 100013 h 1088232"/>
                <a:gd name="connsiteX86" fmla="*/ 704850 w 764382"/>
                <a:gd name="connsiteY86" fmla="*/ 107157 h 1088232"/>
                <a:gd name="connsiteX87" fmla="*/ 695325 w 764382"/>
                <a:gd name="connsiteY87" fmla="*/ 126207 h 1088232"/>
                <a:gd name="connsiteX88" fmla="*/ 661988 w 764382"/>
                <a:gd name="connsiteY88" fmla="*/ 121444 h 1088232"/>
                <a:gd name="connsiteX89" fmla="*/ 633413 w 764382"/>
                <a:gd name="connsiteY89" fmla="*/ 114300 h 1088232"/>
                <a:gd name="connsiteX90" fmla="*/ 602457 w 764382"/>
                <a:gd name="connsiteY90" fmla="*/ 102394 h 1088232"/>
                <a:gd name="connsiteX91" fmla="*/ 581025 w 764382"/>
                <a:gd name="connsiteY91" fmla="*/ 83344 h 1088232"/>
                <a:gd name="connsiteX92" fmla="*/ 569119 w 764382"/>
                <a:gd name="connsiteY92" fmla="*/ 50007 h 1088232"/>
                <a:gd name="connsiteX93" fmla="*/ 559594 w 764382"/>
                <a:gd name="connsiteY93" fmla="*/ 16669 h 1088232"/>
                <a:gd name="connsiteX94" fmla="*/ 550069 w 764382"/>
                <a:gd name="connsiteY94" fmla="*/ 0 h 1088232"/>
                <a:gd name="connsiteX95" fmla="*/ 535782 w 764382"/>
                <a:gd name="connsiteY95" fmla="*/ 9525 h 1088232"/>
                <a:gd name="connsiteX96" fmla="*/ 481013 w 764382"/>
                <a:gd name="connsiteY96" fmla="*/ 83344 h 1088232"/>
                <a:gd name="connsiteX97" fmla="*/ 433388 w 764382"/>
                <a:gd name="connsiteY97" fmla="*/ 80963 h 1088232"/>
                <a:gd name="connsiteX98" fmla="*/ 414338 w 764382"/>
                <a:gd name="connsiteY98" fmla="*/ 71438 h 1088232"/>
                <a:gd name="connsiteX99" fmla="*/ 404813 w 764382"/>
                <a:gd name="connsiteY99" fmla="*/ 61913 h 1088232"/>
                <a:gd name="connsiteX100" fmla="*/ 411957 w 764382"/>
                <a:gd name="connsiteY100" fmla="*/ 107157 h 1088232"/>
                <a:gd name="connsiteX101" fmla="*/ 421482 w 764382"/>
                <a:gd name="connsiteY101" fmla="*/ 130969 h 1088232"/>
                <a:gd name="connsiteX102" fmla="*/ 421482 w 764382"/>
                <a:gd name="connsiteY102" fmla="*/ 159544 h 1088232"/>
                <a:gd name="connsiteX103" fmla="*/ 411957 w 764382"/>
                <a:gd name="connsiteY103" fmla="*/ 180975 h 1088232"/>
                <a:gd name="connsiteX104" fmla="*/ 383382 w 764382"/>
                <a:gd name="connsiteY104" fmla="*/ 192882 h 1088232"/>
                <a:gd name="connsiteX105" fmla="*/ 388144 w 764382"/>
                <a:gd name="connsiteY105" fmla="*/ 221457 h 1088232"/>
                <a:gd name="connsiteX106" fmla="*/ 385763 w 764382"/>
                <a:gd name="connsiteY106" fmla="*/ 238125 h 1088232"/>
                <a:gd name="connsiteX107" fmla="*/ 376238 w 764382"/>
                <a:gd name="connsiteY107" fmla="*/ 254794 h 1088232"/>
                <a:gd name="connsiteX108" fmla="*/ 350044 w 764382"/>
                <a:gd name="connsiteY108" fmla="*/ 264319 h 1088232"/>
                <a:gd name="connsiteX109" fmla="*/ 347663 w 764382"/>
                <a:gd name="connsiteY109" fmla="*/ 292894 h 1088232"/>
                <a:gd name="connsiteX110" fmla="*/ 347663 w 764382"/>
                <a:gd name="connsiteY110" fmla="*/ 292894 h 1088232"/>
                <a:gd name="connsiteX111" fmla="*/ 385763 w 764382"/>
                <a:gd name="connsiteY111" fmla="*/ 314325 h 1088232"/>
                <a:gd name="connsiteX112" fmla="*/ 385763 w 764382"/>
                <a:gd name="connsiteY112" fmla="*/ 359569 h 1088232"/>
                <a:gd name="connsiteX113" fmla="*/ 319088 w 764382"/>
                <a:gd name="connsiteY113" fmla="*/ 392907 h 108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764382" h="1088232">
                  <a:moveTo>
                    <a:pt x="319088" y="392907"/>
                  </a:moveTo>
                  <a:lnTo>
                    <a:pt x="350044" y="466725"/>
                  </a:lnTo>
                  <a:lnTo>
                    <a:pt x="340519" y="509588"/>
                  </a:lnTo>
                  <a:lnTo>
                    <a:pt x="333375" y="559594"/>
                  </a:lnTo>
                  <a:lnTo>
                    <a:pt x="247650" y="633413"/>
                  </a:lnTo>
                  <a:lnTo>
                    <a:pt x="238125" y="690563"/>
                  </a:lnTo>
                  <a:lnTo>
                    <a:pt x="135732" y="711994"/>
                  </a:lnTo>
                  <a:lnTo>
                    <a:pt x="116682" y="738188"/>
                  </a:lnTo>
                  <a:lnTo>
                    <a:pt x="30957" y="707232"/>
                  </a:lnTo>
                  <a:lnTo>
                    <a:pt x="16669" y="707232"/>
                  </a:lnTo>
                  <a:lnTo>
                    <a:pt x="7144" y="735807"/>
                  </a:lnTo>
                  <a:lnTo>
                    <a:pt x="0" y="752475"/>
                  </a:lnTo>
                  <a:lnTo>
                    <a:pt x="26194" y="781050"/>
                  </a:lnTo>
                  <a:lnTo>
                    <a:pt x="45244" y="778669"/>
                  </a:lnTo>
                  <a:lnTo>
                    <a:pt x="52388" y="819150"/>
                  </a:lnTo>
                  <a:lnTo>
                    <a:pt x="66675" y="840582"/>
                  </a:lnTo>
                  <a:lnTo>
                    <a:pt x="92869" y="831057"/>
                  </a:lnTo>
                  <a:lnTo>
                    <a:pt x="109538" y="819150"/>
                  </a:lnTo>
                  <a:lnTo>
                    <a:pt x="133350" y="819150"/>
                  </a:lnTo>
                  <a:lnTo>
                    <a:pt x="142875" y="912019"/>
                  </a:lnTo>
                  <a:lnTo>
                    <a:pt x="171450" y="933450"/>
                  </a:lnTo>
                  <a:lnTo>
                    <a:pt x="180975" y="966788"/>
                  </a:lnTo>
                  <a:lnTo>
                    <a:pt x="221457" y="992982"/>
                  </a:lnTo>
                  <a:lnTo>
                    <a:pt x="254794" y="1035844"/>
                  </a:lnTo>
                  <a:lnTo>
                    <a:pt x="280988" y="1054894"/>
                  </a:lnTo>
                  <a:lnTo>
                    <a:pt x="307182" y="1081088"/>
                  </a:lnTo>
                  <a:lnTo>
                    <a:pt x="319088" y="1088232"/>
                  </a:lnTo>
                  <a:lnTo>
                    <a:pt x="347663" y="1076325"/>
                  </a:lnTo>
                  <a:lnTo>
                    <a:pt x="357188" y="1050132"/>
                  </a:lnTo>
                  <a:lnTo>
                    <a:pt x="392907" y="1033463"/>
                  </a:lnTo>
                  <a:lnTo>
                    <a:pt x="414338" y="1033463"/>
                  </a:lnTo>
                  <a:lnTo>
                    <a:pt x="438150" y="1045369"/>
                  </a:lnTo>
                  <a:lnTo>
                    <a:pt x="461963" y="1073944"/>
                  </a:lnTo>
                  <a:lnTo>
                    <a:pt x="461963" y="1073944"/>
                  </a:lnTo>
                  <a:lnTo>
                    <a:pt x="511969" y="1033463"/>
                  </a:lnTo>
                  <a:lnTo>
                    <a:pt x="547688" y="1033463"/>
                  </a:lnTo>
                  <a:lnTo>
                    <a:pt x="585788" y="1012032"/>
                  </a:lnTo>
                  <a:lnTo>
                    <a:pt x="583407" y="964407"/>
                  </a:lnTo>
                  <a:lnTo>
                    <a:pt x="578644" y="947738"/>
                  </a:lnTo>
                  <a:lnTo>
                    <a:pt x="583407" y="902494"/>
                  </a:lnTo>
                  <a:lnTo>
                    <a:pt x="581025" y="842963"/>
                  </a:lnTo>
                  <a:lnTo>
                    <a:pt x="573882" y="812007"/>
                  </a:lnTo>
                  <a:lnTo>
                    <a:pt x="542925" y="778669"/>
                  </a:lnTo>
                  <a:lnTo>
                    <a:pt x="526257" y="762000"/>
                  </a:lnTo>
                  <a:lnTo>
                    <a:pt x="531019" y="742950"/>
                  </a:lnTo>
                  <a:lnTo>
                    <a:pt x="526257" y="726282"/>
                  </a:lnTo>
                  <a:lnTo>
                    <a:pt x="519113" y="700088"/>
                  </a:lnTo>
                  <a:lnTo>
                    <a:pt x="531019" y="673894"/>
                  </a:lnTo>
                  <a:lnTo>
                    <a:pt x="542925" y="659607"/>
                  </a:lnTo>
                  <a:lnTo>
                    <a:pt x="528638" y="640557"/>
                  </a:lnTo>
                  <a:lnTo>
                    <a:pt x="519113" y="616744"/>
                  </a:lnTo>
                  <a:lnTo>
                    <a:pt x="502444" y="611982"/>
                  </a:lnTo>
                  <a:lnTo>
                    <a:pt x="488157" y="604838"/>
                  </a:lnTo>
                  <a:lnTo>
                    <a:pt x="481013" y="607219"/>
                  </a:lnTo>
                  <a:lnTo>
                    <a:pt x="464344" y="557213"/>
                  </a:lnTo>
                  <a:lnTo>
                    <a:pt x="450057" y="540544"/>
                  </a:lnTo>
                  <a:lnTo>
                    <a:pt x="445294" y="492919"/>
                  </a:lnTo>
                  <a:lnTo>
                    <a:pt x="464344" y="473869"/>
                  </a:lnTo>
                  <a:lnTo>
                    <a:pt x="476250" y="438150"/>
                  </a:lnTo>
                  <a:lnTo>
                    <a:pt x="528638" y="428625"/>
                  </a:lnTo>
                  <a:lnTo>
                    <a:pt x="557213" y="426244"/>
                  </a:lnTo>
                  <a:lnTo>
                    <a:pt x="559594" y="395288"/>
                  </a:lnTo>
                  <a:lnTo>
                    <a:pt x="540544" y="364332"/>
                  </a:lnTo>
                  <a:lnTo>
                    <a:pt x="521494" y="364332"/>
                  </a:lnTo>
                  <a:lnTo>
                    <a:pt x="497682" y="335757"/>
                  </a:lnTo>
                  <a:lnTo>
                    <a:pt x="461963" y="323850"/>
                  </a:lnTo>
                  <a:lnTo>
                    <a:pt x="433388" y="319088"/>
                  </a:lnTo>
                  <a:lnTo>
                    <a:pt x="445294" y="278607"/>
                  </a:lnTo>
                  <a:lnTo>
                    <a:pt x="442913" y="250032"/>
                  </a:lnTo>
                  <a:lnTo>
                    <a:pt x="457200" y="202407"/>
                  </a:lnTo>
                  <a:lnTo>
                    <a:pt x="500063" y="200025"/>
                  </a:lnTo>
                  <a:lnTo>
                    <a:pt x="531019" y="216694"/>
                  </a:lnTo>
                  <a:lnTo>
                    <a:pt x="578644" y="233363"/>
                  </a:lnTo>
                  <a:lnTo>
                    <a:pt x="604838" y="252413"/>
                  </a:lnTo>
                  <a:lnTo>
                    <a:pt x="614363" y="271463"/>
                  </a:lnTo>
                  <a:lnTo>
                    <a:pt x="626269" y="280988"/>
                  </a:lnTo>
                  <a:lnTo>
                    <a:pt x="650082" y="271463"/>
                  </a:lnTo>
                  <a:lnTo>
                    <a:pt x="671513" y="259557"/>
                  </a:lnTo>
                  <a:lnTo>
                    <a:pt x="683419" y="230982"/>
                  </a:lnTo>
                  <a:lnTo>
                    <a:pt x="697707" y="204788"/>
                  </a:lnTo>
                  <a:lnTo>
                    <a:pt x="716757" y="166688"/>
                  </a:lnTo>
                  <a:lnTo>
                    <a:pt x="719138" y="150019"/>
                  </a:lnTo>
                  <a:lnTo>
                    <a:pt x="750094" y="140494"/>
                  </a:lnTo>
                  <a:lnTo>
                    <a:pt x="764382" y="119063"/>
                  </a:lnTo>
                  <a:lnTo>
                    <a:pt x="759619" y="102394"/>
                  </a:lnTo>
                  <a:lnTo>
                    <a:pt x="728663" y="100013"/>
                  </a:lnTo>
                  <a:lnTo>
                    <a:pt x="704850" y="107157"/>
                  </a:lnTo>
                  <a:lnTo>
                    <a:pt x="695325" y="126207"/>
                  </a:lnTo>
                  <a:lnTo>
                    <a:pt x="661988" y="121444"/>
                  </a:lnTo>
                  <a:lnTo>
                    <a:pt x="633413" y="114300"/>
                  </a:lnTo>
                  <a:lnTo>
                    <a:pt x="602457" y="102394"/>
                  </a:lnTo>
                  <a:lnTo>
                    <a:pt x="581025" y="83344"/>
                  </a:lnTo>
                  <a:lnTo>
                    <a:pt x="569119" y="50007"/>
                  </a:lnTo>
                  <a:lnTo>
                    <a:pt x="559594" y="16669"/>
                  </a:lnTo>
                  <a:lnTo>
                    <a:pt x="550069" y="0"/>
                  </a:lnTo>
                  <a:lnTo>
                    <a:pt x="535782" y="9525"/>
                  </a:lnTo>
                  <a:lnTo>
                    <a:pt x="481013" y="83344"/>
                  </a:lnTo>
                  <a:lnTo>
                    <a:pt x="433388" y="80963"/>
                  </a:lnTo>
                  <a:lnTo>
                    <a:pt x="414338" y="71438"/>
                  </a:lnTo>
                  <a:lnTo>
                    <a:pt x="404813" y="61913"/>
                  </a:lnTo>
                  <a:lnTo>
                    <a:pt x="411957" y="107157"/>
                  </a:lnTo>
                  <a:lnTo>
                    <a:pt x="421482" y="130969"/>
                  </a:lnTo>
                  <a:lnTo>
                    <a:pt x="421482" y="159544"/>
                  </a:lnTo>
                  <a:lnTo>
                    <a:pt x="411957" y="180975"/>
                  </a:lnTo>
                  <a:lnTo>
                    <a:pt x="383382" y="192882"/>
                  </a:lnTo>
                  <a:lnTo>
                    <a:pt x="388144" y="221457"/>
                  </a:lnTo>
                  <a:lnTo>
                    <a:pt x="385763" y="238125"/>
                  </a:lnTo>
                  <a:lnTo>
                    <a:pt x="376238" y="254794"/>
                  </a:lnTo>
                  <a:lnTo>
                    <a:pt x="350044" y="264319"/>
                  </a:lnTo>
                  <a:lnTo>
                    <a:pt x="347663" y="292894"/>
                  </a:lnTo>
                  <a:lnTo>
                    <a:pt x="347663" y="292894"/>
                  </a:lnTo>
                  <a:lnTo>
                    <a:pt x="385763" y="314325"/>
                  </a:lnTo>
                  <a:lnTo>
                    <a:pt x="385763" y="359569"/>
                  </a:lnTo>
                  <a:lnTo>
                    <a:pt x="319088" y="392907"/>
                  </a:lnTo>
                  <a:close/>
                </a:path>
              </a:pathLst>
            </a:custGeom>
            <a:solidFill>
              <a:schemeClr val="bg1"/>
            </a:solidFill>
            <a:ln w="317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a:lstStyle/>
            <a:p>
              <a:pPr>
                <a:defRPr/>
              </a:pPr>
              <a:endParaRPr lang="en-GB"/>
            </a:p>
          </p:txBody>
        </p:sp>
        <p:sp>
          <p:nvSpPr>
            <p:cNvPr id="48" name="Freeform 47"/>
            <p:cNvSpPr/>
            <p:nvPr/>
          </p:nvSpPr>
          <p:spPr>
            <a:xfrm>
              <a:off x="2859485" y="2912021"/>
              <a:ext cx="973137" cy="863600"/>
            </a:xfrm>
            <a:custGeom>
              <a:avLst/>
              <a:gdLst>
                <a:gd name="connsiteX0" fmla="*/ 461963 w 973932"/>
                <a:gd name="connsiteY0" fmla="*/ 0 h 864394"/>
                <a:gd name="connsiteX1" fmla="*/ 454819 w 973932"/>
                <a:gd name="connsiteY1" fmla="*/ 71438 h 864394"/>
                <a:gd name="connsiteX2" fmla="*/ 411957 w 973932"/>
                <a:gd name="connsiteY2" fmla="*/ 78582 h 864394"/>
                <a:gd name="connsiteX3" fmla="*/ 395288 w 973932"/>
                <a:gd name="connsiteY3" fmla="*/ 66675 h 864394"/>
                <a:gd name="connsiteX4" fmla="*/ 359569 w 973932"/>
                <a:gd name="connsiteY4" fmla="*/ 64294 h 864394"/>
                <a:gd name="connsiteX5" fmla="*/ 333375 w 973932"/>
                <a:gd name="connsiteY5" fmla="*/ 64294 h 864394"/>
                <a:gd name="connsiteX6" fmla="*/ 304800 w 973932"/>
                <a:gd name="connsiteY6" fmla="*/ 76200 h 864394"/>
                <a:gd name="connsiteX7" fmla="*/ 271463 w 973932"/>
                <a:gd name="connsiteY7" fmla="*/ 100013 h 864394"/>
                <a:gd name="connsiteX8" fmla="*/ 214313 w 973932"/>
                <a:gd name="connsiteY8" fmla="*/ 59532 h 864394"/>
                <a:gd name="connsiteX9" fmla="*/ 142875 w 973932"/>
                <a:gd name="connsiteY9" fmla="*/ 61913 h 864394"/>
                <a:gd name="connsiteX10" fmla="*/ 92869 w 973932"/>
                <a:gd name="connsiteY10" fmla="*/ 50007 h 864394"/>
                <a:gd name="connsiteX11" fmla="*/ 33338 w 973932"/>
                <a:gd name="connsiteY11" fmla="*/ 97632 h 864394"/>
                <a:gd name="connsiteX12" fmla="*/ 4763 w 973932"/>
                <a:gd name="connsiteY12" fmla="*/ 121444 h 864394"/>
                <a:gd name="connsiteX13" fmla="*/ 0 w 973932"/>
                <a:gd name="connsiteY13" fmla="*/ 147638 h 864394"/>
                <a:gd name="connsiteX14" fmla="*/ 47625 w 973932"/>
                <a:gd name="connsiteY14" fmla="*/ 200025 h 864394"/>
                <a:gd name="connsiteX15" fmla="*/ 66675 w 973932"/>
                <a:gd name="connsiteY15" fmla="*/ 271463 h 864394"/>
                <a:gd name="connsiteX16" fmla="*/ 102394 w 973932"/>
                <a:gd name="connsiteY16" fmla="*/ 300038 h 864394"/>
                <a:gd name="connsiteX17" fmla="*/ 130969 w 973932"/>
                <a:gd name="connsiteY17" fmla="*/ 319088 h 864394"/>
                <a:gd name="connsiteX18" fmla="*/ 166688 w 973932"/>
                <a:gd name="connsiteY18" fmla="*/ 333375 h 864394"/>
                <a:gd name="connsiteX19" fmla="*/ 192882 w 973932"/>
                <a:gd name="connsiteY19" fmla="*/ 338138 h 864394"/>
                <a:gd name="connsiteX20" fmla="*/ 228600 w 973932"/>
                <a:gd name="connsiteY20" fmla="*/ 326232 h 864394"/>
                <a:gd name="connsiteX21" fmla="*/ 252413 w 973932"/>
                <a:gd name="connsiteY21" fmla="*/ 316707 h 864394"/>
                <a:gd name="connsiteX22" fmla="*/ 271463 w 973932"/>
                <a:gd name="connsiteY22" fmla="*/ 304800 h 864394"/>
                <a:gd name="connsiteX23" fmla="*/ 300038 w 973932"/>
                <a:gd name="connsiteY23" fmla="*/ 288132 h 864394"/>
                <a:gd name="connsiteX24" fmla="*/ 321469 w 973932"/>
                <a:gd name="connsiteY24" fmla="*/ 309563 h 864394"/>
                <a:gd name="connsiteX25" fmla="*/ 319088 w 973932"/>
                <a:gd name="connsiteY25" fmla="*/ 342900 h 864394"/>
                <a:gd name="connsiteX26" fmla="*/ 300038 w 973932"/>
                <a:gd name="connsiteY26" fmla="*/ 381000 h 864394"/>
                <a:gd name="connsiteX27" fmla="*/ 271463 w 973932"/>
                <a:gd name="connsiteY27" fmla="*/ 411957 h 864394"/>
                <a:gd name="connsiteX28" fmla="*/ 238125 w 973932"/>
                <a:gd name="connsiteY28" fmla="*/ 423863 h 864394"/>
                <a:gd name="connsiteX29" fmla="*/ 211932 w 973932"/>
                <a:gd name="connsiteY29" fmla="*/ 431007 h 864394"/>
                <a:gd name="connsiteX30" fmla="*/ 161925 w 973932"/>
                <a:gd name="connsiteY30" fmla="*/ 433388 h 864394"/>
                <a:gd name="connsiteX31" fmla="*/ 123825 w 973932"/>
                <a:gd name="connsiteY31" fmla="*/ 416719 h 864394"/>
                <a:gd name="connsiteX32" fmla="*/ 123825 w 973932"/>
                <a:gd name="connsiteY32" fmla="*/ 395288 h 864394"/>
                <a:gd name="connsiteX33" fmla="*/ 107157 w 973932"/>
                <a:gd name="connsiteY33" fmla="*/ 376238 h 864394"/>
                <a:gd name="connsiteX34" fmla="*/ 107157 w 973932"/>
                <a:gd name="connsiteY34" fmla="*/ 376238 h 864394"/>
                <a:gd name="connsiteX35" fmla="*/ 78582 w 973932"/>
                <a:gd name="connsiteY35" fmla="*/ 416719 h 864394"/>
                <a:gd name="connsiteX36" fmla="*/ 66675 w 973932"/>
                <a:gd name="connsiteY36" fmla="*/ 461963 h 864394"/>
                <a:gd name="connsiteX37" fmla="*/ 88107 w 973932"/>
                <a:gd name="connsiteY37" fmla="*/ 481013 h 864394"/>
                <a:gd name="connsiteX38" fmla="*/ 109538 w 973932"/>
                <a:gd name="connsiteY38" fmla="*/ 511969 h 864394"/>
                <a:gd name="connsiteX39" fmla="*/ 140494 w 973932"/>
                <a:gd name="connsiteY39" fmla="*/ 533400 h 864394"/>
                <a:gd name="connsiteX40" fmla="*/ 145257 w 973932"/>
                <a:gd name="connsiteY40" fmla="*/ 557213 h 864394"/>
                <a:gd name="connsiteX41" fmla="*/ 152400 w 973932"/>
                <a:gd name="connsiteY41" fmla="*/ 566738 h 864394"/>
                <a:gd name="connsiteX42" fmla="*/ 180975 w 973932"/>
                <a:gd name="connsiteY42" fmla="*/ 595313 h 864394"/>
                <a:gd name="connsiteX43" fmla="*/ 188119 w 973932"/>
                <a:gd name="connsiteY43" fmla="*/ 661988 h 864394"/>
                <a:gd name="connsiteX44" fmla="*/ 209550 w 973932"/>
                <a:gd name="connsiteY44" fmla="*/ 681038 h 864394"/>
                <a:gd name="connsiteX45" fmla="*/ 233363 w 973932"/>
                <a:gd name="connsiteY45" fmla="*/ 688182 h 864394"/>
                <a:gd name="connsiteX46" fmla="*/ 252413 w 973932"/>
                <a:gd name="connsiteY46" fmla="*/ 702469 h 864394"/>
                <a:gd name="connsiteX47" fmla="*/ 278607 w 973932"/>
                <a:gd name="connsiteY47" fmla="*/ 721519 h 864394"/>
                <a:gd name="connsiteX48" fmla="*/ 307182 w 973932"/>
                <a:gd name="connsiteY48" fmla="*/ 766763 h 864394"/>
                <a:gd name="connsiteX49" fmla="*/ 340519 w 973932"/>
                <a:gd name="connsiteY49" fmla="*/ 773907 h 864394"/>
                <a:gd name="connsiteX50" fmla="*/ 359569 w 973932"/>
                <a:gd name="connsiteY50" fmla="*/ 759619 h 864394"/>
                <a:gd name="connsiteX51" fmla="*/ 357188 w 973932"/>
                <a:gd name="connsiteY51" fmla="*/ 738188 h 864394"/>
                <a:gd name="connsiteX52" fmla="*/ 364332 w 973932"/>
                <a:gd name="connsiteY52" fmla="*/ 716757 h 864394"/>
                <a:gd name="connsiteX53" fmla="*/ 383382 w 973932"/>
                <a:gd name="connsiteY53" fmla="*/ 711994 h 864394"/>
                <a:gd name="connsiteX54" fmla="*/ 404813 w 973932"/>
                <a:gd name="connsiteY54" fmla="*/ 721519 h 864394"/>
                <a:gd name="connsiteX55" fmla="*/ 431007 w 973932"/>
                <a:gd name="connsiteY55" fmla="*/ 733425 h 864394"/>
                <a:gd name="connsiteX56" fmla="*/ 454819 w 973932"/>
                <a:gd name="connsiteY56" fmla="*/ 740569 h 864394"/>
                <a:gd name="connsiteX57" fmla="*/ 476250 w 973932"/>
                <a:gd name="connsiteY57" fmla="*/ 728663 h 864394"/>
                <a:gd name="connsiteX58" fmla="*/ 490538 w 973932"/>
                <a:gd name="connsiteY58" fmla="*/ 704850 h 864394"/>
                <a:gd name="connsiteX59" fmla="*/ 523875 w 973932"/>
                <a:gd name="connsiteY59" fmla="*/ 683419 h 864394"/>
                <a:gd name="connsiteX60" fmla="*/ 557213 w 973932"/>
                <a:gd name="connsiteY60" fmla="*/ 685800 h 864394"/>
                <a:gd name="connsiteX61" fmla="*/ 576263 w 973932"/>
                <a:gd name="connsiteY61" fmla="*/ 664369 h 864394"/>
                <a:gd name="connsiteX62" fmla="*/ 585788 w 973932"/>
                <a:gd name="connsiteY62" fmla="*/ 626269 h 864394"/>
                <a:gd name="connsiteX63" fmla="*/ 578644 w 973932"/>
                <a:gd name="connsiteY63" fmla="*/ 585788 h 864394"/>
                <a:gd name="connsiteX64" fmla="*/ 590550 w 973932"/>
                <a:gd name="connsiteY64" fmla="*/ 533400 h 864394"/>
                <a:gd name="connsiteX65" fmla="*/ 590550 w 973932"/>
                <a:gd name="connsiteY65" fmla="*/ 490538 h 864394"/>
                <a:gd name="connsiteX66" fmla="*/ 621507 w 973932"/>
                <a:gd name="connsiteY66" fmla="*/ 473869 h 864394"/>
                <a:gd name="connsiteX67" fmla="*/ 650082 w 973932"/>
                <a:gd name="connsiteY67" fmla="*/ 492919 h 864394"/>
                <a:gd name="connsiteX68" fmla="*/ 652463 w 973932"/>
                <a:gd name="connsiteY68" fmla="*/ 523875 h 864394"/>
                <a:gd name="connsiteX69" fmla="*/ 645319 w 973932"/>
                <a:gd name="connsiteY69" fmla="*/ 550069 h 864394"/>
                <a:gd name="connsiteX70" fmla="*/ 645319 w 973932"/>
                <a:gd name="connsiteY70" fmla="*/ 581025 h 864394"/>
                <a:gd name="connsiteX71" fmla="*/ 666750 w 973932"/>
                <a:gd name="connsiteY71" fmla="*/ 602457 h 864394"/>
                <a:gd name="connsiteX72" fmla="*/ 669132 w 973932"/>
                <a:gd name="connsiteY72" fmla="*/ 654844 h 864394"/>
                <a:gd name="connsiteX73" fmla="*/ 645319 w 973932"/>
                <a:gd name="connsiteY73" fmla="*/ 709613 h 864394"/>
                <a:gd name="connsiteX74" fmla="*/ 642938 w 973932"/>
                <a:gd name="connsiteY74" fmla="*/ 771525 h 864394"/>
                <a:gd name="connsiteX75" fmla="*/ 640557 w 973932"/>
                <a:gd name="connsiteY75" fmla="*/ 795338 h 864394"/>
                <a:gd name="connsiteX76" fmla="*/ 640557 w 973932"/>
                <a:gd name="connsiteY76" fmla="*/ 814388 h 864394"/>
                <a:gd name="connsiteX77" fmla="*/ 621507 w 973932"/>
                <a:gd name="connsiteY77" fmla="*/ 826294 h 864394"/>
                <a:gd name="connsiteX78" fmla="*/ 623888 w 973932"/>
                <a:gd name="connsiteY78" fmla="*/ 845344 h 864394"/>
                <a:gd name="connsiteX79" fmla="*/ 640557 w 973932"/>
                <a:gd name="connsiteY79" fmla="*/ 857250 h 864394"/>
                <a:gd name="connsiteX80" fmla="*/ 659607 w 973932"/>
                <a:gd name="connsiteY80" fmla="*/ 850107 h 864394"/>
                <a:gd name="connsiteX81" fmla="*/ 678657 w 973932"/>
                <a:gd name="connsiteY81" fmla="*/ 857250 h 864394"/>
                <a:gd name="connsiteX82" fmla="*/ 702469 w 973932"/>
                <a:gd name="connsiteY82" fmla="*/ 862013 h 864394"/>
                <a:gd name="connsiteX83" fmla="*/ 726282 w 973932"/>
                <a:gd name="connsiteY83" fmla="*/ 864394 h 864394"/>
                <a:gd name="connsiteX84" fmla="*/ 752475 w 973932"/>
                <a:gd name="connsiteY84" fmla="*/ 852488 h 864394"/>
                <a:gd name="connsiteX85" fmla="*/ 766763 w 973932"/>
                <a:gd name="connsiteY85" fmla="*/ 823913 h 864394"/>
                <a:gd name="connsiteX86" fmla="*/ 773907 w 973932"/>
                <a:gd name="connsiteY86" fmla="*/ 792957 h 864394"/>
                <a:gd name="connsiteX87" fmla="*/ 766763 w 973932"/>
                <a:gd name="connsiteY87" fmla="*/ 769144 h 864394"/>
                <a:gd name="connsiteX88" fmla="*/ 795338 w 973932"/>
                <a:gd name="connsiteY88" fmla="*/ 764382 h 864394"/>
                <a:gd name="connsiteX89" fmla="*/ 831057 w 973932"/>
                <a:gd name="connsiteY89" fmla="*/ 709613 h 864394"/>
                <a:gd name="connsiteX90" fmla="*/ 890588 w 973932"/>
                <a:gd name="connsiteY90" fmla="*/ 688182 h 864394"/>
                <a:gd name="connsiteX91" fmla="*/ 902494 w 973932"/>
                <a:gd name="connsiteY91" fmla="*/ 661988 h 864394"/>
                <a:gd name="connsiteX92" fmla="*/ 902494 w 973932"/>
                <a:gd name="connsiteY92" fmla="*/ 661988 h 864394"/>
                <a:gd name="connsiteX93" fmla="*/ 864394 w 973932"/>
                <a:gd name="connsiteY93" fmla="*/ 645319 h 864394"/>
                <a:gd name="connsiteX94" fmla="*/ 845344 w 973932"/>
                <a:gd name="connsiteY94" fmla="*/ 600075 h 864394"/>
                <a:gd name="connsiteX95" fmla="*/ 881063 w 973932"/>
                <a:gd name="connsiteY95" fmla="*/ 581025 h 864394"/>
                <a:gd name="connsiteX96" fmla="*/ 921544 w 973932"/>
                <a:gd name="connsiteY96" fmla="*/ 538163 h 864394"/>
                <a:gd name="connsiteX97" fmla="*/ 912019 w 973932"/>
                <a:gd name="connsiteY97" fmla="*/ 492919 h 864394"/>
                <a:gd name="connsiteX98" fmla="*/ 907257 w 973932"/>
                <a:gd name="connsiteY98" fmla="*/ 466725 h 864394"/>
                <a:gd name="connsiteX99" fmla="*/ 892969 w 973932"/>
                <a:gd name="connsiteY99" fmla="*/ 442913 h 864394"/>
                <a:gd name="connsiteX100" fmla="*/ 907257 w 973932"/>
                <a:gd name="connsiteY100" fmla="*/ 421482 h 864394"/>
                <a:gd name="connsiteX101" fmla="*/ 935832 w 973932"/>
                <a:gd name="connsiteY101" fmla="*/ 411957 h 864394"/>
                <a:gd name="connsiteX102" fmla="*/ 962025 w 973932"/>
                <a:gd name="connsiteY102" fmla="*/ 402432 h 864394"/>
                <a:gd name="connsiteX103" fmla="*/ 973932 w 973932"/>
                <a:gd name="connsiteY103" fmla="*/ 395288 h 864394"/>
                <a:gd name="connsiteX104" fmla="*/ 973932 w 973932"/>
                <a:gd name="connsiteY104" fmla="*/ 361950 h 864394"/>
                <a:gd name="connsiteX105" fmla="*/ 892969 w 973932"/>
                <a:gd name="connsiteY105" fmla="*/ 328613 h 864394"/>
                <a:gd name="connsiteX106" fmla="*/ 854869 w 973932"/>
                <a:gd name="connsiteY106" fmla="*/ 257175 h 864394"/>
                <a:gd name="connsiteX107" fmla="*/ 840582 w 973932"/>
                <a:gd name="connsiteY107" fmla="*/ 204788 h 864394"/>
                <a:gd name="connsiteX108" fmla="*/ 804863 w 973932"/>
                <a:gd name="connsiteY108" fmla="*/ 190500 h 864394"/>
                <a:gd name="connsiteX109" fmla="*/ 785813 w 973932"/>
                <a:gd name="connsiteY109" fmla="*/ 164307 h 864394"/>
                <a:gd name="connsiteX110" fmla="*/ 769144 w 973932"/>
                <a:gd name="connsiteY110" fmla="*/ 102394 h 864394"/>
                <a:gd name="connsiteX111" fmla="*/ 726282 w 973932"/>
                <a:gd name="connsiteY111" fmla="*/ 76200 h 864394"/>
                <a:gd name="connsiteX112" fmla="*/ 669132 w 973932"/>
                <a:gd name="connsiteY112" fmla="*/ 71438 h 864394"/>
                <a:gd name="connsiteX113" fmla="*/ 650082 w 973932"/>
                <a:gd name="connsiteY113" fmla="*/ 30957 h 864394"/>
                <a:gd name="connsiteX114" fmla="*/ 559594 w 973932"/>
                <a:gd name="connsiteY114" fmla="*/ 4763 h 864394"/>
                <a:gd name="connsiteX115" fmla="*/ 461963 w 973932"/>
                <a:gd name="connsiteY115" fmla="*/ 0 h 864394"/>
                <a:gd name="connsiteX0" fmla="*/ 461963 w 973932"/>
                <a:gd name="connsiteY0" fmla="*/ 0 h 864394"/>
                <a:gd name="connsiteX1" fmla="*/ 454819 w 973932"/>
                <a:gd name="connsiteY1" fmla="*/ 71438 h 864394"/>
                <a:gd name="connsiteX2" fmla="*/ 411957 w 973932"/>
                <a:gd name="connsiteY2" fmla="*/ 78582 h 864394"/>
                <a:gd name="connsiteX3" fmla="*/ 395288 w 973932"/>
                <a:gd name="connsiteY3" fmla="*/ 66675 h 864394"/>
                <a:gd name="connsiteX4" fmla="*/ 359569 w 973932"/>
                <a:gd name="connsiteY4" fmla="*/ 64294 h 864394"/>
                <a:gd name="connsiteX5" fmla="*/ 333375 w 973932"/>
                <a:gd name="connsiteY5" fmla="*/ 64294 h 864394"/>
                <a:gd name="connsiteX6" fmla="*/ 304800 w 973932"/>
                <a:gd name="connsiteY6" fmla="*/ 76200 h 864394"/>
                <a:gd name="connsiteX7" fmla="*/ 271463 w 973932"/>
                <a:gd name="connsiteY7" fmla="*/ 100013 h 864394"/>
                <a:gd name="connsiteX8" fmla="*/ 214313 w 973932"/>
                <a:gd name="connsiteY8" fmla="*/ 59532 h 864394"/>
                <a:gd name="connsiteX9" fmla="*/ 142875 w 973932"/>
                <a:gd name="connsiteY9" fmla="*/ 61913 h 864394"/>
                <a:gd name="connsiteX10" fmla="*/ 92869 w 973932"/>
                <a:gd name="connsiteY10" fmla="*/ 50007 h 864394"/>
                <a:gd name="connsiteX11" fmla="*/ 33338 w 973932"/>
                <a:gd name="connsiteY11" fmla="*/ 97632 h 864394"/>
                <a:gd name="connsiteX12" fmla="*/ 4763 w 973932"/>
                <a:gd name="connsiteY12" fmla="*/ 121444 h 864394"/>
                <a:gd name="connsiteX13" fmla="*/ 0 w 973932"/>
                <a:gd name="connsiteY13" fmla="*/ 147638 h 864394"/>
                <a:gd name="connsiteX14" fmla="*/ 47625 w 973932"/>
                <a:gd name="connsiteY14" fmla="*/ 200025 h 864394"/>
                <a:gd name="connsiteX15" fmla="*/ 66675 w 973932"/>
                <a:gd name="connsiteY15" fmla="*/ 271463 h 864394"/>
                <a:gd name="connsiteX16" fmla="*/ 102394 w 973932"/>
                <a:gd name="connsiteY16" fmla="*/ 300038 h 864394"/>
                <a:gd name="connsiteX17" fmla="*/ 130969 w 973932"/>
                <a:gd name="connsiteY17" fmla="*/ 319088 h 864394"/>
                <a:gd name="connsiteX18" fmla="*/ 166688 w 973932"/>
                <a:gd name="connsiteY18" fmla="*/ 333375 h 864394"/>
                <a:gd name="connsiteX19" fmla="*/ 192882 w 973932"/>
                <a:gd name="connsiteY19" fmla="*/ 338138 h 864394"/>
                <a:gd name="connsiteX20" fmla="*/ 228600 w 973932"/>
                <a:gd name="connsiteY20" fmla="*/ 326232 h 864394"/>
                <a:gd name="connsiteX21" fmla="*/ 252413 w 973932"/>
                <a:gd name="connsiteY21" fmla="*/ 316707 h 864394"/>
                <a:gd name="connsiteX22" fmla="*/ 271463 w 973932"/>
                <a:gd name="connsiteY22" fmla="*/ 304800 h 864394"/>
                <a:gd name="connsiteX23" fmla="*/ 300038 w 973932"/>
                <a:gd name="connsiteY23" fmla="*/ 288132 h 864394"/>
                <a:gd name="connsiteX24" fmla="*/ 321469 w 973932"/>
                <a:gd name="connsiteY24" fmla="*/ 309563 h 864394"/>
                <a:gd name="connsiteX25" fmla="*/ 319088 w 973932"/>
                <a:gd name="connsiteY25" fmla="*/ 342900 h 864394"/>
                <a:gd name="connsiteX26" fmla="*/ 300038 w 973932"/>
                <a:gd name="connsiteY26" fmla="*/ 381000 h 864394"/>
                <a:gd name="connsiteX27" fmla="*/ 271463 w 973932"/>
                <a:gd name="connsiteY27" fmla="*/ 411957 h 864394"/>
                <a:gd name="connsiteX28" fmla="*/ 238125 w 973932"/>
                <a:gd name="connsiteY28" fmla="*/ 423863 h 864394"/>
                <a:gd name="connsiteX29" fmla="*/ 211932 w 973932"/>
                <a:gd name="connsiteY29" fmla="*/ 431007 h 864394"/>
                <a:gd name="connsiteX30" fmla="*/ 161925 w 973932"/>
                <a:gd name="connsiteY30" fmla="*/ 433388 h 864394"/>
                <a:gd name="connsiteX31" fmla="*/ 123825 w 973932"/>
                <a:gd name="connsiteY31" fmla="*/ 416719 h 864394"/>
                <a:gd name="connsiteX32" fmla="*/ 123825 w 973932"/>
                <a:gd name="connsiteY32" fmla="*/ 395288 h 864394"/>
                <a:gd name="connsiteX33" fmla="*/ 107157 w 973932"/>
                <a:gd name="connsiteY33" fmla="*/ 376238 h 864394"/>
                <a:gd name="connsiteX34" fmla="*/ 107157 w 973932"/>
                <a:gd name="connsiteY34" fmla="*/ 376238 h 864394"/>
                <a:gd name="connsiteX35" fmla="*/ 78582 w 973932"/>
                <a:gd name="connsiteY35" fmla="*/ 416719 h 864394"/>
                <a:gd name="connsiteX36" fmla="*/ 66675 w 973932"/>
                <a:gd name="connsiteY36" fmla="*/ 461963 h 864394"/>
                <a:gd name="connsiteX37" fmla="*/ 88107 w 973932"/>
                <a:gd name="connsiteY37" fmla="*/ 481013 h 864394"/>
                <a:gd name="connsiteX38" fmla="*/ 109538 w 973932"/>
                <a:gd name="connsiteY38" fmla="*/ 511969 h 864394"/>
                <a:gd name="connsiteX39" fmla="*/ 140494 w 973932"/>
                <a:gd name="connsiteY39" fmla="*/ 533400 h 864394"/>
                <a:gd name="connsiteX40" fmla="*/ 145257 w 973932"/>
                <a:gd name="connsiteY40" fmla="*/ 557213 h 864394"/>
                <a:gd name="connsiteX41" fmla="*/ 152400 w 973932"/>
                <a:gd name="connsiteY41" fmla="*/ 566738 h 864394"/>
                <a:gd name="connsiteX42" fmla="*/ 180975 w 973932"/>
                <a:gd name="connsiteY42" fmla="*/ 595313 h 864394"/>
                <a:gd name="connsiteX43" fmla="*/ 188119 w 973932"/>
                <a:gd name="connsiteY43" fmla="*/ 661988 h 864394"/>
                <a:gd name="connsiteX44" fmla="*/ 209550 w 973932"/>
                <a:gd name="connsiteY44" fmla="*/ 681038 h 864394"/>
                <a:gd name="connsiteX45" fmla="*/ 233363 w 973932"/>
                <a:gd name="connsiteY45" fmla="*/ 688182 h 864394"/>
                <a:gd name="connsiteX46" fmla="*/ 252413 w 973932"/>
                <a:gd name="connsiteY46" fmla="*/ 702469 h 864394"/>
                <a:gd name="connsiteX47" fmla="*/ 278607 w 973932"/>
                <a:gd name="connsiteY47" fmla="*/ 721519 h 864394"/>
                <a:gd name="connsiteX48" fmla="*/ 307182 w 973932"/>
                <a:gd name="connsiteY48" fmla="*/ 766763 h 864394"/>
                <a:gd name="connsiteX49" fmla="*/ 340519 w 973932"/>
                <a:gd name="connsiteY49" fmla="*/ 773907 h 864394"/>
                <a:gd name="connsiteX50" fmla="*/ 359569 w 973932"/>
                <a:gd name="connsiteY50" fmla="*/ 759619 h 864394"/>
                <a:gd name="connsiteX51" fmla="*/ 357188 w 973932"/>
                <a:gd name="connsiteY51" fmla="*/ 738188 h 864394"/>
                <a:gd name="connsiteX52" fmla="*/ 364332 w 973932"/>
                <a:gd name="connsiteY52" fmla="*/ 716757 h 864394"/>
                <a:gd name="connsiteX53" fmla="*/ 383382 w 973932"/>
                <a:gd name="connsiteY53" fmla="*/ 711994 h 864394"/>
                <a:gd name="connsiteX54" fmla="*/ 404813 w 973932"/>
                <a:gd name="connsiteY54" fmla="*/ 721519 h 864394"/>
                <a:gd name="connsiteX55" fmla="*/ 431007 w 973932"/>
                <a:gd name="connsiteY55" fmla="*/ 733425 h 864394"/>
                <a:gd name="connsiteX56" fmla="*/ 454819 w 973932"/>
                <a:gd name="connsiteY56" fmla="*/ 740569 h 864394"/>
                <a:gd name="connsiteX57" fmla="*/ 476250 w 973932"/>
                <a:gd name="connsiteY57" fmla="*/ 728663 h 864394"/>
                <a:gd name="connsiteX58" fmla="*/ 490538 w 973932"/>
                <a:gd name="connsiteY58" fmla="*/ 704850 h 864394"/>
                <a:gd name="connsiteX59" fmla="*/ 523875 w 973932"/>
                <a:gd name="connsiteY59" fmla="*/ 683419 h 864394"/>
                <a:gd name="connsiteX60" fmla="*/ 557213 w 973932"/>
                <a:gd name="connsiteY60" fmla="*/ 685800 h 864394"/>
                <a:gd name="connsiteX61" fmla="*/ 576263 w 973932"/>
                <a:gd name="connsiteY61" fmla="*/ 664369 h 864394"/>
                <a:gd name="connsiteX62" fmla="*/ 585788 w 973932"/>
                <a:gd name="connsiteY62" fmla="*/ 626269 h 864394"/>
                <a:gd name="connsiteX63" fmla="*/ 578644 w 973932"/>
                <a:gd name="connsiteY63" fmla="*/ 585788 h 864394"/>
                <a:gd name="connsiteX64" fmla="*/ 602457 w 973932"/>
                <a:gd name="connsiteY64" fmla="*/ 535781 h 864394"/>
                <a:gd name="connsiteX65" fmla="*/ 590550 w 973932"/>
                <a:gd name="connsiteY65" fmla="*/ 490538 h 864394"/>
                <a:gd name="connsiteX66" fmla="*/ 621507 w 973932"/>
                <a:gd name="connsiteY66" fmla="*/ 473869 h 864394"/>
                <a:gd name="connsiteX67" fmla="*/ 650082 w 973932"/>
                <a:gd name="connsiteY67" fmla="*/ 492919 h 864394"/>
                <a:gd name="connsiteX68" fmla="*/ 652463 w 973932"/>
                <a:gd name="connsiteY68" fmla="*/ 523875 h 864394"/>
                <a:gd name="connsiteX69" fmla="*/ 645319 w 973932"/>
                <a:gd name="connsiteY69" fmla="*/ 550069 h 864394"/>
                <a:gd name="connsiteX70" fmla="*/ 645319 w 973932"/>
                <a:gd name="connsiteY70" fmla="*/ 581025 h 864394"/>
                <a:gd name="connsiteX71" fmla="*/ 666750 w 973932"/>
                <a:gd name="connsiteY71" fmla="*/ 602457 h 864394"/>
                <a:gd name="connsiteX72" fmla="*/ 669132 w 973932"/>
                <a:gd name="connsiteY72" fmla="*/ 654844 h 864394"/>
                <a:gd name="connsiteX73" fmla="*/ 645319 w 973932"/>
                <a:gd name="connsiteY73" fmla="*/ 709613 h 864394"/>
                <a:gd name="connsiteX74" fmla="*/ 642938 w 973932"/>
                <a:gd name="connsiteY74" fmla="*/ 771525 h 864394"/>
                <a:gd name="connsiteX75" fmla="*/ 640557 w 973932"/>
                <a:gd name="connsiteY75" fmla="*/ 795338 h 864394"/>
                <a:gd name="connsiteX76" fmla="*/ 640557 w 973932"/>
                <a:gd name="connsiteY76" fmla="*/ 814388 h 864394"/>
                <a:gd name="connsiteX77" fmla="*/ 621507 w 973932"/>
                <a:gd name="connsiteY77" fmla="*/ 826294 h 864394"/>
                <a:gd name="connsiteX78" fmla="*/ 623888 w 973932"/>
                <a:gd name="connsiteY78" fmla="*/ 845344 h 864394"/>
                <a:gd name="connsiteX79" fmla="*/ 640557 w 973932"/>
                <a:gd name="connsiteY79" fmla="*/ 857250 h 864394"/>
                <a:gd name="connsiteX80" fmla="*/ 659607 w 973932"/>
                <a:gd name="connsiteY80" fmla="*/ 850107 h 864394"/>
                <a:gd name="connsiteX81" fmla="*/ 678657 w 973932"/>
                <a:gd name="connsiteY81" fmla="*/ 857250 h 864394"/>
                <a:gd name="connsiteX82" fmla="*/ 702469 w 973932"/>
                <a:gd name="connsiteY82" fmla="*/ 862013 h 864394"/>
                <a:gd name="connsiteX83" fmla="*/ 726282 w 973932"/>
                <a:gd name="connsiteY83" fmla="*/ 864394 h 864394"/>
                <a:gd name="connsiteX84" fmla="*/ 752475 w 973932"/>
                <a:gd name="connsiteY84" fmla="*/ 852488 h 864394"/>
                <a:gd name="connsiteX85" fmla="*/ 766763 w 973932"/>
                <a:gd name="connsiteY85" fmla="*/ 823913 h 864394"/>
                <a:gd name="connsiteX86" fmla="*/ 773907 w 973932"/>
                <a:gd name="connsiteY86" fmla="*/ 792957 h 864394"/>
                <a:gd name="connsiteX87" fmla="*/ 766763 w 973932"/>
                <a:gd name="connsiteY87" fmla="*/ 769144 h 864394"/>
                <a:gd name="connsiteX88" fmla="*/ 795338 w 973932"/>
                <a:gd name="connsiteY88" fmla="*/ 764382 h 864394"/>
                <a:gd name="connsiteX89" fmla="*/ 831057 w 973932"/>
                <a:gd name="connsiteY89" fmla="*/ 709613 h 864394"/>
                <a:gd name="connsiteX90" fmla="*/ 890588 w 973932"/>
                <a:gd name="connsiteY90" fmla="*/ 688182 h 864394"/>
                <a:gd name="connsiteX91" fmla="*/ 902494 w 973932"/>
                <a:gd name="connsiteY91" fmla="*/ 661988 h 864394"/>
                <a:gd name="connsiteX92" fmla="*/ 902494 w 973932"/>
                <a:gd name="connsiteY92" fmla="*/ 661988 h 864394"/>
                <a:gd name="connsiteX93" fmla="*/ 864394 w 973932"/>
                <a:gd name="connsiteY93" fmla="*/ 645319 h 864394"/>
                <a:gd name="connsiteX94" fmla="*/ 845344 w 973932"/>
                <a:gd name="connsiteY94" fmla="*/ 600075 h 864394"/>
                <a:gd name="connsiteX95" fmla="*/ 881063 w 973932"/>
                <a:gd name="connsiteY95" fmla="*/ 581025 h 864394"/>
                <a:gd name="connsiteX96" fmla="*/ 921544 w 973932"/>
                <a:gd name="connsiteY96" fmla="*/ 538163 h 864394"/>
                <a:gd name="connsiteX97" fmla="*/ 912019 w 973932"/>
                <a:gd name="connsiteY97" fmla="*/ 492919 h 864394"/>
                <a:gd name="connsiteX98" fmla="*/ 907257 w 973932"/>
                <a:gd name="connsiteY98" fmla="*/ 466725 h 864394"/>
                <a:gd name="connsiteX99" fmla="*/ 892969 w 973932"/>
                <a:gd name="connsiteY99" fmla="*/ 442913 h 864394"/>
                <a:gd name="connsiteX100" fmla="*/ 907257 w 973932"/>
                <a:gd name="connsiteY100" fmla="*/ 421482 h 864394"/>
                <a:gd name="connsiteX101" fmla="*/ 935832 w 973932"/>
                <a:gd name="connsiteY101" fmla="*/ 411957 h 864394"/>
                <a:gd name="connsiteX102" fmla="*/ 962025 w 973932"/>
                <a:gd name="connsiteY102" fmla="*/ 402432 h 864394"/>
                <a:gd name="connsiteX103" fmla="*/ 973932 w 973932"/>
                <a:gd name="connsiteY103" fmla="*/ 395288 h 864394"/>
                <a:gd name="connsiteX104" fmla="*/ 973932 w 973932"/>
                <a:gd name="connsiteY104" fmla="*/ 361950 h 864394"/>
                <a:gd name="connsiteX105" fmla="*/ 892969 w 973932"/>
                <a:gd name="connsiteY105" fmla="*/ 328613 h 864394"/>
                <a:gd name="connsiteX106" fmla="*/ 854869 w 973932"/>
                <a:gd name="connsiteY106" fmla="*/ 257175 h 864394"/>
                <a:gd name="connsiteX107" fmla="*/ 840582 w 973932"/>
                <a:gd name="connsiteY107" fmla="*/ 204788 h 864394"/>
                <a:gd name="connsiteX108" fmla="*/ 804863 w 973932"/>
                <a:gd name="connsiteY108" fmla="*/ 190500 h 864394"/>
                <a:gd name="connsiteX109" fmla="*/ 785813 w 973932"/>
                <a:gd name="connsiteY109" fmla="*/ 164307 h 864394"/>
                <a:gd name="connsiteX110" fmla="*/ 769144 w 973932"/>
                <a:gd name="connsiteY110" fmla="*/ 102394 h 864394"/>
                <a:gd name="connsiteX111" fmla="*/ 726282 w 973932"/>
                <a:gd name="connsiteY111" fmla="*/ 76200 h 864394"/>
                <a:gd name="connsiteX112" fmla="*/ 669132 w 973932"/>
                <a:gd name="connsiteY112" fmla="*/ 71438 h 864394"/>
                <a:gd name="connsiteX113" fmla="*/ 650082 w 973932"/>
                <a:gd name="connsiteY113" fmla="*/ 30957 h 864394"/>
                <a:gd name="connsiteX114" fmla="*/ 559594 w 973932"/>
                <a:gd name="connsiteY114" fmla="*/ 4763 h 864394"/>
                <a:gd name="connsiteX115" fmla="*/ 461963 w 973932"/>
                <a:gd name="connsiteY115" fmla="*/ 0 h 864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973932" h="864394">
                  <a:moveTo>
                    <a:pt x="461963" y="0"/>
                  </a:moveTo>
                  <a:lnTo>
                    <a:pt x="454819" y="71438"/>
                  </a:lnTo>
                  <a:lnTo>
                    <a:pt x="411957" y="78582"/>
                  </a:lnTo>
                  <a:lnTo>
                    <a:pt x="395288" y="66675"/>
                  </a:lnTo>
                  <a:lnTo>
                    <a:pt x="359569" y="64294"/>
                  </a:lnTo>
                  <a:lnTo>
                    <a:pt x="333375" y="64294"/>
                  </a:lnTo>
                  <a:lnTo>
                    <a:pt x="304800" y="76200"/>
                  </a:lnTo>
                  <a:lnTo>
                    <a:pt x="271463" y="100013"/>
                  </a:lnTo>
                  <a:lnTo>
                    <a:pt x="214313" y="59532"/>
                  </a:lnTo>
                  <a:lnTo>
                    <a:pt x="142875" y="61913"/>
                  </a:lnTo>
                  <a:lnTo>
                    <a:pt x="92869" y="50007"/>
                  </a:lnTo>
                  <a:lnTo>
                    <a:pt x="33338" y="97632"/>
                  </a:lnTo>
                  <a:lnTo>
                    <a:pt x="4763" y="121444"/>
                  </a:lnTo>
                  <a:lnTo>
                    <a:pt x="0" y="147638"/>
                  </a:lnTo>
                  <a:lnTo>
                    <a:pt x="47625" y="200025"/>
                  </a:lnTo>
                  <a:lnTo>
                    <a:pt x="66675" y="271463"/>
                  </a:lnTo>
                  <a:lnTo>
                    <a:pt x="102394" y="300038"/>
                  </a:lnTo>
                  <a:lnTo>
                    <a:pt x="130969" y="319088"/>
                  </a:lnTo>
                  <a:lnTo>
                    <a:pt x="166688" y="333375"/>
                  </a:lnTo>
                  <a:lnTo>
                    <a:pt x="192882" y="338138"/>
                  </a:lnTo>
                  <a:lnTo>
                    <a:pt x="228600" y="326232"/>
                  </a:lnTo>
                  <a:lnTo>
                    <a:pt x="252413" y="316707"/>
                  </a:lnTo>
                  <a:lnTo>
                    <a:pt x="271463" y="304800"/>
                  </a:lnTo>
                  <a:lnTo>
                    <a:pt x="300038" y="288132"/>
                  </a:lnTo>
                  <a:lnTo>
                    <a:pt x="321469" y="309563"/>
                  </a:lnTo>
                  <a:lnTo>
                    <a:pt x="319088" y="342900"/>
                  </a:lnTo>
                  <a:lnTo>
                    <a:pt x="300038" y="381000"/>
                  </a:lnTo>
                  <a:lnTo>
                    <a:pt x="271463" y="411957"/>
                  </a:lnTo>
                  <a:lnTo>
                    <a:pt x="238125" y="423863"/>
                  </a:lnTo>
                  <a:lnTo>
                    <a:pt x="211932" y="431007"/>
                  </a:lnTo>
                  <a:lnTo>
                    <a:pt x="161925" y="433388"/>
                  </a:lnTo>
                  <a:lnTo>
                    <a:pt x="123825" y="416719"/>
                  </a:lnTo>
                  <a:lnTo>
                    <a:pt x="123825" y="395288"/>
                  </a:lnTo>
                  <a:lnTo>
                    <a:pt x="107157" y="376238"/>
                  </a:lnTo>
                  <a:lnTo>
                    <a:pt x="107157" y="376238"/>
                  </a:lnTo>
                  <a:lnTo>
                    <a:pt x="78582" y="416719"/>
                  </a:lnTo>
                  <a:lnTo>
                    <a:pt x="66675" y="461963"/>
                  </a:lnTo>
                  <a:lnTo>
                    <a:pt x="88107" y="481013"/>
                  </a:lnTo>
                  <a:lnTo>
                    <a:pt x="109538" y="511969"/>
                  </a:lnTo>
                  <a:lnTo>
                    <a:pt x="140494" y="533400"/>
                  </a:lnTo>
                  <a:lnTo>
                    <a:pt x="145257" y="557213"/>
                  </a:lnTo>
                  <a:lnTo>
                    <a:pt x="152400" y="566738"/>
                  </a:lnTo>
                  <a:lnTo>
                    <a:pt x="180975" y="595313"/>
                  </a:lnTo>
                  <a:lnTo>
                    <a:pt x="188119" y="661988"/>
                  </a:lnTo>
                  <a:lnTo>
                    <a:pt x="209550" y="681038"/>
                  </a:lnTo>
                  <a:lnTo>
                    <a:pt x="233363" y="688182"/>
                  </a:lnTo>
                  <a:lnTo>
                    <a:pt x="252413" y="702469"/>
                  </a:lnTo>
                  <a:lnTo>
                    <a:pt x="278607" y="721519"/>
                  </a:lnTo>
                  <a:lnTo>
                    <a:pt x="307182" y="766763"/>
                  </a:lnTo>
                  <a:lnTo>
                    <a:pt x="340519" y="773907"/>
                  </a:lnTo>
                  <a:lnTo>
                    <a:pt x="359569" y="759619"/>
                  </a:lnTo>
                  <a:lnTo>
                    <a:pt x="357188" y="738188"/>
                  </a:lnTo>
                  <a:lnTo>
                    <a:pt x="364332" y="716757"/>
                  </a:lnTo>
                  <a:lnTo>
                    <a:pt x="383382" y="711994"/>
                  </a:lnTo>
                  <a:lnTo>
                    <a:pt x="404813" y="721519"/>
                  </a:lnTo>
                  <a:lnTo>
                    <a:pt x="431007" y="733425"/>
                  </a:lnTo>
                  <a:lnTo>
                    <a:pt x="454819" y="740569"/>
                  </a:lnTo>
                  <a:lnTo>
                    <a:pt x="476250" y="728663"/>
                  </a:lnTo>
                  <a:lnTo>
                    <a:pt x="490538" y="704850"/>
                  </a:lnTo>
                  <a:lnTo>
                    <a:pt x="523875" y="683419"/>
                  </a:lnTo>
                  <a:lnTo>
                    <a:pt x="557213" y="685800"/>
                  </a:lnTo>
                  <a:lnTo>
                    <a:pt x="576263" y="664369"/>
                  </a:lnTo>
                  <a:lnTo>
                    <a:pt x="585788" y="626269"/>
                  </a:lnTo>
                  <a:lnTo>
                    <a:pt x="578644" y="585788"/>
                  </a:lnTo>
                  <a:lnTo>
                    <a:pt x="602457" y="535781"/>
                  </a:lnTo>
                  <a:lnTo>
                    <a:pt x="590550" y="490538"/>
                  </a:lnTo>
                  <a:lnTo>
                    <a:pt x="621507" y="473869"/>
                  </a:lnTo>
                  <a:lnTo>
                    <a:pt x="650082" y="492919"/>
                  </a:lnTo>
                  <a:lnTo>
                    <a:pt x="652463" y="523875"/>
                  </a:lnTo>
                  <a:lnTo>
                    <a:pt x="645319" y="550069"/>
                  </a:lnTo>
                  <a:lnTo>
                    <a:pt x="645319" y="581025"/>
                  </a:lnTo>
                  <a:lnTo>
                    <a:pt x="666750" y="602457"/>
                  </a:lnTo>
                  <a:lnTo>
                    <a:pt x="669132" y="654844"/>
                  </a:lnTo>
                  <a:lnTo>
                    <a:pt x="645319" y="709613"/>
                  </a:lnTo>
                  <a:cubicBezTo>
                    <a:pt x="644525" y="730250"/>
                    <a:pt x="643732" y="750888"/>
                    <a:pt x="642938" y="771525"/>
                  </a:cubicBezTo>
                  <a:lnTo>
                    <a:pt x="640557" y="795338"/>
                  </a:lnTo>
                  <a:lnTo>
                    <a:pt x="640557" y="814388"/>
                  </a:lnTo>
                  <a:lnTo>
                    <a:pt x="621507" y="826294"/>
                  </a:lnTo>
                  <a:lnTo>
                    <a:pt x="623888" y="845344"/>
                  </a:lnTo>
                  <a:lnTo>
                    <a:pt x="640557" y="857250"/>
                  </a:lnTo>
                  <a:lnTo>
                    <a:pt x="659607" y="850107"/>
                  </a:lnTo>
                  <a:lnTo>
                    <a:pt x="678657" y="857250"/>
                  </a:lnTo>
                  <a:lnTo>
                    <a:pt x="702469" y="862013"/>
                  </a:lnTo>
                  <a:lnTo>
                    <a:pt x="726282" y="864394"/>
                  </a:lnTo>
                  <a:lnTo>
                    <a:pt x="752475" y="852488"/>
                  </a:lnTo>
                  <a:lnTo>
                    <a:pt x="766763" y="823913"/>
                  </a:lnTo>
                  <a:lnTo>
                    <a:pt x="773907" y="792957"/>
                  </a:lnTo>
                  <a:lnTo>
                    <a:pt x="766763" y="769144"/>
                  </a:lnTo>
                  <a:lnTo>
                    <a:pt x="795338" y="764382"/>
                  </a:lnTo>
                  <a:lnTo>
                    <a:pt x="831057" y="709613"/>
                  </a:lnTo>
                  <a:lnTo>
                    <a:pt x="890588" y="688182"/>
                  </a:lnTo>
                  <a:lnTo>
                    <a:pt x="902494" y="661988"/>
                  </a:lnTo>
                  <a:lnTo>
                    <a:pt x="902494" y="661988"/>
                  </a:lnTo>
                  <a:lnTo>
                    <a:pt x="864394" y="645319"/>
                  </a:lnTo>
                  <a:lnTo>
                    <a:pt x="845344" y="600075"/>
                  </a:lnTo>
                  <a:lnTo>
                    <a:pt x="881063" y="581025"/>
                  </a:lnTo>
                  <a:lnTo>
                    <a:pt x="921544" y="538163"/>
                  </a:lnTo>
                  <a:lnTo>
                    <a:pt x="912019" y="492919"/>
                  </a:lnTo>
                  <a:lnTo>
                    <a:pt x="907257" y="466725"/>
                  </a:lnTo>
                  <a:lnTo>
                    <a:pt x="892969" y="442913"/>
                  </a:lnTo>
                  <a:lnTo>
                    <a:pt x="907257" y="421482"/>
                  </a:lnTo>
                  <a:lnTo>
                    <a:pt x="935832" y="411957"/>
                  </a:lnTo>
                  <a:lnTo>
                    <a:pt x="962025" y="402432"/>
                  </a:lnTo>
                  <a:lnTo>
                    <a:pt x="973932" y="395288"/>
                  </a:lnTo>
                  <a:lnTo>
                    <a:pt x="973932" y="361950"/>
                  </a:lnTo>
                  <a:lnTo>
                    <a:pt x="892969" y="328613"/>
                  </a:lnTo>
                  <a:lnTo>
                    <a:pt x="854869" y="257175"/>
                  </a:lnTo>
                  <a:lnTo>
                    <a:pt x="840582" y="204788"/>
                  </a:lnTo>
                  <a:lnTo>
                    <a:pt x="804863" y="190500"/>
                  </a:lnTo>
                  <a:lnTo>
                    <a:pt x="785813" y="164307"/>
                  </a:lnTo>
                  <a:lnTo>
                    <a:pt x="769144" y="102394"/>
                  </a:lnTo>
                  <a:lnTo>
                    <a:pt x="726282" y="76200"/>
                  </a:lnTo>
                  <a:lnTo>
                    <a:pt x="669132" y="71438"/>
                  </a:lnTo>
                  <a:lnTo>
                    <a:pt x="650082" y="30957"/>
                  </a:lnTo>
                  <a:lnTo>
                    <a:pt x="559594" y="4763"/>
                  </a:lnTo>
                  <a:lnTo>
                    <a:pt x="461963" y="0"/>
                  </a:lnTo>
                  <a:close/>
                </a:path>
              </a:pathLst>
            </a:custGeom>
            <a:solidFill>
              <a:schemeClr val="bg1"/>
            </a:solidFill>
            <a:ln w="317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a:lstStyle/>
            <a:p>
              <a:pPr>
                <a:defRPr/>
              </a:pPr>
              <a:endParaRPr lang="en-GB"/>
            </a:p>
          </p:txBody>
        </p:sp>
        <p:sp>
          <p:nvSpPr>
            <p:cNvPr id="49" name="Freeform 48"/>
            <p:cNvSpPr/>
            <p:nvPr/>
          </p:nvSpPr>
          <p:spPr>
            <a:xfrm>
              <a:off x="3532585" y="4626521"/>
              <a:ext cx="117475" cy="157163"/>
            </a:xfrm>
            <a:custGeom>
              <a:avLst/>
              <a:gdLst>
                <a:gd name="connsiteX0" fmla="*/ 0 w 116681"/>
                <a:gd name="connsiteY0" fmla="*/ 0 h 157163"/>
                <a:gd name="connsiteX1" fmla="*/ 38100 w 116681"/>
                <a:gd name="connsiteY1" fmla="*/ 97632 h 157163"/>
                <a:gd name="connsiteX2" fmla="*/ 90488 w 116681"/>
                <a:gd name="connsiteY2" fmla="*/ 157163 h 157163"/>
                <a:gd name="connsiteX3" fmla="*/ 109538 w 116681"/>
                <a:gd name="connsiteY3" fmla="*/ 121444 h 157163"/>
                <a:gd name="connsiteX4" fmla="*/ 116681 w 116681"/>
                <a:gd name="connsiteY4" fmla="*/ 97632 h 157163"/>
                <a:gd name="connsiteX5" fmla="*/ 111919 w 116681"/>
                <a:gd name="connsiteY5" fmla="*/ 50007 h 157163"/>
                <a:gd name="connsiteX6" fmla="*/ 0 w 116681"/>
                <a:gd name="connsiteY6" fmla="*/ 0 h 15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681" h="157163">
                  <a:moveTo>
                    <a:pt x="0" y="0"/>
                  </a:moveTo>
                  <a:lnTo>
                    <a:pt x="38100" y="97632"/>
                  </a:lnTo>
                  <a:lnTo>
                    <a:pt x="90488" y="157163"/>
                  </a:lnTo>
                  <a:lnTo>
                    <a:pt x="109538" y="121444"/>
                  </a:lnTo>
                  <a:lnTo>
                    <a:pt x="116681" y="97632"/>
                  </a:lnTo>
                  <a:lnTo>
                    <a:pt x="111919" y="50007"/>
                  </a:lnTo>
                  <a:lnTo>
                    <a:pt x="0" y="0"/>
                  </a:lnTo>
                  <a:close/>
                </a:path>
              </a:pathLst>
            </a:custGeom>
            <a:solidFill>
              <a:schemeClr val="bg1"/>
            </a:solidFill>
            <a:ln w="317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a:lstStyle/>
            <a:p>
              <a:pPr>
                <a:defRPr/>
              </a:pPr>
              <a:endParaRPr lang="en-GB"/>
            </a:p>
          </p:txBody>
        </p:sp>
        <p:sp>
          <p:nvSpPr>
            <p:cNvPr id="50" name="Freeform 49"/>
            <p:cNvSpPr/>
            <p:nvPr/>
          </p:nvSpPr>
          <p:spPr>
            <a:xfrm>
              <a:off x="3616722" y="4178846"/>
              <a:ext cx="782638" cy="1276350"/>
            </a:xfrm>
            <a:custGeom>
              <a:avLst/>
              <a:gdLst>
                <a:gd name="connsiteX0" fmla="*/ 0 w 783431"/>
                <a:gd name="connsiteY0" fmla="*/ 614363 h 1090613"/>
                <a:gd name="connsiteX1" fmla="*/ 21431 w 783431"/>
                <a:gd name="connsiteY1" fmla="*/ 661988 h 1090613"/>
                <a:gd name="connsiteX2" fmla="*/ 28575 w 783431"/>
                <a:gd name="connsiteY2" fmla="*/ 742950 h 1090613"/>
                <a:gd name="connsiteX3" fmla="*/ 76200 w 783431"/>
                <a:gd name="connsiteY3" fmla="*/ 814388 h 1090613"/>
                <a:gd name="connsiteX4" fmla="*/ 102394 w 783431"/>
                <a:gd name="connsiteY4" fmla="*/ 919163 h 1090613"/>
                <a:gd name="connsiteX5" fmla="*/ 116681 w 783431"/>
                <a:gd name="connsiteY5" fmla="*/ 947738 h 1090613"/>
                <a:gd name="connsiteX6" fmla="*/ 130969 w 783431"/>
                <a:gd name="connsiteY6" fmla="*/ 995363 h 1090613"/>
                <a:gd name="connsiteX7" fmla="*/ 150019 w 783431"/>
                <a:gd name="connsiteY7" fmla="*/ 1023938 h 1090613"/>
                <a:gd name="connsiteX8" fmla="*/ 159544 w 783431"/>
                <a:gd name="connsiteY8" fmla="*/ 1042988 h 1090613"/>
                <a:gd name="connsiteX9" fmla="*/ 197644 w 783431"/>
                <a:gd name="connsiteY9" fmla="*/ 1069182 h 1090613"/>
                <a:gd name="connsiteX10" fmla="*/ 245269 w 783431"/>
                <a:gd name="connsiteY10" fmla="*/ 1090613 h 1090613"/>
                <a:gd name="connsiteX11" fmla="*/ 604837 w 783431"/>
                <a:gd name="connsiteY11" fmla="*/ 1085850 h 1090613"/>
                <a:gd name="connsiteX12" fmla="*/ 585787 w 783431"/>
                <a:gd name="connsiteY12" fmla="*/ 1035844 h 1090613"/>
                <a:gd name="connsiteX13" fmla="*/ 607219 w 783431"/>
                <a:gd name="connsiteY13" fmla="*/ 1021557 h 1090613"/>
                <a:gd name="connsiteX14" fmla="*/ 645319 w 783431"/>
                <a:gd name="connsiteY14" fmla="*/ 1016794 h 1090613"/>
                <a:gd name="connsiteX15" fmla="*/ 685800 w 783431"/>
                <a:gd name="connsiteY15" fmla="*/ 997744 h 1090613"/>
                <a:gd name="connsiteX16" fmla="*/ 716756 w 783431"/>
                <a:gd name="connsiteY16" fmla="*/ 1002507 h 1090613"/>
                <a:gd name="connsiteX17" fmla="*/ 738187 w 783431"/>
                <a:gd name="connsiteY17" fmla="*/ 969169 h 1090613"/>
                <a:gd name="connsiteX18" fmla="*/ 783431 w 783431"/>
                <a:gd name="connsiteY18" fmla="*/ 933450 h 1090613"/>
                <a:gd name="connsiteX19" fmla="*/ 776287 w 783431"/>
                <a:gd name="connsiteY19" fmla="*/ 907257 h 1090613"/>
                <a:gd name="connsiteX20" fmla="*/ 752475 w 783431"/>
                <a:gd name="connsiteY20" fmla="*/ 888207 h 1090613"/>
                <a:gd name="connsiteX21" fmla="*/ 752475 w 783431"/>
                <a:gd name="connsiteY21" fmla="*/ 864394 h 1090613"/>
                <a:gd name="connsiteX22" fmla="*/ 728662 w 783431"/>
                <a:gd name="connsiteY22" fmla="*/ 852488 h 1090613"/>
                <a:gd name="connsiteX23" fmla="*/ 711994 w 783431"/>
                <a:gd name="connsiteY23" fmla="*/ 802482 h 1090613"/>
                <a:gd name="connsiteX24" fmla="*/ 688181 w 783431"/>
                <a:gd name="connsiteY24" fmla="*/ 814388 h 1090613"/>
                <a:gd name="connsiteX25" fmla="*/ 659606 w 783431"/>
                <a:gd name="connsiteY25" fmla="*/ 814388 h 1090613"/>
                <a:gd name="connsiteX26" fmla="*/ 647700 w 783431"/>
                <a:gd name="connsiteY26" fmla="*/ 847725 h 1090613"/>
                <a:gd name="connsiteX27" fmla="*/ 623887 w 783431"/>
                <a:gd name="connsiteY27" fmla="*/ 847725 h 1090613"/>
                <a:gd name="connsiteX28" fmla="*/ 576262 w 783431"/>
                <a:gd name="connsiteY28" fmla="*/ 828675 h 1090613"/>
                <a:gd name="connsiteX29" fmla="*/ 554831 w 783431"/>
                <a:gd name="connsiteY29" fmla="*/ 816769 h 1090613"/>
                <a:gd name="connsiteX30" fmla="*/ 547687 w 783431"/>
                <a:gd name="connsiteY30" fmla="*/ 783432 h 1090613"/>
                <a:gd name="connsiteX31" fmla="*/ 561975 w 783431"/>
                <a:gd name="connsiteY31" fmla="*/ 754857 h 1090613"/>
                <a:gd name="connsiteX32" fmla="*/ 533400 w 783431"/>
                <a:gd name="connsiteY32" fmla="*/ 733425 h 1090613"/>
                <a:gd name="connsiteX33" fmla="*/ 509587 w 783431"/>
                <a:gd name="connsiteY33" fmla="*/ 711994 h 1090613"/>
                <a:gd name="connsiteX34" fmla="*/ 473869 w 783431"/>
                <a:gd name="connsiteY34" fmla="*/ 711994 h 1090613"/>
                <a:gd name="connsiteX35" fmla="*/ 435769 w 783431"/>
                <a:gd name="connsiteY35" fmla="*/ 711994 h 1090613"/>
                <a:gd name="connsiteX36" fmla="*/ 438150 w 783431"/>
                <a:gd name="connsiteY36" fmla="*/ 669132 h 1090613"/>
                <a:gd name="connsiteX37" fmla="*/ 428625 w 783431"/>
                <a:gd name="connsiteY37" fmla="*/ 642938 h 1090613"/>
                <a:gd name="connsiteX38" fmla="*/ 423862 w 783431"/>
                <a:gd name="connsiteY38" fmla="*/ 607219 h 1090613"/>
                <a:gd name="connsiteX39" fmla="*/ 426244 w 783431"/>
                <a:gd name="connsiteY39" fmla="*/ 578644 h 1090613"/>
                <a:gd name="connsiteX40" fmla="*/ 440531 w 783431"/>
                <a:gd name="connsiteY40" fmla="*/ 566738 h 1090613"/>
                <a:gd name="connsiteX41" fmla="*/ 450056 w 783431"/>
                <a:gd name="connsiteY41" fmla="*/ 535782 h 1090613"/>
                <a:gd name="connsiteX42" fmla="*/ 457200 w 783431"/>
                <a:gd name="connsiteY42" fmla="*/ 519113 h 1090613"/>
                <a:gd name="connsiteX43" fmla="*/ 481012 w 783431"/>
                <a:gd name="connsiteY43" fmla="*/ 526257 h 1090613"/>
                <a:gd name="connsiteX44" fmla="*/ 495300 w 783431"/>
                <a:gd name="connsiteY44" fmla="*/ 576263 h 1090613"/>
                <a:gd name="connsiteX45" fmla="*/ 507206 w 783431"/>
                <a:gd name="connsiteY45" fmla="*/ 581025 h 1090613"/>
                <a:gd name="connsiteX46" fmla="*/ 526256 w 783431"/>
                <a:gd name="connsiteY46" fmla="*/ 583407 h 1090613"/>
                <a:gd name="connsiteX47" fmla="*/ 554831 w 783431"/>
                <a:gd name="connsiteY47" fmla="*/ 583407 h 1090613"/>
                <a:gd name="connsiteX48" fmla="*/ 557212 w 783431"/>
                <a:gd name="connsiteY48" fmla="*/ 547688 h 1090613"/>
                <a:gd name="connsiteX49" fmla="*/ 545306 w 783431"/>
                <a:gd name="connsiteY49" fmla="*/ 502444 h 1090613"/>
                <a:gd name="connsiteX50" fmla="*/ 545306 w 783431"/>
                <a:gd name="connsiteY50" fmla="*/ 476250 h 1090613"/>
                <a:gd name="connsiteX51" fmla="*/ 581025 w 783431"/>
                <a:gd name="connsiteY51" fmla="*/ 454819 h 1090613"/>
                <a:gd name="connsiteX52" fmla="*/ 604837 w 783431"/>
                <a:gd name="connsiteY52" fmla="*/ 435769 h 1090613"/>
                <a:gd name="connsiteX53" fmla="*/ 640556 w 783431"/>
                <a:gd name="connsiteY53" fmla="*/ 414338 h 1090613"/>
                <a:gd name="connsiteX54" fmla="*/ 645319 w 783431"/>
                <a:gd name="connsiteY54" fmla="*/ 395288 h 1090613"/>
                <a:gd name="connsiteX55" fmla="*/ 633412 w 783431"/>
                <a:gd name="connsiteY55" fmla="*/ 371475 h 1090613"/>
                <a:gd name="connsiteX56" fmla="*/ 614362 w 783431"/>
                <a:gd name="connsiteY56" fmla="*/ 369094 h 1090613"/>
                <a:gd name="connsiteX57" fmla="*/ 609600 w 783431"/>
                <a:gd name="connsiteY57" fmla="*/ 366713 h 1090613"/>
                <a:gd name="connsiteX58" fmla="*/ 597694 w 783431"/>
                <a:gd name="connsiteY58" fmla="*/ 357188 h 1090613"/>
                <a:gd name="connsiteX59" fmla="*/ 611981 w 783431"/>
                <a:gd name="connsiteY59" fmla="*/ 345282 h 1090613"/>
                <a:gd name="connsiteX60" fmla="*/ 652462 w 783431"/>
                <a:gd name="connsiteY60" fmla="*/ 316707 h 1090613"/>
                <a:gd name="connsiteX61" fmla="*/ 678656 w 783431"/>
                <a:gd name="connsiteY61" fmla="*/ 264319 h 1090613"/>
                <a:gd name="connsiteX62" fmla="*/ 666750 w 783431"/>
                <a:gd name="connsiteY62" fmla="*/ 242888 h 1090613"/>
                <a:gd name="connsiteX63" fmla="*/ 638175 w 783431"/>
                <a:gd name="connsiteY63" fmla="*/ 219075 h 1090613"/>
                <a:gd name="connsiteX64" fmla="*/ 642937 w 783431"/>
                <a:gd name="connsiteY64" fmla="*/ 180975 h 1090613"/>
                <a:gd name="connsiteX65" fmla="*/ 673894 w 783431"/>
                <a:gd name="connsiteY65" fmla="*/ 171450 h 1090613"/>
                <a:gd name="connsiteX66" fmla="*/ 700087 w 783431"/>
                <a:gd name="connsiteY66" fmla="*/ 142875 h 1090613"/>
                <a:gd name="connsiteX67" fmla="*/ 700087 w 783431"/>
                <a:gd name="connsiteY67" fmla="*/ 111919 h 1090613"/>
                <a:gd name="connsiteX68" fmla="*/ 666750 w 783431"/>
                <a:gd name="connsiteY68" fmla="*/ 107157 h 1090613"/>
                <a:gd name="connsiteX69" fmla="*/ 645319 w 783431"/>
                <a:gd name="connsiteY69" fmla="*/ 102394 h 1090613"/>
                <a:gd name="connsiteX70" fmla="*/ 645319 w 783431"/>
                <a:gd name="connsiteY70" fmla="*/ 102394 h 1090613"/>
                <a:gd name="connsiteX71" fmla="*/ 678656 w 783431"/>
                <a:gd name="connsiteY71" fmla="*/ 69057 h 1090613"/>
                <a:gd name="connsiteX72" fmla="*/ 685800 w 783431"/>
                <a:gd name="connsiteY72" fmla="*/ 40482 h 1090613"/>
                <a:gd name="connsiteX73" fmla="*/ 678656 w 783431"/>
                <a:gd name="connsiteY73" fmla="*/ 21432 h 1090613"/>
                <a:gd name="connsiteX74" fmla="*/ 695325 w 783431"/>
                <a:gd name="connsiteY74" fmla="*/ 2382 h 1090613"/>
                <a:gd name="connsiteX75" fmla="*/ 628650 w 783431"/>
                <a:gd name="connsiteY75" fmla="*/ 0 h 1090613"/>
                <a:gd name="connsiteX76" fmla="*/ 552450 w 783431"/>
                <a:gd name="connsiteY76" fmla="*/ 52388 h 1090613"/>
                <a:gd name="connsiteX77" fmla="*/ 538162 w 783431"/>
                <a:gd name="connsiteY77" fmla="*/ 90488 h 1090613"/>
                <a:gd name="connsiteX78" fmla="*/ 445294 w 783431"/>
                <a:gd name="connsiteY78" fmla="*/ 126207 h 1090613"/>
                <a:gd name="connsiteX79" fmla="*/ 397669 w 783431"/>
                <a:gd name="connsiteY79" fmla="*/ 159544 h 1090613"/>
                <a:gd name="connsiteX80" fmla="*/ 376237 w 783431"/>
                <a:gd name="connsiteY80" fmla="*/ 190500 h 1090613"/>
                <a:gd name="connsiteX81" fmla="*/ 350044 w 783431"/>
                <a:gd name="connsiteY81" fmla="*/ 140494 h 1090613"/>
                <a:gd name="connsiteX82" fmla="*/ 316706 w 783431"/>
                <a:gd name="connsiteY82" fmla="*/ 140494 h 1090613"/>
                <a:gd name="connsiteX83" fmla="*/ 304800 w 783431"/>
                <a:gd name="connsiteY83" fmla="*/ 166688 h 1090613"/>
                <a:gd name="connsiteX84" fmla="*/ 280987 w 783431"/>
                <a:gd name="connsiteY84" fmla="*/ 230982 h 1090613"/>
                <a:gd name="connsiteX85" fmla="*/ 154781 w 783431"/>
                <a:gd name="connsiteY85" fmla="*/ 223838 h 1090613"/>
                <a:gd name="connsiteX86" fmla="*/ 140494 w 783431"/>
                <a:gd name="connsiteY86" fmla="*/ 245269 h 1090613"/>
                <a:gd name="connsiteX87" fmla="*/ 138112 w 783431"/>
                <a:gd name="connsiteY87" fmla="*/ 280988 h 1090613"/>
                <a:gd name="connsiteX88" fmla="*/ 66675 w 783431"/>
                <a:gd name="connsiteY88" fmla="*/ 309563 h 1090613"/>
                <a:gd name="connsiteX89" fmla="*/ 54769 w 783431"/>
                <a:gd name="connsiteY89" fmla="*/ 323850 h 1090613"/>
                <a:gd name="connsiteX90" fmla="*/ 66675 w 783431"/>
                <a:gd name="connsiteY90" fmla="*/ 381000 h 1090613"/>
                <a:gd name="connsiteX91" fmla="*/ 19050 w 783431"/>
                <a:gd name="connsiteY91" fmla="*/ 423863 h 1090613"/>
                <a:gd name="connsiteX92" fmla="*/ 26194 w 783431"/>
                <a:gd name="connsiteY92" fmla="*/ 490538 h 1090613"/>
                <a:gd name="connsiteX93" fmla="*/ 33337 w 783431"/>
                <a:gd name="connsiteY93" fmla="*/ 554832 h 1090613"/>
                <a:gd name="connsiteX94" fmla="*/ 0 w 783431"/>
                <a:gd name="connsiteY94" fmla="*/ 614363 h 1090613"/>
                <a:gd name="connsiteX0" fmla="*/ 0 w 783431"/>
                <a:gd name="connsiteY0" fmla="*/ 614363 h 1090613"/>
                <a:gd name="connsiteX1" fmla="*/ 21431 w 783431"/>
                <a:gd name="connsiteY1" fmla="*/ 661988 h 1090613"/>
                <a:gd name="connsiteX2" fmla="*/ 28575 w 783431"/>
                <a:gd name="connsiteY2" fmla="*/ 742950 h 1090613"/>
                <a:gd name="connsiteX3" fmla="*/ 76200 w 783431"/>
                <a:gd name="connsiteY3" fmla="*/ 814388 h 1090613"/>
                <a:gd name="connsiteX4" fmla="*/ 102394 w 783431"/>
                <a:gd name="connsiteY4" fmla="*/ 919163 h 1090613"/>
                <a:gd name="connsiteX5" fmla="*/ 116681 w 783431"/>
                <a:gd name="connsiteY5" fmla="*/ 947738 h 1090613"/>
                <a:gd name="connsiteX6" fmla="*/ 130969 w 783431"/>
                <a:gd name="connsiteY6" fmla="*/ 995363 h 1090613"/>
                <a:gd name="connsiteX7" fmla="*/ 150019 w 783431"/>
                <a:gd name="connsiteY7" fmla="*/ 1023938 h 1090613"/>
                <a:gd name="connsiteX8" fmla="*/ 159544 w 783431"/>
                <a:gd name="connsiteY8" fmla="*/ 1042988 h 1090613"/>
                <a:gd name="connsiteX9" fmla="*/ 197644 w 783431"/>
                <a:gd name="connsiteY9" fmla="*/ 1069182 h 1090613"/>
                <a:gd name="connsiteX10" fmla="*/ 245269 w 783431"/>
                <a:gd name="connsiteY10" fmla="*/ 1090613 h 1090613"/>
                <a:gd name="connsiteX11" fmla="*/ 319087 w 783431"/>
                <a:gd name="connsiteY11" fmla="*/ 1090613 h 1090613"/>
                <a:gd name="connsiteX12" fmla="*/ 604837 w 783431"/>
                <a:gd name="connsiteY12" fmla="*/ 1085850 h 1090613"/>
                <a:gd name="connsiteX13" fmla="*/ 585787 w 783431"/>
                <a:gd name="connsiteY13" fmla="*/ 1035844 h 1090613"/>
                <a:gd name="connsiteX14" fmla="*/ 607219 w 783431"/>
                <a:gd name="connsiteY14" fmla="*/ 1021557 h 1090613"/>
                <a:gd name="connsiteX15" fmla="*/ 645319 w 783431"/>
                <a:gd name="connsiteY15" fmla="*/ 1016794 h 1090613"/>
                <a:gd name="connsiteX16" fmla="*/ 685800 w 783431"/>
                <a:gd name="connsiteY16" fmla="*/ 997744 h 1090613"/>
                <a:gd name="connsiteX17" fmla="*/ 716756 w 783431"/>
                <a:gd name="connsiteY17" fmla="*/ 1002507 h 1090613"/>
                <a:gd name="connsiteX18" fmla="*/ 738187 w 783431"/>
                <a:gd name="connsiteY18" fmla="*/ 969169 h 1090613"/>
                <a:gd name="connsiteX19" fmla="*/ 783431 w 783431"/>
                <a:gd name="connsiteY19" fmla="*/ 933450 h 1090613"/>
                <a:gd name="connsiteX20" fmla="*/ 776287 w 783431"/>
                <a:gd name="connsiteY20" fmla="*/ 907257 h 1090613"/>
                <a:gd name="connsiteX21" fmla="*/ 752475 w 783431"/>
                <a:gd name="connsiteY21" fmla="*/ 888207 h 1090613"/>
                <a:gd name="connsiteX22" fmla="*/ 752475 w 783431"/>
                <a:gd name="connsiteY22" fmla="*/ 864394 h 1090613"/>
                <a:gd name="connsiteX23" fmla="*/ 728662 w 783431"/>
                <a:gd name="connsiteY23" fmla="*/ 852488 h 1090613"/>
                <a:gd name="connsiteX24" fmla="*/ 711994 w 783431"/>
                <a:gd name="connsiteY24" fmla="*/ 802482 h 1090613"/>
                <a:gd name="connsiteX25" fmla="*/ 688181 w 783431"/>
                <a:gd name="connsiteY25" fmla="*/ 814388 h 1090613"/>
                <a:gd name="connsiteX26" fmla="*/ 659606 w 783431"/>
                <a:gd name="connsiteY26" fmla="*/ 814388 h 1090613"/>
                <a:gd name="connsiteX27" fmla="*/ 647700 w 783431"/>
                <a:gd name="connsiteY27" fmla="*/ 847725 h 1090613"/>
                <a:gd name="connsiteX28" fmla="*/ 623887 w 783431"/>
                <a:gd name="connsiteY28" fmla="*/ 847725 h 1090613"/>
                <a:gd name="connsiteX29" fmla="*/ 576262 w 783431"/>
                <a:gd name="connsiteY29" fmla="*/ 828675 h 1090613"/>
                <a:gd name="connsiteX30" fmla="*/ 554831 w 783431"/>
                <a:gd name="connsiteY30" fmla="*/ 816769 h 1090613"/>
                <a:gd name="connsiteX31" fmla="*/ 547687 w 783431"/>
                <a:gd name="connsiteY31" fmla="*/ 783432 h 1090613"/>
                <a:gd name="connsiteX32" fmla="*/ 561975 w 783431"/>
                <a:gd name="connsiteY32" fmla="*/ 754857 h 1090613"/>
                <a:gd name="connsiteX33" fmla="*/ 533400 w 783431"/>
                <a:gd name="connsiteY33" fmla="*/ 733425 h 1090613"/>
                <a:gd name="connsiteX34" fmla="*/ 509587 w 783431"/>
                <a:gd name="connsiteY34" fmla="*/ 711994 h 1090613"/>
                <a:gd name="connsiteX35" fmla="*/ 473869 w 783431"/>
                <a:gd name="connsiteY35" fmla="*/ 711994 h 1090613"/>
                <a:gd name="connsiteX36" fmla="*/ 435769 w 783431"/>
                <a:gd name="connsiteY36" fmla="*/ 711994 h 1090613"/>
                <a:gd name="connsiteX37" fmla="*/ 438150 w 783431"/>
                <a:gd name="connsiteY37" fmla="*/ 669132 h 1090613"/>
                <a:gd name="connsiteX38" fmla="*/ 428625 w 783431"/>
                <a:gd name="connsiteY38" fmla="*/ 642938 h 1090613"/>
                <a:gd name="connsiteX39" fmla="*/ 423862 w 783431"/>
                <a:gd name="connsiteY39" fmla="*/ 607219 h 1090613"/>
                <a:gd name="connsiteX40" fmla="*/ 426244 w 783431"/>
                <a:gd name="connsiteY40" fmla="*/ 578644 h 1090613"/>
                <a:gd name="connsiteX41" fmla="*/ 440531 w 783431"/>
                <a:gd name="connsiteY41" fmla="*/ 566738 h 1090613"/>
                <a:gd name="connsiteX42" fmla="*/ 450056 w 783431"/>
                <a:gd name="connsiteY42" fmla="*/ 535782 h 1090613"/>
                <a:gd name="connsiteX43" fmla="*/ 457200 w 783431"/>
                <a:gd name="connsiteY43" fmla="*/ 519113 h 1090613"/>
                <a:gd name="connsiteX44" fmla="*/ 481012 w 783431"/>
                <a:gd name="connsiteY44" fmla="*/ 526257 h 1090613"/>
                <a:gd name="connsiteX45" fmla="*/ 495300 w 783431"/>
                <a:gd name="connsiteY45" fmla="*/ 576263 h 1090613"/>
                <a:gd name="connsiteX46" fmla="*/ 507206 w 783431"/>
                <a:gd name="connsiteY46" fmla="*/ 581025 h 1090613"/>
                <a:gd name="connsiteX47" fmla="*/ 526256 w 783431"/>
                <a:gd name="connsiteY47" fmla="*/ 583407 h 1090613"/>
                <a:gd name="connsiteX48" fmla="*/ 554831 w 783431"/>
                <a:gd name="connsiteY48" fmla="*/ 583407 h 1090613"/>
                <a:gd name="connsiteX49" fmla="*/ 557212 w 783431"/>
                <a:gd name="connsiteY49" fmla="*/ 547688 h 1090613"/>
                <a:gd name="connsiteX50" fmla="*/ 545306 w 783431"/>
                <a:gd name="connsiteY50" fmla="*/ 502444 h 1090613"/>
                <a:gd name="connsiteX51" fmla="*/ 545306 w 783431"/>
                <a:gd name="connsiteY51" fmla="*/ 476250 h 1090613"/>
                <a:gd name="connsiteX52" fmla="*/ 581025 w 783431"/>
                <a:gd name="connsiteY52" fmla="*/ 454819 h 1090613"/>
                <a:gd name="connsiteX53" fmla="*/ 604837 w 783431"/>
                <a:gd name="connsiteY53" fmla="*/ 435769 h 1090613"/>
                <a:gd name="connsiteX54" fmla="*/ 640556 w 783431"/>
                <a:gd name="connsiteY54" fmla="*/ 414338 h 1090613"/>
                <a:gd name="connsiteX55" fmla="*/ 645319 w 783431"/>
                <a:gd name="connsiteY55" fmla="*/ 395288 h 1090613"/>
                <a:gd name="connsiteX56" fmla="*/ 633412 w 783431"/>
                <a:gd name="connsiteY56" fmla="*/ 371475 h 1090613"/>
                <a:gd name="connsiteX57" fmla="*/ 614362 w 783431"/>
                <a:gd name="connsiteY57" fmla="*/ 369094 h 1090613"/>
                <a:gd name="connsiteX58" fmla="*/ 609600 w 783431"/>
                <a:gd name="connsiteY58" fmla="*/ 366713 h 1090613"/>
                <a:gd name="connsiteX59" fmla="*/ 597694 w 783431"/>
                <a:gd name="connsiteY59" fmla="*/ 357188 h 1090613"/>
                <a:gd name="connsiteX60" fmla="*/ 611981 w 783431"/>
                <a:gd name="connsiteY60" fmla="*/ 345282 h 1090613"/>
                <a:gd name="connsiteX61" fmla="*/ 652462 w 783431"/>
                <a:gd name="connsiteY61" fmla="*/ 316707 h 1090613"/>
                <a:gd name="connsiteX62" fmla="*/ 678656 w 783431"/>
                <a:gd name="connsiteY62" fmla="*/ 264319 h 1090613"/>
                <a:gd name="connsiteX63" fmla="*/ 666750 w 783431"/>
                <a:gd name="connsiteY63" fmla="*/ 242888 h 1090613"/>
                <a:gd name="connsiteX64" fmla="*/ 638175 w 783431"/>
                <a:gd name="connsiteY64" fmla="*/ 219075 h 1090613"/>
                <a:gd name="connsiteX65" fmla="*/ 642937 w 783431"/>
                <a:gd name="connsiteY65" fmla="*/ 180975 h 1090613"/>
                <a:gd name="connsiteX66" fmla="*/ 673894 w 783431"/>
                <a:gd name="connsiteY66" fmla="*/ 171450 h 1090613"/>
                <a:gd name="connsiteX67" fmla="*/ 700087 w 783431"/>
                <a:gd name="connsiteY67" fmla="*/ 142875 h 1090613"/>
                <a:gd name="connsiteX68" fmla="*/ 700087 w 783431"/>
                <a:gd name="connsiteY68" fmla="*/ 111919 h 1090613"/>
                <a:gd name="connsiteX69" fmla="*/ 666750 w 783431"/>
                <a:gd name="connsiteY69" fmla="*/ 107157 h 1090613"/>
                <a:gd name="connsiteX70" fmla="*/ 645319 w 783431"/>
                <a:gd name="connsiteY70" fmla="*/ 102394 h 1090613"/>
                <a:gd name="connsiteX71" fmla="*/ 645319 w 783431"/>
                <a:gd name="connsiteY71" fmla="*/ 102394 h 1090613"/>
                <a:gd name="connsiteX72" fmla="*/ 678656 w 783431"/>
                <a:gd name="connsiteY72" fmla="*/ 69057 h 1090613"/>
                <a:gd name="connsiteX73" fmla="*/ 685800 w 783431"/>
                <a:gd name="connsiteY73" fmla="*/ 40482 h 1090613"/>
                <a:gd name="connsiteX74" fmla="*/ 678656 w 783431"/>
                <a:gd name="connsiteY74" fmla="*/ 21432 h 1090613"/>
                <a:gd name="connsiteX75" fmla="*/ 695325 w 783431"/>
                <a:gd name="connsiteY75" fmla="*/ 2382 h 1090613"/>
                <a:gd name="connsiteX76" fmla="*/ 628650 w 783431"/>
                <a:gd name="connsiteY76" fmla="*/ 0 h 1090613"/>
                <a:gd name="connsiteX77" fmla="*/ 552450 w 783431"/>
                <a:gd name="connsiteY77" fmla="*/ 52388 h 1090613"/>
                <a:gd name="connsiteX78" fmla="*/ 538162 w 783431"/>
                <a:gd name="connsiteY78" fmla="*/ 90488 h 1090613"/>
                <a:gd name="connsiteX79" fmla="*/ 445294 w 783431"/>
                <a:gd name="connsiteY79" fmla="*/ 126207 h 1090613"/>
                <a:gd name="connsiteX80" fmla="*/ 397669 w 783431"/>
                <a:gd name="connsiteY80" fmla="*/ 159544 h 1090613"/>
                <a:gd name="connsiteX81" fmla="*/ 376237 w 783431"/>
                <a:gd name="connsiteY81" fmla="*/ 190500 h 1090613"/>
                <a:gd name="connsiteX82" fmla="*/ 350044 w 783431"/>
                <a:gd name="connsiteY82" fmla="*/ 140494 h 1090613"/>
                <a:gd name="connsiteX83" fmla="*/ 316706 w 783431"/>
                <a:gd name="connsiteY83" fmla="*/ 140494 h 1090613"/>
                <a:gd name="connsiteX84" fmla="*/ 304800 w 783431"/>
                <a:gd name="connsiteY84" fmla="*/ 166688 h 1090613"/>
                <a:gd name="connsiteX85" fmla="*/ 280987 w 783431"/>
                <a:gd name="connsiteY85" fmla="*/ 230982 h 1090613"/>
                <a:gd name="connsiteX86" fmla="*/ 154781 w 783431"/>
                <a:gd name="connsiteY86" fmla="*/ 223838 h 1090613"/>
                <a:gd name="connsiteX87" fmla="*/ 140494 w 783431"/>
                <a:gd name="connsiteY87" fmla="*/ 245269 h 1090613"/>
                <a:gd name="connsiteX88" fmla="*/ 138112 w 783431"/>
                <a:gd name="connsiteY88" fmla="*/ 280988 h 1090613"/>
                <a:gd name="connsiteX89" fmla="*/ 66675 w 783431"/>
                <a:gd name="connsiteY89" fmla="*/ 309563 h 1090613"/>
                <a:gd name="connsiteX90" fmla="*/ 54769 w 783431"/>
                <a:gd name="connsiteY90" fmla="*/ 323850 h 1090613"/>
                <a:gd name="connsiteX91" fmla="*/ 66675 w 783431"/>
                <a:gd name="connsiteY91" fmla="*/ 381000 h 1090613"/>
                <a:gd name="connsiteX92" fmla="*/ 19050 w 783431"/>
                <a:gd name="connsiteY92" fmla="*/ 423863 h 1090613"/>
                <a:gd name="connsiteX93" fmla="*/ 26194 w 783431"/>
                <a:gd name="connsiteY93" fmla="*/ 490538 h 1090613"/>
                <a:gd name="connsiteX94" fmla="*/ 33337 w 783431"/>
                <a:gd name="connsiteY94" fmla="*/ 554832 h 1090613"/>
                <a:gd name="connsiteX95" fmla="*/ 0 w 783431"/>
                <a:gd name="connsiteY95" fmla="*/ 614363 h 1090613"/>
                <a:gd name="connsiteX0" fmla="*/ 0 w 783431"/>
                <a:gd name="connsiteY0" fmla="*/ 614363 h 1131094"/>
                <a:gd name="connsiteX1" fmla="*/ 21431 w 783431"/>
                <a:gd name="connsiteY1" fmla="*/ 661988 h 1131094"/>
                <a:gd name="connsiteX2" fmla="*/ 28575 w 783431"/>
                <a:gd name="connsiteY2" fmla="*/ 742950 h 1131094"/>
                <a:gd name="connsiteX3" fmla="*/ 76200 w 783431"/>
                <a:gd name="connsiteY3" fmla="*/ 814388 h 1131094"/>
                <a:gd name="connsiteX4" fmla="*/ 102394 w 783431"/>
                <a:gd name="connsiteY4" fmla="*/ 919163 h 1131094"/>
                <a:gd name="connsiteX5" fmla="*/ 116681 w 783431"/>
                <a:gd name="connsiteY5" fmla="*/ 947738 h 1131094"/>
                <a:gd name="connsiteX6" fmla="*/ 130969 w 783431"/>
                <a:gd name="connsiteY6" fmla="*/ 995363 h 1131094"/>
                <a:gd name="connsiteX7" fmla="*/ 150019 w 783431"/>
                <a:gd name="connsiteY7" fmla="*/ 1023938 h 1131094"/>
                <a:gd name="connsiteX8" fmla="*/ 159544 w 783431"/>
                <a:gd name="connsiteY8" fmla="*/ 1042988 h 1131094"/>
                <a:gd name="connsiteX9" fmla="*/ 197644 w 783431"/>
                <a:gd name="connsiteY9" fmla="*/ 1069182 h 1131094"/>
                <a:gd name="connsiteX10" fmla="*/ 245269 w 783431"/>
                <a:gd name="connsiteY10" fmla="*/ 1090613 h 1131094"/>
                <a:gd name="connsiteX11" fmla="*/ 264318 w 783431"/>
                <a:gd name="connsiteY11" fmla="*/ 1131094 h 1131094"/>
                <a:gd name="connsiteX12" fmla="*/ 604837 w 783431"/>
                <a:gd name="connsiteY12" fmla="*/ 1085850 h 1131094"/>
                <a:gd name="connsiteX13" fmla="*/ 585787 w 783431"/>
                <a:gd name="connsiteY13" fmla="*/ 1035844 h 1131094"/>
                <a:gd name="connsiteX14" fmla="*/ 607219 w 783431"/>
                <a:gd name="connsiteY14" fmla="*/ 1021557 h 1131094"/>
                <a:gd name="connsiteX15" fmla="*/ 645319 w 783431"/>
                <a:gd name="connsiteY15" fmla="*/ 1016794 h 1131094"/>
                <a:gd name="connsiteX16" fmla="*/ 685800 w 783431"/>
                <a:gd name="connsiteY16" fmla="*/ 997744 h 1131094"/>
                <a:gd name="connsiteX17" fmla="*/ 716756 w 783431"/>
                <a:gd name="connsiteY17" fmla="*/ 1002507 h 1131094"/>
                <a:gd name="connsiteX18" fmla="*/ 738187 w 783431"/>
                <a:gd name="connsiteY18" fmla="*/ 969169 h 1131094"/>
                <a:gd name="connsiteX19" fmla="*/ 783431 w 783431"/>
                <a:gd name="connsiteY19" fmla="*/ 933450 h 1131094"/>
                <a:gd name="connsiteX20" fmla="*/ 776287 w 783431"/>
                <a:gd name="connsiteY20" fmla="*/ 907257 h 1131094"/>
                <a:gd name="connsiteX21" fmla="*/ 752475 w 783431"/>
                <a:gd name="connsiteY21" fmla="*/ 888207 h 1131094"/>
                <a:gd name="connsiteX22" fmla="*/ 752475 w 783431"/>
                <a:gd name="connsiteY22" fmla="*/ 864394 h 1131094"/>
                <a:gd name="connsiteX23" fmla="*/ 728662 w 783431"/>
                <a:gd name="connsiteY23" fmla="*/ 852488 h 1131094"/>
                <a:gd name="connsiteX24" fmla="*/ 711994 w 783431"/>
                <a:gd name="connsiteY24" fmla="*/ 802482 h 1131094"/>
                <a:gd name="connsiteX25" fmla="*/ 688181 w 783431"/>
                <a:gd name="connsiteY25" fmla="*/ 814388 h 1131094"/>
                <a:gd name="connsiteX26" fmla="*/ 659606 w 783431"/>
                <a:gd name="connsiteY26" fmla="*/ 814388 h 1131094"/>
                <a:gd name="connsiteX27" fmla="*/ 647700 w 783431"/>
                <a:gd name="connsiteY27" fmla="*/ 847725 h 1131094"/>
                <a:gd name="connsiteX28" fmla="*/ 623887 w 783431"/>
                <a:gd name="connsiteY28" fmla="*/ 847725 h 1131094"/>
                <a:gd name="connsiteX29" fmla="*/ 576262 w 783431"/>
                <a:gd name="connsiteY29" fmla="*/ 828675 h 1131094"/>
                <a:gd name="connsiteX30" fmla="*/ 554831 w 783431"/>
                <a:gd name="connsiteY30" fmla="*/ 816769 h 1131094"/>
                <a:gd name="connsiteX31" fmla="*/ 547687 w 783431"/>
                <a:gd name="connsiteY31" fmla="*/ 783432 h 1131094"/>
                <a:gd name="connsiteX32" fmla="*/ 561975 w 783431"/>
                <a:gd name="connsiteY32" fmla="*/ 754857 h 1131094"/>
                <a:gd name="connsiteX33" fmla="*/ 533400 w 783431"/>
                <a:gd name="connsiteY33" fmla="*/ 733425 h 1131094"/>
                <a:gd name="connsiteX34" fmla="*/ 509587 w 783431"/>
                <a:gd name="connsiteY34" fmla="*/ 711994 h 1131094"/>
                <a:gd name="connsiteX35" fmla="*/ 473869 w 783431"/>
                <a:gd name="connsiteY35" fmla="*/ 711994 h 1131094"/>
                <a:gd name="connsiteX36" fmla="*/ 435769 w 783431"/>
                <a:gd name="connsiteY36" fmla="*/ 711994 h 1131094"/>
                <a:gd name="connsiteX37" fmla="*/ 438150 w 783431"/>
                <a:gd name="connsiteY37" fmla="*/ 669132 h 1131094"/>
                <a:gd name="connsiteX38" fmla="*/ 428625 w 783431"/>
                <a:gd name="connsiteY38" fmla="*/ 642938 h 1131094"/>
                <a:gd name="connsiteX39" fmla="*/ 423862 w 783431"/>
                <a:gd name="connsiteY39" fmla="*/ 607219 h 1131094"/>
                <a:gd name="connsiteX40" fmla="*/ 426244 w 783431"/>
                <a:gd name="connsiteY40" fmla="*/ 578644 h 1131094"/>
                <a:gd name="connsiteX41" fmla="*/ 440531 w 783431"/>
                <a:gd name="connsiteY41" fmla="*/ 566738 h 1131094"/>
                <a:gd name="connsiteX42" fmla="*/ 450056 w 783431"/>
                <a:gd name="connsiteY42" fmla="*/ 535782 h 1131094"/>
                <a:gd name="connsiteX43" fmla="*/ 457200 w 783431"/>
                <a:gd name="connsiteY43" fmla="*/ 519113 h 1131094"/>
                <a:gd name="connsiteX44" fmla="*/ 481012 w 783431"/>
                <a:gd name="connsiteY44" fmla="*/ 526257 h 1131094"/>
                <a:gd name="connsiteX45" fmla="*/ 495300 w 783431"/>
                <a:gd name="connsiteY45" fmla="*/ 576263 h 1131094"/>
                <a:gd name="connsiteX46" fmla="*/ 507206 w 783431"/>
                <a:gd name="connsiteY46" fmla="*/ 581025 h 1131094"/>
                <a:gd name="connsiteX47" fmla="*/ 526256 w 783431"/>
                <a:gd name="connsiteY47" fmla="*/ 583407 h 1131094"/>
                <a:gd name="connsiteX48" fmla="*/ 554831 w 783431"/>
                <a:gd name="connsiteY48" fmla="*/ 583407 h 1131094"/>
                <a:gd name="connsiteX49" fmla="*/ 557212 w 783431"/>
                <a:gd name="connsiteY49" fmla="*/ 547688 h 1131094"/>
                <a:gd name="connsiteX50" fmla="*/ 545306 w 783431"/>
                <a:gd name="connsiteY50" fmla="*/ 502444 h 1131094"/>
                <a:gd name="connsiteX51" fmla="*/ 545306 w 783431"/>
                <a:gd name="connsiteY51" fmla="*/ 476250 h 1131094"/>
                <a:gd name="connsiteX52" fmla="*/ 581025 w 783431"/>
                <a:gd name="connsiteY52" fmla="*/ 454819 h 1131094"/>
                <a:gd name="connsiteX53" fmla="*/ 604837 w 783431"/>
                <a:gd name="connsiteY53" fmla="*/ 435769 h 1131094"/>
                <a:gd name="connsiteX54" fmla="*/ 640556 w 783431"/>
                <a:gd name="connsiteY54" fmla="*/ 414338 h 1131094"/>
                <a:gd name="connsiteX55" fmla="*/ 645319 w 783431"/>
                <a:gd name="connsiteY55" fmla="*/ 395288 h 1131094"/>
                <a:gd name="connsiteX56" fmla="*/ 633412 w 783431"/>
                <a:gd name="connsiteY56" fmla="*/ 371475 h 1131094"/>
                <a:gd name="connsiteX57" fmla="*/ 614362 w 783431"/>
                <a:gd name="connsiteY57" fmla="*/ 369094 h 1131094"/>
                <a:gd name="connsiteX58" fmla="*/ 609600 w 783431"/>
                <a:gd name="connsiteY58" fmla="*/ 366713 h 1131094"/>
                <a:gd name="connsiteX59" fmla="*/ 597694 w 783431"/>
                <a:gd name="connsiteY59" fmla="*/ 357188 h 1131094"/>
                <a:gd name="connsiteX60" fmla="*/ 611981 w 783431"/>
                <a:gd name="connsiteY60" fmla="*/ 345282 h 1131094"/>
                <a:gd name="connsiteX61" fmla="*/ 652462 w 783431"/>
                <a:gd name="connsiteY61" fmla="*/ 316707 h 1131094"/>
                <a:gd name="connsiteX62" fmla="*/ 678656 w 783431"/>
                <a:gd name="connsiteY62" fmla="*/ 264319 h 1131094"/>
                <a:gd name="connsiteX63" fmla="*/ 666750 w 783431"/>
                <a:gd name="connsiteY63" fmla="*/ 242888 h 1131094"/>
                <a:gd name="connsiteX64" fmla="*/ 638175 w 783431"/>
                <a:gd name="connsiteY64" fmla="*/ 219075 h 1131094"/>
                <a:gd name="connsiteX65" fmla="*/ 642937 w 783431"/>
                <a:gd name="connsiteY65" fmla="*/ 180975 h 1131094"/>
                <a:gd name="connsiteX66" fmla="*/ 673894 w 783431"/>
                <a:gd name="connsiteY66" fmla="*/ 171450 h 1131094"/>
                <a:gd name="connsiteX67" fmla="*/ 700087 w 783431"/>
                <a:gd name="connsiteY67" fmla="*/ 142875 h 1131094"/>
                <a:gd name="connsiteX68" fmla="*/ 700087 w 783431"/>
                <a:gd name="connsiteY68" fmla="*/ 111919 h 1131094"/>
                <a:gd name="connsiteX69" fmla="*/ 666750 w 783431"/>
                <a:gd name="connsiteY69" fmla="*/ 107157 h 1131094"/>
                <a:gd name="connsiteX70" fmla="*/ 645319 w 783431"/>
                <a:gd name="connsiteY70" fmla="*/ 102394 h 1131094"/>
                <a:gd name="connsiteX71" fmla="*/ 645319 w 783431"/>
                <a:gd name="connsiteY71" fmla="*/ 102394 h 1131094"/>
                <a:gd name="connsiteX72" fmla="*/ 678656 w 783431"/>
                <a:gd name="connsiteY72" fmla="*/ 69057 h 1131094"/>
                <a:gd name="connsiteX73" fmla="*/ 685800 w 783431"/>
                <a:gd name="connsiteY73" fmla="*/ 40482 h 1131094"/>
                <a:gd name="connsiteX74" fmla="*/ 678656 w 783431"/>
                <a:gd name="connsiteY74" fmla="*/ 21432 h 1131094"/>
                <a:gd name="connsiteX75" fmla="*/ 695325 w 783431"/>
                <a:gd name="connsiteY75" fmla="*/ 2382 h 1131094"/>
                <a:gd name="connsiteX76" fmla="*/ 628650 w 783431"/>
                <a:gd name="connsiteY76" fmla="*/ 0 h 1131094"/>
                <a:gd name="connsiteX77" fmla="*/ 552450 w 783431"/>
                <a:gd name="connsiteY77" fmla="*/ 52388 h 1131094"/>
                <a:gd name="connsiteX78" fmla="*/ 538162 w 783431"/>
                <a:gd name="connsiteY78" fmla="*/ 90488 h 1131094"/>
                <a:gd name="connsiteX79" fmla="*/ 445294 w 783431"/>
                <a:gd name="connsiteY79" fmla="*/ 126207 h 1131094"/>
                <a:gd name="connsiteX80" fmla="*/ 397669 w 783431"/>
                <a:gd name="connsiteY80" fmla="*/ 159544 h 1131094"/>
                <a:gd name="connsiteX81" fmla="*/ 376237 w 783431"/>
                <a:gd name="connsiteY81" fmla="*/ 190500 h 1131094"/>
                <a:gd name="connsiteX82" fmla="*/ 350044 w 783431"/>
                <a:gd name="connsiteY82" fmla="*/ 140494 h 1131094"/>
                <a:gd name="connsiteX83" fmla="*/ 316706 w 783431"/>
                <a:gd name="connsiteY83" fmla="*/ 140494 h 1131094"/>
                <a:gd name="connsiteX84" fmla="*/ 304800 w 783431"/>
                <a:gd name="connsiteY84" fmla="*/ 166688 h 1131094"/>
                <a:gd name="connsiteX85" fmla="*/ 280987 w 783431"/>
                <a:gd name="connsiteY85" fmla="*/ 230982 h 1131094"/>
                <a:gd name="connsiteX86" fmla="*/ 154781 w 783431"/>
                <a:gd name="connsiteY86" fmla="*/ 223838 h 1131094"/>
                <a:gd name="connsiteX87" fmla="*/ 140494 w 783431"/>
                <a:gd name="connsiteY87" fmla="*/ 245269 h 1131094"/>
                <a:gd name="connsiteX88" fmla="*/ 138112 w 783431"/>
                <a:gd name="connsiteY88" fmla="*/ 280988 h 1131094"/>
                <a:gd name="connsiteX89" fmla="*/ 66675 w 783431"/>
                <a:gd name="connsiteY89" fmla="*/ 309563 h 1131094"/>
                <a:gd name="connsiteX90" fmla="*/ 54769 w 783431"/>
                <a:gd name="connsiteY90" fmla="*/ 323850 h 1131094"/>
                <a:gd name="connsiteX91" fmla="*/ 66675 w 783431"/>
                <a:gd name="connsiteY91" fmla="*/ 381000 h 1131094"/>
                <a:gd name="connsiteX92" fmla="*/ 19050 w 783431"/>
                <a:gd name="connsiteY92" fmla="*/ 423863 h 1131094"/>
                <a:gd name="connsiteX93" fmla="*/ 26194 w 783431"/>
                <a:gd name="connsiteY93" fmla="*/ 490538 h 1131094"/>
                <a:gd name="connsiteX94" fmla="*/ 33337 w 783431"/>
                <a:gd name="connsiteY94" fmla="*/ 554832 h 1131094"/>
                <a:gd name="connsiteX95" fmla="*/ 0 w 783431"/>
                <a:gd name="connsiteY95" fmla="*/ 614363 h 1131094"/>
                <a:gd name="connsiteX0" fmla="*/ 0 w 783431"/>
                <a:gd name="connsiteY0" fmla="*/ 614363 h 1131094"/>
                <a:gd name="connsiteX1" fmla="*/ 21431 w 783431"/>
                <a:gd name="connsiteY1" fmla="*/ 661988 h 1131094"/>
                <a:gd name="connsiteX2" fmla="*/ 28575 w 783431"/>
                <a:gd name="connsiteY2" fmla="*/ 742950 h 1131094"/>
                <a:gd name="connsiteX3" fmla="*/ 76200 w 783431"/>
                <a:gd name="connsiteY3" fmla="*/ 814388 h 1131094"/>
                <a:gd name="connsiteX4" fmla="*/ 102394 w 783431"/>
                <a:gd name="connsiteY4" fmla="*/ 919163 h 1131094"/>
                <a:gd name="connsiteX5" fmla="*/ 116681 w 783431"/>
                <a:gd name="connsiteY5" fmla="*/ 947738 h 1131094"/>
                <a:gd name="connsiteX6" fmla="*/ 130969 w 783431"/>
                <a:gd name="connsiteY6" fmla="*/ 995363 h 1131094"/>
                <a:gd name="connsiteX7" fmla="*/ 150019 w 783431"/>
                <a:gd name="connsiteY7" fmla="*/ 1023938 h 1131094"/>
                <a:gd name="connsiteX8" fmla="*/ 159544 w 783431"/>
                <a:gd name="connsiteY8" fmla="*/ 1042988 h 1131094"/>
                <a:gd name="connsiteX9" fmla="*/ 197644 w 783431"/>
                <a:gd name="connsiteY9" fmla="*/ 1069182 h 1131094"/>
                <a:gd name="connsiteX10" fmla="*/ 245269 w 783431"/>
                <a:gd name="connsiteY10" fmla="*/ 1090613 h 1131094"/>
                <a:gd name="connsiteX11" fmla="*/ 264318 w 783431"/>
                <a:gd name="connsiteY11" fmla="*/ 1131094 h 1131094"/>
                <a:gd name="connsiteX12" fmla="*/ 323850 w 783431"/>
                <a:gd name="connsiteY12" fmla="*/ 1123949 h 1131094"/>
                <a:gd name="connsiteX13" fmla="*/ 604837 w 783431"/>
                <a:gd name="connsiteY13" fmla="*/ 1085850 h 1131094"/>
                <a:gd name="connsiteX14" fmla="*/ 585787 w 783431"/>
                <a:gd name="connsiteY14" fmla="*/ 1035844 h 1131094"/>
                <a:gd name="connsiteX15" fmla="*/ 607219 w 783431"/>
                <a:gd name="connsiteY15" fmla="*/ 1021557 h 1131094"/>
                <a:gd name="connsiteX16" fmla="*/ 645319 w 783431"/>
                <a:gd name="connsiteY16" fmla="*/ 1016794 h 1131094"/>
                <a:gd name="connsiteX17" fmla="*/ 685800 w 783431"/>
                <a:gd name="connsiteY17" fmla="*/ 997744 h 1131094"/>
                <a:gd name="connsiteX18" fmla="*/ 716756 w 783431"/>
                <a:gd name="connsiteY18" fmla="*/ 1002507 h 1131094"/>
                <a:gd name="connsiteX19" fmla="*/ 738187 w 783431"/>
                <a:gd name="connsiteY19" fmla="*/ 969169 h 1131094"/>
                <a:gd name="connsiteX20" fmla="*/ 783431 w 783431"/>
                <a:gd name="connsiteY20" fmla="*/ 933450 h 1131094"/>
                <a:gd name="connsiteX21" fmla="*/ 776287 w 783431"/>
                <a:gd name="connsiteY21" fmla="*/ 907257 h 1131094"/>
                <a:gd name="connsiteX22" fmla="*/ 752475 w 783431"/>
                <a:gd name="connsiteY22" fmla="*/ 888207 h 1131094"/>
                <a:gd name="connsiteX23" fmla="*/ 752475 w 783431"/>
                <a:gd name="connsiteY23" fmla="*/ 864394 h 1131094"/>
                <a:gd name="connsiteX24" fmla="*/ 728662 w 783431"/>
                <a:gd name="connsiteY24" fmla="*/ 852488 h 1131094"/>
                <a:gd name="connsiteX25" fmla="*/ 711994 w 783431"/>
                <a:gd name="connsiteY25" fmla="*/ 802482 h 1131094"/>
                <a:gd name="connsiteX26" fmla="*/ 688181 w 783431"/>
                <a:gd name="connsiteY26" fmla="*/ 814388 h 1131094"/>
                <a:gd name="connsiteX27" fmla="*/ 659606 w 783431"/>
                <a:gd name="connsiteY27" fmla="*/ 814388 h 1131094"/>
                <a:gd name="connsiteX28" fmla="*/ 647700 w 783431"/>
                <a:gd name="connsiteY28" fmla="*/ 847725 h 1131094"/>
                <a:gd name="connsiteX29" fmla="*/ 623887 w 783431"/>
                <a:gd name="connsiteY29" fmla="*/ 847725 h 1131094"/>
                <a:gd name="connsiteX30" fmla="*/ 576262 w 783431"/>
                <a:gd name="connsiteY30" fmla="*/ 828675 h 1131094"/>
                <a:gd name="connsiteX31" fmla="*/ 554831 w 783431"/>
                <a:gd name="connsiteY31" fmla="*/ 816769 h 1131094"/>
                <a:gd name="connsiteX32" fmla="*/ 547687 w 783431"/>
                <a:gd name="connsiteY32" fmla="*/ 783432 h 1131094"/>
                <a:gd name="connsiteX33" fmla="*/ 561975 w 783431"/>
                <a:gd name="connsiteY33" fmla="*/ 754857 h 1131094"/>
                <a:gd name="connsiteX34" fmla="*/ 533400 w 783431"/>
                <a:gd name="connsiteY34" fmla="*/ 733425 h 1131094"/>
                <a:gd name="connsiteX35" fmla="*/ 509587 w 783431"/>
                <a:gd name="connsiteY35" fmla="*/ 711994 h 1131094"/>
                <a:gd name="connsiteX36" fmla="*/ 473869 w 783431"/>
                <a:gd name="connsiteY36" fmla="*/ 711994 h 1131094"/>
                <a:gd name="connsiteX37" fmla="*/ 435769 w 783431"/>
                <a:gd name="connsiteY37" fmla="*/ 711994 h 1131094"/>
                <a:gd name="connsiteX38" fmla="*/ 438150 w 783431"/>
                <a:gd name="connsiteY38" fmla="*/ 669132 h 1131094"/>
                <a:gd name="connsiteX39" fmla="*/ 428625 w 783431"/>
                <a:gd name="connsiteY39" fmla="*/ 642938 h 1131094"/>
                <a:gd name="connsiteX40" fmla="*/ 423862 w 783431"/>
                <a:gd name="connsiteY40" fmla="*/ 607219 h 1131094"/>
                <a:gd name="connsiteX41" fmla="*/ 426244 w 783431"/>
                <a:gd name="connsiteY41" fmla="*/ 578644 h 1131094"/>
                <a:gd name="connsiteX42" fmla="*/ 440531 w 783431"/>
                <a:gd name="connsiteY42" fmla="*/ 566738 h 1131094"/>
                <a:gd name="connsiteX43" fmla="*/ 450056 w 783431"/>
                <a:gd name="connsiteY43" fmla="*/ 535782 h 1131094"/>
                <a:gd name="connsiteX44" fmla="*/ 457200 w 783431"/>
                <a:gd name="connsiteY44" fmla="*/ 519113 h 1131094"/>
                <a:gd name="connsiteX45" fmla="*/ 481012 w 783431"/>
                <a:gd name="connsiteY45" fmla="*/ 526257 h 1131094"/>
                <a:gd name="connsiteX46" fmla="*/ 495300 w 783431"/>
                <a:gd name="connsiteY46" fmla="*/ 576263 h 1131094"/>
                <a:gd name="connsiteX47" fmla="*/ 507206 w 783431"/>
                <a:gd name="connsiteY47" fmla="*/ 581025 h 1131094"/>
                <a:gd name="connsiteX48" fmla="*/ 526256 w 783431"/>
                <a:gd name="connsiteY48" fmla="*/ 583407 h 1131094"/>
                <a:gd name="connsiteX49" fmla="*/ 554831 w 783431"/>
                <a:gd name="connsiteY49" fmla="*/ 583407 h 1131094"/>
                <a:gd name="connsiteX50" fmla="*/ 557212 w 783431"/>
                <a:gd name="connsiteY50" fmla="*/ 547688 h 1131094"/>
                <a:gd name="connsiteX51" fmla="*/ 545306 w 783431"/>
                <a:gd name="connsiteY51" fmla="*/ 502444 h 1131094"/>
                <a:gd name="connsiteX52" fmla="*/ 545306 w 783431"/>
                <a:gd name="connsiteY52" fmla="*/ 476250 h 1131094"/>
                <a:gd name="connsiteX53" fmla="*/ 581025 w 783431"/>
                <a:gd name="connsiteY53" fmla="*/ 454819 h 1131094"/>
                <a:gd name="connsiteX54" fmla="*/ 604837 w 783431"/>
                <a:gd name="connsiteY54" fmla="*/ 435769 h 1131094"/>
                <a:gd name="connsiteX55" fmla="*/ 640556 w 783431"/>
                <a:gd name="connsiteY55" fmla="*/ 414338 h 1131094"/>
                <a:gd name="connsiteX56" fmla="*/ 645319 w 783431"/>
                <a:gd name="connsiteY56" fmla="*/ 395288 h 1131094"/>
                <a:gd name="connsiteX57" fmla="*/ 633412 w 783431"/>
                <a:gd name="connsiteY57" fmla="*/ 371475 h 1131094"/>
                <a:gd name="connsiteX58" fmla="*/ 614362 w 783431"/>
                <a:gd name="connsiteY58" fmla="*/ 369094 h 1131094"/>
                <a:gd name="connsiteX59" fmla="*/ 609600 w 783431"/>
                <a:gd name="connsiteY59" fmla="*/ 366713 h 1131094"/>
                <a:gd name="connsiteX60" fmla="*/ 597694 w 783431"/>
                <a:gd name="connsiteY60" fmla="*/ 357188 h 1131094"/>
                <a:gd name="connsiteX61" fmla="*/ 611981 w 783431"/>
                <a:gd name="connsiteY61" fmla="*/ 345282 h 1131094"/>
                <a:gd name="connsiteX62" fmla="*/ 652462 w 783431"/>
                <a:gd name="connsiteY62" fmla="*/ 316707 h 1131094"/>
                <a:gd name="connsiteX63" fmla="*/ 678656 w 783431"/>
                <a:gd name="connsiteY63" fmla="*/ 264319 h 1131094"/>
                <a:gd name="connsiteX64" fmla="*/ 666750 w 783431"/>
                <a:gd name="connsiteY64" fmla="*/ 242888 h 1131094"/>
                <a:gd name="connsiteX65" fmla="*/ 638175 w 783431"/>
                <a:gd name="connsiteY65" fmla="*/ 219075 h 1131094"/>
                <a:gd name="connsiteX66" fmla="*/ 642937 w 783431"/>
                <a:gd name="connsiteY66" fmla="*/ 180975 h 1131094"/>
                <a:gd name="connsiteX67" fmla="*/ 673894 w 783431"/>
                <a:gd name="connsiteY67" fmla="*/ 171450 h 1131094"/>
                <a:gd name="connsiteX68" fmla="*/ 700087 w 783431"/>
                <a:gd name="connsiteY68" fmla="*/ 142875 h 1131094"/>
                <a:gd name="connsiteX69" fmla="*/ 700087 w 783431"/>
                <a:gd name="connsiteY69" fmla="*/ 111919 h 1131094"/>
                <a:gd name="connsiteX70" fmla="*/ 666750 w 783431"/>
                <a:gd name="connsiteY70" fmla="*/ 107157 h 1131094"/>
                <a:gd name="connsiteX71" fmla="*/ 645319 w 783431"/>
                <a:gd name="connsiteY71" fmla="*/ 102394 h 1131094"/>
                <a:gd name="connsiteX72" fmla="*/ 645319 w 783431"/>
                <a:gd name="connsiteY72" fmla="*/ 102394 h 1131094"/>
                <a:gd name="connsiteX73" fmla="*/ 678656 w 783431"/>
                <a:gd name="connsiteY73" fmla="*/ 69057 h 1131094"/>
                <a:gd name="connsiteX74" fmla="*/ 685800 w 783431"/>
                <a:gd name="connsiteY74" fmla="*/ 40482 h 1131094"/>
                <a:gd name="connsiteX75" fmla="*/ 678656 w 783431"/>
                <a:gd name="connsiteY75" fmla="*/ 21432 h 1131094"/>
                <a:gd name="connsiteX76" fmla="*/ 695325 w 783431"/>
                <a:gd name="connsiteY76" fmla="*/ 2382 h 1131094"/>
                <a:gd name="connsiteX77" fmla="*/ 628650 w 783431"/>
                <a:gd name="connsiteY77" fmla="*/ 0 h 1131094"/>
                <a:gd name="connsiteX78" fmla="*/ 552450 w 783431"/>
                <a:gd name="connsiteY78" fmla="*/ 52388 h 1131094"/>
                <a:gd name="connsiteX79" fmla="*/ 538162 w 783431"/>
                <a:gd name="connsiteY79" fmla="*/ 90488 h 1131094"/>
                <a:gd name="connsiteX80" fmla="*/ 445294 w 783431"/>
                <a:gd name="connsiteY80" fmla="*/ 126207 h 1131094"/>
                <a:gd name="connsiteX81" fmla="*/ 397669 w 783431"/>
                <a:gd name="connsiteY81" fmla="*/ 159544 h 1131094"/>
                <a:gd name="connsiteX82" fmla="*/ 376237 w 783431"/>
                <a:gd name="connsiteY82" fmla="*/ 190500 h 1131094"/>
                <a:gd name="connsiteX83" fmla="*/ 350044 w 783431"/>
                <a:gd name="connsiteY83" fmla="*/ 140494 h 1131094"/>
                <a:gd name="connsiteX84" fmla="*/ 316706 w 783431"/>
                <a:gd name="connsiteY84" fmla="*/ 140494 h 1131094"/>
                <a:gd name="connsiteX85" fmla="*/ 304800 w 783431"/>
                <a:gd name="connsiteY85" fmla="*/ 166688 h 1131094"/>
                <a:gd name="connsiteX86" fmla="*/ 280987 w 783431"/>
                <a:gd name="connsiteY86" fmla="*/ 230982 h 1131094"/>
                <a:gd name="connsiteX87" fmla="*/ 154781 w 783431"/>
                <a:gd name="connsiteY87" fmla="*/ 223838 h 1131094"/>
                <a:gd name="connsiteX88" fmla="*/ 140494 w 783431"/>
                <a:gd name="connsiteY88" fmla="*/ 245269 h 1131094"/>
                <a:gd name="connsiteX89" fmla="*/ 138112 w 783431"/>
                <a:gd name="connsiteY89" fmla="*/ 280988 h 1131094"/>
                <a:gd name="connsiteX90" fmla="*/ 66675 w 783431"/>
                <a:gd name="connsiteY90" fmla="*/ 309563 h 1131094"/>
                <a:gd name="connsiteX91" fmla="*/ 54769 w 783431"/>
                <a:gd name="connsiteY91" fmla="*/ 323850 h 1131094"/>
                <a:gd name="connsiteX92" fmla="*/ 66675 w 783431"/>
                <a:gd name="connsiteY92" fmla="*/ 381000 h 1131094"/>
                <a:gd name="connsiteX93" fmla="*/ 19050 w 783431"/>
                <a:gd name="connsiteY93" fmla="*/ 423863 h 1131094"/>
                <a:gd name="connsiteX94" fmla="*/ 26194 w 783431"/>
                <a:gd name="connsiteY94" fmla="*/ 490538 h 1131094"/>
                <a:gd name="connsiteX95" fmla="*/ 33337 w 783431"/>
                <a:gd name="connsiteY95" fmla="*/ 554832 h 1131094"/>
                <a:gd name="connsiteX96" fmla="*/ 0 w 783431"/>
                <a:gd name="connsiteY96" fmla="*/ 614363 h 1131094"/>
                <a:gd name="connsiteX0" fmla="*/ 0 w 783431"/>
                <a:gd name="connsiteY0" fmla="*/ 614363 h 1164431"/>
                <a:gd name="connsiteX1" fmla="*/ 21431 w 783431"/>
                <a:gd name="connsiteY1" fmla="*/ 661988 h 1164431"/>
                <a:gd name="connsiteX2" fmla="*/ 28575 w 783431"/>
                <a:gd name="connsiteY2" fmla="*/ 742950 h 1164431"/>
                <a:gd name="connsiteX3" fmla="*/ 76200 w 783431"/>
                <a:gd name="connsiteY3" fmla="*/ 814388 h 1164431"/>
                <a:gd name="connsiteX4" fmla="*/ 102394 w 783431"/>
                <a:gd name="connsiteY4" fmla="*/ 919163 h 1164431"/>
                <a:gd name="connsiteX5" fmla="*/ 116681 w 783431"/>
                <a:gd name="connsiteY5" fmla="*/ 947738 h 1164431"/>
                <a:gd name="connsiteX6" fmla="*/ 130969 w 783431"/>
                <a:gd name="connsiteY6" fmla="*/ 995363 h 1164431"/>
                <a:gd name="connsiteX7" fmla="*/ 150019 w 783431"/>
                <a:gd name="connsiteY7" fmla="*/ 1023938 h 1164431"/>
                <a:gd name="connsiteX8" fmla="*/ 159544 w 783431"/>
                <a:gd name="connsiteY8" fmla="*/ 1042988 h 1164431"/>
                <a:gd name="connsiteX9" fmla="*/ 197644 w 783431"/>
                <a:gd name="connsiteY9" fmla="*/ 1069182 h 1164431"/>
                <a:gd name="connsiteX10" fmla="*/ 245269 w 783431"/>
                <a:gd name="connsiteY10" fmla="*/ 1090613 h 1164431"/>
                <a:gd name="connsiteX11" fmla="*/ 264318 w 783431"/>
                <a:gd name="connsiteY11" fmla="*/ 1131094 h 1164431"/>
                <a:gd name="connsiteX12" fmla="*/ 295275 w 783431"/>
                <a:gd name="connsiteY12" fmla="*/ 1164431 h 1164431"/>
                <a:gd name="connsiteX13" fmla="*/ 604837 w 783431"/>
                <a:gd name="connsiteY13" fmla="*/ 1085850 h 1164431"/>
                <a:gd name="connsiteX14" fmla="*/ 585787 w 783431"/>
                <a:gd name="connsiteY14" fmla="*/ 1035844 h 1164431"/>
                <a:gd name="connsiteX15" fmla="*/ 607219 w 783431"/>
                <a:gd name="connsiteY15" fmla="*/ 1021557 h 1164431"/>
                <a:gd name="connsiteX16" fmla="*/ 645319 w 783431"/>
                <a:gd name="connsiteY16" fmla="*/ 1016794 h 1164431"/>
                <a:gd name="connsiteX17" fmla="*/ 685800 w 783431"/>
                <a:gd name="connsiteY17" fmla="*/ 997744 h 1164431"/>
                <a:gd name="connsiteX18" fmla="*/ 716756 w 783431"/>
                <a:gd name="connsiteY18" fmla="*/ 1002507 h 1164431"/>
                <a:gd name="connsiteX19" fmla="*/ 738187 w 783431"/>
                <a:gd name="connsiteY19" fmla="*/ 969169 h 1164431"/>
                <a:gd name="connsiteX20" fmla="*/ 783431 w 783431"/>
                <a:gd name="connsiteY20" fmla="*/ 933450 h 1164431"/>
                <a:gd name="connsiteX21" fmla="*/ 776287 w 783431"/>
                <a:gd name="connsiteY21" fmla="*/ 907257 h 1164431"/>
                <a:gd name="connsiteX22" fmla="*/ 752475 w 783431"/>
                <a:gd name="connsiteY22" fmla="*/ 888207 h 1164431"/>
                <a:gd name="connsiteX23" fmla="*/ 752475 w 783431"/>
                <a:gd name="connsiteY23" fmla="*/ 864394 h 1164431"/>
                <a:gd name="connsiteX24" fmla="*/ 728662 w 783431"/>
                <a:gd name="connsiteY24" fmla="*/ 852488 h 1164431"/>
                <a:gd name="connsiteX25" fmla="*/ 711994 w 783431"/>
                <a:gd name="connsiteY25" fmla="*/ 802482 h 1164431"/>
                <a:gd name="connsiteX26" fmla="*/ 688181 w 783431"/>
                <a:gd name="connsiteY26" fmla="*/ 814388 h 1164431"/>
                <a:gd name="connsiteX27" fmla="*/ 659606 w 783431"/>
                <a:gd name="connsiteY27" fmla="*/ 814388 h 1164431"/>
                <a:gd name="connsiteX28" fmla="*/ 647700 w 783431"/>
                <a:gd name="connsiteY28" fmla="*/ 847725 h 1164431"/>
                <a:gd name="connsiteX29" fmla="*/ 623887 w 783431"/>
                <a:gd name="connsiteY29" fmla="*/ 847725 h 1164431"/>
                <a:gd name="connsiteX30" fmla="*/ 576262 w 783431"/>
                <a:gd name="connsiteY30" fmla="*/ 828675 h 1164431"/>
                <a:gd name="connsiteX31" fmla="*/ 554831 w 783431"/>
                <a:gd name="connsiteY31" fmla="*/ 816769 h 1164431"/>
                <a:gd name="connsiteX32" fmla="*/ 547687 w 783431"/>
                <a:gd name="connsiteY32" fmla="*/ 783432 h 1164431"/>
                <a:gd name="connsiteX33" fmla="*/ 561975 w 783431"/>
                <a:gd name="connsiteY33" fmla="*/ 754857 h 1164431"/>
                <a:gd name="connsiteX34" fmla="*/ 533400 w 783431"/>
                <a:gd name="connsiteY34" fmla="*/ 733425 h 1164431"/>
                <a:gd name="connsiteX35" fmla="*/ 509587 w 783431"/>
                <a:gd name="connsiteY35" fmla="*/ 711994 h 1164431"/>
                <a:gd name="connsiteX36" fmla="*/ 473869 w 783431"/>
                <a:gd name="connsiteY36" fmla="*/ 711994 h 1164431"/>
                <a:gd name="connsiteX37" fmla="*/ 435769 w 783431"/>
                <a:gd name="connsiteY37" fmla="*/ 711994 h 1164431"/>
                <a:gd name="connsiteX38" fmla="*/ 438150 w 783431"/>
                <a:gd name="connsiteY38" fmla="*/ 669132 h 1164431"/>
                <a:gd name="connsiteX39" fmla="*/ 428625 w 783431"/>
                <a:gd name="connsiteY39" fmla="*/ 642938 h 1164431"/>
                <a:gd name="connsiteX40" fmla="*/ 423862 w 783431"/>
                <a:gd name="connsiteY40" fmla="*/ 607219 h 1164431"/>
                <a:gd name="connsiteX41" fmla="*/ 426244 w 783431"/>
                <a:gd name="connsiteY41" fmla="*/ 578644 h 1164431"/>
                <a:gd name="connsiteX42" fmla="*/ 440531 w 783431"/>
                <a:gd name="connsiteY42" fmla="*/ 566738 h 1164431"/>
                <a:gd name="connsiteX43" fmla="*/ 450056 w 783431"/>
                <a:gd name="connsiteY43" fmla="*/ 535782 h 1164431"/>
                <a:gd name="connsiteX44" fmla="*/ 457200 w 783431"/>
                <a:gd name="connsiteY44" fmla="*/ 519113 h 1164431"/>
                <a:gd name="connsiteX45" fmla="*/ 481012 w 783431"/>
                <a:gd name="connsiteY45" fmla="*/ 526257 h 1164431"/>
                <a:gd name="connsiteX46" fmla="*/ 495300 w 783431"/>
                <a:gd name="connsiteY46" fmla="*/ 576263 h 1164431"/>
                <a:gd name="connsiteX47" fmla="*/ 507206 w 783431"/>
                <a:gd name="connsiteY47" fmla="*/ 581025 h 1164431"/>
                <a:gd name="connsiteX48" fmla="*/ 526256 w 783431"/>
                <a:gd name="connsiteY48" fmla="*/ 583407 h 1164431"/>
                <a:gd name="connsiteX49" fmla="*/ 554831 w 783431"/>
                <a:gd name="connsiteY49" fmla="*/ 583407 h 1164431"/>
                <a:gd name="connsiteX50" fmla="*/ 557212 w 783431"/>
                <a:gd name="connsiteY50" fmla="*/ 547688 h 1164431"/>
                <a:gd name="connsiteX51" fmla="*/ 545306 w 783431"/>
                <a:gd name="connsiteY51" fmla="*/ 502444 h 1164431"/>
                <a:gd name="connsiteX52" fmla="*/ 545306 w 783431"/>
                <a:gd name="connsiteY52" fmla="*/ 476250 h 1164431"/>
                <a:gd name="connsiteX53" fmla="*/ 581025 w 783431"/>
                <a:gd name="connsiteY53" fmla="*/ 454819 h 1164431"/>
                <a:gd name="connsiteX54" fmla="*/ 604837 w 783431"/>
                <a:gd name="connsiteY54" fmla="*/ 435769 h 1164431"/>
                <a:gd name="connsiteX55" fmla="*/ 640556 w 783431"/>
                <a:gd name="connsiteY55" fmla="*/ 414338 h 1164431"/>
                <a:gd name="connsiteX56" fmla="*/ 645319 w 783431"/>
                <a:gd name="connsiteY56" fmla="*/ 395288 h 1164431"/>
                <a:gd name="connsiteX57" fmla="*/ 633412 w 783431"/>
                <a:gd name="connsiteY57" fmla="*/ 371475 h 1164431"/>
                <a:gd name="connsiteX58" fmla="*/ 614362 w 783431"/>
                <a:gd name="connsiteY58" fmla="*/ 369094 h 1164431"/>
                <a:gd name="connsiteX59" fmla="*/ 609600 w 783431"/>
                <a:gd name="connsiteY59" fmla="*/ 366713 h 1164431"/>
                <a:gd name="connsiteX60" fmla="*/ 597694 w 783431"/>
                <a:gd name="connsiteY60" fmla="*/ 357188 h 1164431"/>
                <a:gd name="connsiteX61" fmla="*/ 611981 w 783431"/>
                <a:gd name="connsiteY61" fmla="*/ 345282 h 1164431"/>
                <a:gd name="connsiteX62" fmla="*/ 652462 w 783431"/>
                <a:gd name="connsiteY62" fmla="*/ 316707 h 1164431"/>
                <a:gd name="connsiteX63" fmla="*/ 678656 w 783431"/>
                <a:gd name="connsiteY63" fmla="*/ 264319 h 1164431"/>
                <a:gd name="connsiteX64" fmla="*/ 666750 w 783431"/>
                <a:gd name="connsiteY64" fmla="*/ 242888 h 1164431"/>
                <a:gd name="connsiteX65" fmla="*/ 638175 w 783431"/>
                <a:gd name="connsiteY65" fmla="*/ 219075 h 1164431"/>
                <a:gd name="connsiteX66" fmla="*/ 642937 w 783431"/>
                <a:gd name="connsiteY66" fmla="*/ 180975 h 1164431"/>
                <a:gd name="connsiteX67" fmla="*/ 673894 w 783431"/>
                <a:gd name="connsiteY67" fmla="*/ 171450 h 1164431"/>
                <a:gd name="connsiteX68" fmla="*/ 700087 w 783431"/>
                <a:gd name="connsiteY68" fmla="*/ 142875 h 1164431"/>
                <a:gd name="connsiteX69" fmla="*/ 700087 w 783431"/>
                <a:gd name="connsiteY69" fmla="*/ 111919 h 1164431"/>
                <a:gd name="connsiteX70" fmla="*/ 666750 w 783431"/>
                <a:gd name="connsiteY70" fmla="*/ 107157 h 1164431"/>
                <a:gd name="connsiteX71" fmla="*/ 645319 w 783431"/>
                <a:gd name="connsiteY71" fmla="*/ 102394 h 1164431"/>
                <a:gd name="connsiteX72" fmla="*/ 645319 w 783431"/>
                <a:gd name="connsiteY72" fmla="*/ 102394 h 1164431"/>
                <a:gd name="connsiteX73" fmla="*/ 678656 w 783431"/>
                <a:gd name="connsiteY73" fmla="*/ 69057 h 1164431"/>
                <a:gd name="connsiteX74" fmla="*/ 685800 w 783431"/>
                <a:gd name="connsiteY74" fmla="*/ 40482 h 1164431"/>
                <a:gd name="connsiteX75" fmla="*/ 678656 w 783431"/>
                <a:gd name="connsiteY75" fmla="*/ 21432 h 1164431"/>
                <a:gd name="connsiteX76" fmla="*/ 695325 w 783431"/>
                <a:gd name="connsiteY76" fmla="*/ 2382 h 1164431"/>
                <a:gd name="connsiteX77" fmla="*/ 628650 w 783431"/>
                <a:gd name="connsiteY77" fmla="*/ 0 h 1164431"/>
                <a:gd name="connsiteX78" fmla="*/ 552450 w 783431"/>
                <a:gd name="connsiteY78" fmla="*/ 52388 h 1164431"/>
                <a:gd name="connsiteX79" fmla="*/ 538162 w 783431"/>
                <a:gd name="connsiteY79" fmla="*/ 90488 h 1164431"/>
                <a:gd name="connsiteX80" fmla="*/ 445294 w 783431"/>
                <a:gd name="connsiteY80" fmla="*/ 126207 h 1164431"/>
                <a:gd name="connsiteX81" fmla="*/ 397669 w 783431"/>
                <a:gd name="connsiteY81" fmla="*/ 159544 h 1164431"/>
                <a:gd name="connsiteX82" fmla="*/ 376237 w 783431"/>
                <a:gd name="connsiteY82" fmla="*/ 190500 h 1164431"/>
                <a:gd name="connsiteX83" fmla="*/ 350044 w 783431"/>
                <a:gd name="connsiteY83" fmla="*/ 140494 h 1164431"/>
                <a:gd name="connsiteX84" fmla="*/ 316706 w 783431"/>
                <a:gd name="connsiteY84" fmla="*/ 140494 h 1164431"/>
                <a:gd name="connsiteX85" fmla="*/ 304800 w 783431"/>
                <a:gd name="connsiteY85" fmla="*/ 166688 h 1164431"/>
                <a:gd name="connsiteX86" fmla="*/ 280987 w 783431"/>
                <a:gd name="connsiteY86" fmla="*/ 230982 h 1164431"/>
                <a:gd name="connsiteX87" fmla="*/ 154781 w 783431"/>
                <a:gd name="connsiteY87" fmla="*/ 223838 h 1164431"/>
                <a:gd name="connsiteX88" fmla="*/ 140494 w 783431"/>
                <a:gd name="connsiteY88" fmla="*/ 245269 h 1164431"/>
                <a:gd name="connsiteX89" fmla="*/ 138112 w 783431"/>
                <a:gd name="connsiteY89" fmla="*/ 280988 h 1164431"/>
                <a:gd name="connsiteX90" fmla="*/ 66675 w 783431"/>
                <a:gd name="connsiteY90" fmla="*/ 309563 h 1164431"/>
                <a:gd name="connsiteX91" fmla="*/ 54769 w 783431"/>
                <a:gd name="connsiteY91" fmla="*/ 323850 h 1164431"/>
                <a:gd name="connsiteX92" fmla="*/ 66675 w 783431"/>
                <a:gd name="connsiteY92" fmla="*/ 381000 h 1164431"/>
                <a:gd name="connsiteX93" fmla="*/ 19050 w 783431"/>
                <a:gd name="connsiteY93" fmla="*/ 423863 h 1164431"/>
                <a:gd name="connsiteX94" fmla="*/ 26194 w 783431"/>
                <a:gd name="connsiteY94" fmla="*/ 490538 h 1164431"/>
                <a:gd name="connsiteX95" fmla="*/ 33337 w 783431"/>
                <a:gd name="connsiteY95" fmla="*/ 554832 h 1164431"/>
                <a:gd name="connsiteX96" fmla="*/ 0 w 783431"/>
                <a:gd name="connsiteY96" fmla="*/ 614363 h 1164431"/>
                <a:gd name="connsiteX0" fmla="*/ 0 w 783431"/>
                <a:gd name="connsiteY0" fmla="*/ 614363 h 1164431"/>
                <a:gd name="connsiteX1" fmla="*/ 21431 w 783431"/>
                <a:gd name="connsiteY1" fmla="*/ 661988 h 1164431"/>
                <a:gd name="connsiteX2" fmla="*/ 28575 w 783431"/>
                <a:gd name="connsiteY2" fmla="*/ 742950 h 1164431"/>
                <a:gd name="connsiteX3" fmla="*/ 76200 w 783431"/>
                <a:gd name="connsiteY3" fmla="*/ 814388 h 1164431"/>
                <a:gd name="connsiteX4" fmla="*/ 102394 w 783431"/>
                <a:gd name="connsiteY4" fmla="*/ 919163 h 1164431"/>
                <a:gd name="connsiteX5" fmla="*/ 116681 w 783431"/>
                <a:gd name="connsiteY5" fmla="*/ 947738 h 1164431"/>
                <a:gd name="connsiteX6" fmla="*/ 130969 w 783431"/>
                <a:gd name="connsiteY6" fmla="*/ 995363 h 1164431"/>
                <a:gd name="connsiteX7" fmla="*/ 150019 w 783431"/>
                <a:gd name="connsiteY7" fmla="*/ 1023938 h 1164431"/>
                <a:gd name="connsiteX8" fmla="*/ 159544 w 783431"/>
                <a:gd name="connsiteY8" fmla="*/ 1042988 h 1164431"/>
                <a:gd name="connsiteX9" fmla="*/ 197644 w 783431"/>
                <a:gd name="connsiteY9" fmla="*/ 1069182 h 1164431"/>
                <a:gd name="connsiteX10" fmla="*/ 245269 w 783431"/>
                <a:gd name="connsiteY10" fmla="*/ 1090613 h 1164431"/>
                <a:gd name="connsiteX11" fmla="*/ 264318 w 783431"/>
                <a:gd name="connsiteY11" fmla="*/ 1131094 h 1164431"/>
                <a:gd name="connsiteX12" fmla="*/ 295275 w 783431"/>
                <a:gd name="connsiteY12" fmla="*/ 1164431 h 1164431"/>
                <a:gd name="connsiteX13" fmla="*/ 354806 w 783431"/>
                <a:gd name="connsiteY13" fmla="*/ 1152524 h 1164431"/>
                <a:gd name="connsiteX14" fmla="*/ 604837 w 783431"/>
                <a:gd name="connsiteY14" fmla="*/ 1085850 h 1164431"/>
                <a:gd name="connsiteX15" fmla="*/ 585787 w 783431"/>
                <a:gd name="connsiteY15" fmla="*/ 1035844 h 1164431"/>
                <a:gd name="connsiteX16" fmla="*/ 607219 w 783431"/>
                <a:gd name="connsiteY16" fmla="*/ 1021557 h 1164431"/>
                <a:gd name="connsiteX17" fmla="*/ 645319 w 783431"/>
                <a:gd name="connsiteY17" fmla="*/ 1016794 h 1164431"/>
                <a:gd name="connsiteX18" fmla="*/ 685800 w 783431"/>
                <a:gd name="connsiteY18" fmla="*/ 997744 h 1164431"/>
                <a:gd name="connsiteX19" fmla="*/ 716756 w 783431"/>
                <a:gd name="connsiteY19" fmla="*/ 1002507 h 1164431"/>
                <a:gd name="connsiteX20" fmla="*/ 738187 w 783431"/>
                <a:gd name="connsiteY20" fmla="*/ 969169 h 1164431"/>
                <a:gd name="connsiteX21" fmla="*/ 783431 w 783431"/>
                <a:gd name="connsiteY21" fmla="*/ 933450 h 1164431"/>
                <a:gd name="connsiteX22" fmla="*/ 776287 w 783431"/>
                <a:gd name="connsiteY22" fmla="*/ 907257 h 1164431"/>
                <a:gd name="connsiteX23" fmla="*/ 752475 w 783431"/>
                <a:gd name="connsiteY23" fmla="*/ 888207 h 1164431"/>
                <a:gd name="connsiteX24" fmla="*/ 752475 w 783431"/>
                <a:gd name="connsiteY24" fmla="*/ 864394 h 1164431"/>
                <a:gd name="connsiteX25" fmla="*/ 728662 w 783431"/>
                <a:gd name="connsiteY25" fmla="*/ 852488 h 1164431"/>
                <a:gd name="connsiteX26" fmla="*/ 711994 w 783431"/>
                <a:gd name="connsiteY26" fmla="*/ 802482 h 1164431"/>
                <a:gd name="connsiteX27" fmla="*/ 688181 w 783431"/>
                <a:gd name="connsiteY27" fmla="*/ 814388 h 1164431"/>
                <a:gd name="connsiteX28" fmla="*/ 659606 w 783431"/>
                <a:gd name="connsiteY28" fmla="*/ 814388 h 1164431"/>
                <a:gd name="connsiteX29" fmla="*/ 647700 w 783431"/>
                <a:gd name="connsiteY29" fmla="*/ 847725 h 1164431"/>
                <a:gd name="connsiteX30" fmla="*/ 623887 w 783431"/>
                <a:gd name="connsiteY30" fmla="*/ 847725 h 1164431"/>
                <a:gd name="connsiteX31" fmla="*/ 576262 w 783431"/>
                <a:gd name="connsiteY31" fmla="*/ 828675 h 1164431"/>
                <a:gd name="connsiteX32" fmla="*/ 554831 w 783431"/>
                <a:gd name="connsiteY32" fmla="*/ 816769 h 1164431"/>
                <a:gd name="connsiteX33" fmla="*/ 547687 w 783431"/>
                <a:gd name="connsiteY33" fmla="*/ 783432 h 1164431"/>
                <a:gd name="connsiteX34" fmla="*/ 561975 w 783431"/>
                <a:gd name="connsiteY34" fmla="*/ 754857 h 1164431"/>
                <a:gd name="connsiteX35" fmla="*/ 533400 w 783431"/>
                <a:gd name="connsiteY35" fmla="*/ 733425 h 1164431"/>
                <a:gd name="connsiteX36" fmla="*/ 509587 w 783431"/>
                <a:gd name="connsiteY36" fmla="*/ 711994 h 1164431"/>
                <a:gd name="connsiteX37" fmla="*/ 473869 w 783431"/>
                <a:gd name="connsiteY37" fmla="*/ 711994 h 1164431"/>
                <a:gd name="connsiteX38" fmla="*/ 435769 w 783431"/>
                <a:gd name="connsiteY38" fmla="*/ 711994 h 1164431"/>
                <a:gd name="connsiteX39" fmla="*/ 438150 w 783431"/>
                <a:gd name="connsiteY39" fmla="*/ 669132 h 1164431"/>
                <a:gd name="connsiteX40" fmla="*/ 428625 w 783431"/>
                <a:gd name="connsiteY40" fmla="*/ 642938 h 1164431"/>
                <a:gd name="connsiteX41" fmla="*/ 423862 w 783431"/>
                <a:gd name="connsiteY41" fmla="*/ 607219 h 1164431"/>
                <a:gd name="connsiteX42" fmla="*/ 426244 w 783431"/>
                <a:gd name="connsiteY42" fmla="*/ 578644 h 1164431"/>
                <a:gd name="connsiteX43" fmla="*/ 440531 w 783431"/>
                <a:gd name="connsiteY43" fmla="*/ 566738 h 1164431"/>
                <a:gd name="connsiteX44" fmla="*/ 450056 w 783431"/>
                <a:gd name="connsiteY44" fmla="*/ 535782 h 1164431"/>
                <a:gd name="connsiteX45" fmla="*/ 457200 w 783431"/>
                <a:gd name="connsiteY45" fmla="*/ 519113 h 1164431"/>
                <a:gd name="connsiteX46" fmla="*/ 481012 w 783431"/>
                <a:gd name="connsiteY46" fmla="*/ 526257 h 1164431"/>
                <a:gd name="connsiteX47" fmla="*/ 495300 w 783431"/>
                <a:gd name="connsiteY47" fmla="*/ 576263 h 1164431"/>
                <a:gd name="connsiteX48" fmla="*/ 507206 w 783431"/>
                <a:gd name="connsiteY48" fmla="*/ 581025 h 1164431"/>
                <a:gd name="connsiteX49" fmla="*/ 526256 w 783431"/>
                <a:gd name="connsiteY49" fmla="*/ 583407 h 1164431"/>
                <a:gd name="connsiteX50" fmla="*/ 554831 w 783431"/>
                <a:gd name="connsiteY50" fmla="*/ 583407 h 1164431"/>
                <a:gd name="connsiteX51" fmla="*/ 557212 w 783431"/>
                <a:gd name="connsiteY51" fmla="*/ 547688 h 1164431"/>
                <a:gd name="connsiteX52" fmla="*/ 545306 w 783431"/>
                <a:gd name="connsiteY52" fmla="*/ 502444 h 1164431"/>
                <a:gd name="connsiteX53" fmla="*/ 545306 w 783431"/>
                <a:gd name="connsiteY53" fmla="*/ 476250 h 1164431"/>
                <a:gd name="connsiteX54" fmla="*/ 581025 w 783431"/>
                <a:gd name="connsiteY54" fmla="*/ 454819 h 1164431"/>
                <a:gd name="connsiteX55" fmla="*/ 604837 w 783431"/>
                <a:gd name="connsiteY55" fmla="*/ 435769 h 1164431"/>
                <a:gd name="connsiteX56" fmla="*/ 640556 w 783431"/>
                <a:gd name="connsiteY56" fmla="*/ 414338 h 1164431"/>
                <a:gd name="connsiteX57" fmla="*/ 645319 w 783431"/>
                <a:gd name="connsiteY57" fmla="*/ 395288 h 1164431"/>
                <a:gd name="connsiteX58" fmla="*/ 633412 w 783431"/>
                <a:gd name="connsiteY58" fmla="*/ 371475 h 1164431"/>
                <a:gd name="connsiteX59" fmla="*/ 614362 w 783431"/>
                <a:gd name="connsiteY59" fmla="*/ 369094 h 1164431"/>
                <a:gd name="connsiteX60" fmla="*/ 609600 w 783431"/>
                <a:gd name="connsiteY60" fmla="*/ 366713 h 1164431"/>
                <a:gd name="connsiteX61" fmla="*/ 597694 w 783431"/>
                <a:gd name="connsiteY61" fmla="*/ 357188 h 1164431"/>
                <a:gd name="connsiteX62" fmla="*/ 611981 w 783431"/>
                <a:gd name="connsiteY62" fmla="*/ 345282 h 1164431"/>
                <a:gd name="connsiteX63" fmla="*/ 652462 w 783431"/>
                <a:gd name="connsiteY63" fmla="*/ 316707 h 1164431"/>
                <a:gd name="connsiteX64" fmla="*/ 678656 w 783431"/>
                <a:gd name="connsiteY64" fmla="*/ 264319 h 1164431"/>
                <a:gd name="connsiteX65" fmla="*/ 666750 w 783431"/>
                <a:gd name="connsiteY65" fmla="*/ 242888 h 1164431"/>
                <a:gd name="connsiteX66" fmla="*/ 638175 w 783431"/>
                <a:gd name="connsiteY66" fmla="*/ 219075 h 1164431"/>
                <a:gd name="connsiteX67" fmla="*/ 642937 w 783431"/>
                <a:gd name="connsiteY67" fmla="*/ 180975 h 1164431"/>
                <a:gd name="connsiteX68" fmla="*/ 673894 w 783431"/>
                <a:gd name="connsiteY68" fmla="*/ 171450 h 1164431"/>
                <a:gd name="connsiteX69" fmla="*/ 700087 w 783431"/>
                <a:gd name="connsiteY69" fmla="*/ 142875 h 1164431"/>
                <a:gd name="connsiteX70" fmla="*/ 700087 w 783431"/>
                <a:gd name="connsiteY70" fmla="*/ 111919 h 1164431"/>
                <a:gd name="connsiteX71" fmla="*/ 666750 w 783431"/>
                <a:gd name="connsiteY71" fmla="*/ 107157 h 1164431"/>
                <a:gd name="connsiteX72" fmla="*/ 645319 w 783431"/>
                <a:gd name="connsiteY72" fmla="*/ 102394 h 1164431"/>
                <a:gd name="connsiteX73" fmla="*/ 645319 w 783431"/>
                <a:gd name="connsiteY73" fmla="*/ 102394 h 1164431"/>
                <a:gd name="connsiteX74" fmla="*/ 678656 w 783431"/>
                <a:gd name="connsiteY74" fmla="*/ 69057 h 1164431"/>
                <a:gd name="connsiteX75" fmla="*/ 685800 w 783431"/>
                <a:gd name="connsiteY75" fmla="*/ 40482 h 1164431"/>
                <a:gd name="connsiteX76" fmla="*/ 678656 w 783431"/>
                <a:gd name="connsiteY76" fmla="*/ 21432 h 1164431"/>
                <a:gd name="connsiteX77" fmla="*/ 695325 w 783431"/>
                <a:gd name="connsiteY77" fmla="*/ 2382 h 1164431"/>
                <a:gd name="connsiteX78" fmla="*/ 628650 w 783431"/>
                <a:gd name="connsiteY78" fmla="*/ 0 h 1164431"/>
                <a:gd name="connsiteX79" fmla="*/ 552450 w 783431"/>
                <a:gd name="connsiteY79" fmla="*/ 52388 h 1164431"/>
                <a:gd name="connsiteX80" fmla="*/ 538162 w 783431"/>
                <a:gd name="connsiteY80" fmla="*/ 90488 h 1164431"/>
                <a:gd name="connsiteX81" fmla="*/ 445294 w 783431"/>
                <a:gd name="connsiteY81" fmla="*/ 126207 h 1164431"/>
                <a:gd name="connsiteX82" fmla="*/ 397669 w 783431"/>
                <a:gd name="connsiteY82" fmla="*/ 159544 h 1164431"/>
                <a:gd name="connsiteX83" fmla="*/ 376237 w 783431"/>
                <a:gd name="connsiteY83" fmla="*/ 190500 h 1164431"/>
                <a:gd name="connsiteX84" fmla="*/ 350044 w 783431"/>
                <a:gd name="connsiteY84" fmla="*/ 140494 h 1164431"/>
                <a:gd name="connsiteX85" fmla="*/ 316706 w 783431"/>
                <a:gd name="connsiteY85" fmla="*/ 140494 h 1164431"/>
                <a:gd name="connsiteX86" fmla="*/ 304800 w 783431"/>
                <a:gd name="connsiteY86" fmla="*/ 166688 h 1164431"/>
                <a:gd name="connsiteX87" fmla="*/ 280987 w 783431"/>
                <a:gd name="connsiteY87" fmla="*/ 230982 h 1164431"/>
                <a:gd name="connsiteX88" fmla="*/ 154781 w 783431"/>
                <a:gd name="connsiteY88" fmla="*/ 223838 h 1164431"/>
                <a:gd name="connsiteX89" fmla="*/ 140494 w 783431"/>
                <a:gd name="connsiteY89" fmla="*/ 245269 h 1164431"/>
                <a:gd name="connsiteX90" fmla="*/ 138112 w 783431"/>
                <a:gd name="connsiteY90" fmla="*/ 280988 h 1164431"/>
                <a:gd name="connsiteX91" fmla="*/ 66675 w 783431"/>
                <a:gd name="connsiteY91" fmla="*/ 309563 h 1164431"/>
                <a:gd name="connsiteX92" fmla="*/ 54769 w 783431"/>
                <a:gd name="connsiteY92" fmla="*/ 323850 h 1164431"/>
                <a:gd name="connsiteX93" fmla="*/ 66675 w 783431"/>
                <a:gd name="connsiteY93" fmla="*/ 381000 h 1164431"/>
                <a:gd name="connsiteX94" fmla="*/ 19050 w 783431"/>
                <a:gd name="connsiteY94" fmla="*/ 423863 h 1164431"/>
                <a:gd name="connsiteX95" fmla="*/ 26194 w 783431"/>
                <a:gd name="connsiteY95" fmla="*/ 490538 h 1164431"/>
                <a:gd name="connsiteX96" fmla="*/ 33337 w 783431"/>
                <a:gd name="connsiteY96" fmla="*/ 554832 h 1164431"/>
                <a:gd name="connsiteX97" fmla="*/ 0 w 783431"/>
                <a:gd name="connsiteY97" fmla="*/ 614363 h 1164431"/>
                <a:gd name="connsiteX0" fmla="*/ 0 w 783431"/>
                <a:gd name="connsiteY0" fmla="*/ 614363 h 1200149"/>
                <a:gd name="connsiteX1" fmla="*/ 21431 w 783431"/>
                <a:gd name="connsiteY1" fmla="*/ 661988 h 1200149"/>
                <a:gd name="connsiteX2" fmla="*/ 28575 w 783431"/>
                <a:gd name="connsiteY2" fmla="*/ 742950 h 1200149"/>
                <a:gd name="connsiteX3" fmla="*/ 76200 w 783431"/>
                <a:gd name="connsiteY3" fmla="*/ 814388 h 1200149"/>
                <a:gd name="connsiteX4" fmla="*/ 102394 w 783431"/>
                <a:gd name="connsiteY4" fmla="*/ 919163 h 1200149"/>
                <a:gd name="connsiteX5" fmla="*/ 116681 w 783431"/>
                <a:gd name="connsiteY5" fmla="*/ 947738 h 1200149"/>
                <a:gd name="connsiteX6" fmla="*/ 130969 w 783431"/>
                <a:gd name="connsiteY6" fmla="*/ 995363 h 1200149"/>
                <a:gd name="connsiteX7" fmla="*/ 150019 w 783431"/>
                <a:gd name="connsiteY7" fmla="*/ 1023938 h 1200149"/>
                <a:gd name="connsiteX8" fmla="*/ 159544 w 783431"/>
                <a:gd name="connsiteY8" fmla="*/ 1042988 h 1200149"/>
                <a:gd name="connsiteX9" fmla="*/ 197644 w 783431"/>
                <a:gd name="connsiteY9" fmla="*/ 1069182 h 1200149"/>
                <a:gd name="connsiteX10" fmla="*/ 245269 w 783431"/>
                <a:gd name="connsiteY10" fmla="*/ 1090613 h 1200149"/>
                <a:gd name="connsiteX11" fmla="*/ 264318 w 783431"/>
                <a:gd name="connsiteY11" fmla="*/ 1131094 h 1200149"/>
                <a:gd name="connsiteX12" fmla="*/ 295275 w 783431"/>
                <a:gd name="connsiteY12" fmla="*/ 1164431 h 1200149"/>
                <a:gd name="connsiteX13" fmla="*/ 385762 w 783431"/>
                <a:gd name="connsiteY13" fmla="*/ 1200149 h 1200149"/>
                <a:gd name="connsiteX14" fmla="*/ 604837 w 783431"/>
                <a:gd name="connsiteY14" fmla="*/ 1085850 h 1200149"/>
                <a:gd name="connsiteX15" fmla="*/ 585787 w 783431"/>
                <a:gd name="connsiteY15" fmla="*/ 1035844 h 1200149"/>
                <a:gd name="connsiteX16" fmla="*/ 607219 w 783431"/>
                <a:gd name="connsiteY16" fmla="*/ 1021557 h 1200149"/>
                <a:gd name="connsiteX17" fmla="*/ 645319 w 783431"/>
                <a:gd name="connsiteY17" fmla="*/ 1016794 h 1200149"/>
                <a:gd name="connsiteX18" fmla="*/ 685800 w 783431"/>
                <a:gd name="connsiteY18" fmla="*/ 997744 h 1200149"/>
                <a:gd name="connsiteX19" fmla="*/ 716756 w 783431"/>
                <a:gd name="connsiteY19" fmla="*/ 1002507 h 1200149"/>
                <a:gd name="connsiteX20" fmla="*/ 738187 w 783431"/>
                <a:gd name="connsiteY20" fmla="*/ 969169 h 1200149"/>
                <a:gd name="connsiteX21" fmla="*/ 783431 w 783431"/>
                <a:gd name="connsiteY21" fmla="*/ 933450 h 1200149"/>
                <a:gd name="connsiteX22" fmla="*/ 776287 w 783431"/>
                <a:gd name="connsiteY22" fmla="*/ 907257 h 1200149"/>
                <a:gd name="connsiteX23" fmla="*/ 752475 w 783431"/>
                <a:gd name="connsiteY23" fmla="*/ 888207 h 1200149"/>
                <a:gd name="connsiteX24" fmla="*/ 752475 w 783431"/>
                <a:gd name="connsiteY24" fmla="*/ 864394 h 1200149"/>
                <a:gd name="connsiteX25" fmla="*/ 728662 w 783431"/>
                <a:gd name="connsiteY25" fmla="*/ 852488 h 1200149"/>
                <a:gd name="connsiteX26" fmla="*/ 711994 w 783431"/>
                <a:gd name="connsiteY26" fmla="*/ 802482 h 1200149"/>
                <a:gd name="connsiteX27" fmla="*/ 688181 w 783431"/>
                <a:gd name="connsiteY27" fmla="*/ 814388 h 1200149"/>
                <a:gd name="connsiteX28" fmla="*/ 659606 w 783431"/>
                <a:gd name="connsiteY28" fmla="*/ 814388 h 1200149"/>
                <a:gd name="connsiteX29" fmla="*/ 647700 w 783431"/>
                <a:gd name="connsiteY29" fmla="*/ 847725 h 1200149"/>
                <a:gd name="connsiteX30" fmla="*/ 623887 w 783431"/>
                <a:gd name="connsiteY30" fmla="*/ 847725 h 1200149"/>
                <a:gd name="connsiteX31" fmla="*/ 576262 w 783431"/>
                <a:gd name="connsiteY31" fmla="*/ 828675 h 1200149"/>
                <a:gd name="connsiteX32" fmla="*/ 554831 w 783431"/>
                <a:gd name="connsiteY32" fmla="*/ 816769 h 1200149"/>
                <a:gd name="connsiteX33" fmla="*/ 547687 w 783431"/>
                <a:gd name="connsiteY33" fmla="*/ 783432 h 1200149"/>
                <a:gd name="connsiteX34" fmla="*/ 561975 w 783431"/>
                <a:gd name="connsiteY34" fmla="*/ 754857 h 1200149"/>
                <a:gd name="connsiteX35" fmla="*/ 533400 w 783431"/>
                <a:gd name="connsiteY35" fmla="*/ 733425 h 1200149"/>
                <a:gd name="connsiteX36" fmla="*/ 509587 w 783431"/>
                <a:gd name="connsiteY36" fmla="*/ 711994 h 1200149"/>
                <a:gd name="connsiteX37" fmla="*/ 473869 w 783431"/>
                <a:gd name="connsiteY37" fmla="*/ 711994 h 1200149"/>
                <a:gd name="connsiteX38" fmla="*/ 435769 w 783431"/>
                <a:gd name="connsiteY38" fmla="*/ 711994 h 1200149"/>
                <a:gd name="connsiteX39" fmla="*/ 438150 w 783431"/>
                <a:gd name="connsiteY39" fmla="*/ 669132 h 1200149"/>
                <a:gd name="connsiteX40" fmla="*/ 428625 w 783431"/>
                <a:gd name="connsiteY40" fmla="*/ 642938 h 1200149"/>
                <a:gd name="connsiteX41" fmla="*/ 423862 w 783431"/>
                <a:gd name="connsiteY41" fmla="*/ 607219 h 1200149"/>
                <a:gd name="connsiteX42" fmla="*/ 426244 w 783431"/>
                <a:gd name="connsiteY42" fmla="*/ 578644 h 1200149"/>
                <a:gd name="connsiteX43" fmla="*/ 440531 w 783431"/>
                <a:gd name="connsiteY43" fmla="*/ 566738 h 1200149"/>
                <a:gd name="connsiteX44" fmla="*/ 450056 w 783431"/>
                <a:gd name="connsiteY44" fmla="*/ 535782 h 1200149"/>
                <a:gd name="connsiteX45" fmla="*/ 457200 w 783431"/>
                <a:gd name="connsiteY45" fmla="*/ 519113 h 1200149"/>
                <a:gd name="connsiteX46" fmla="*/ 481012 w 783431"/>
                <a:gd name="connsiteY46" fmla="*/ 526257 h 1200149"/>
                <a:gd name="connsiteX47" fmla="*/ 495300 w 783431"/>
                <a:gd name="connsiteY47" fmla="*/ 576263 h 1200149"/>
                <a:gd name="connsiteX48" fmla="*/ 507206 w 783431"/>
                <a:gd name="connsiteY48" fmla="*/ 581025 h 1200149"/>
                <a:gd name="connsiteX49" fmla="*/ 526256 w 783431"/>
                <a:gd name="connsiteY49" fmla="*/ 583407 h 1200149"/>
                <a:gd name="connsiteX50" fmla="*/ 554831 w 783431"/>
                <a:gd name="connsiteY50" fmla="*/ 583407 h 1200149"/>
                <a:gd name="connsiteX51" fmla="*/ 557212 w 783431"/>
                <a:gd name="connsiteY51" fmla="*/ 547688 h 1200149"/>
                <a:gd name="connsiteX52" fmla="*/ 545306 w 783431"/>
                <a:gd name="connsiteY52" fmla="*/ 502444 h 1200149"/>
                <a:gd name="connsiteX53" fmla="*/ 545306 w 783431"/>
                <a:gd name="connsiteY53" fmla="*/ 476250 h 1200149"/>
                <a:gd name="connsiteX54" fmla="*/ 581025 w 783431"/>
                <a:gd name="connsiteY54" fmla="*/ 454819 h 1200149"/>
                <a:gd name="connsiteX55" fmla="*/ 604837 w 783431"/>
                <a:gd name="connsiteY55" fmla="*/ 435769 h 1200149"/>
                <a:gd name="connsiteX56" fmla="*/ 640556 w 783431"/>
                <a:gd name="connsiteY56" fmla="*/ 414338 h 1200149"/>
                <a:gd name="connsiteX57" fmla="*/ 645319 w 783431"/>
                <a:gd name="connsiteY57" fmla="*/ 395288 h 1200149"/>
                <a:gd name="connsiteX58" fmla="*/ 633412 w 783431"/>
                <a:gd name="connsiteY58" fmla="*/ 371475 h 1200149"/>
                <a:gd name="connsiteX59" fmla="*/ 614362 w 783431"/>
                <a:gd name="connsiteY59" fmla="*/ 369094 h 1200149"/>
                <a:gd name="connsiteX60" fmla="*/ 609600 w 783431"/>
                <a:gd name="connsiteY60" fmla="*/ 366713 h 1200149"/>
                <a:gd name="connsiteX61" fmla="*/ 597694 w 783431"/>
                <a:gd name="connsiteY61" fmla="*/ 357188 h 1200149"/>
                <a:gd name="connsiteX62" fmla="*/ 611981 w 783431"/>
                <a:gd name="connsiteY62" fmla="*/ 345282 h 1200149"/>
                <a:gd name="connsiteX63" fmla="*/ 652462 w 783431"/>
                <a:gd name="connsiteY63" fmla="*/ 316707 h 1200149"/>
                <a:gd name="connsiteX64" fmla="*/ 678656 w 783431"/>
                <a:gd name="connsiteY64" fmla="*/ 264319 h 1200149"/>
                <a:gd name="connsiteX65" fmla="*/ 666750 w 783431"/>
                <a:gd name="connsiteY65" fmla="*/ 242888 h 1200149"/>
                <a:gd name="connsiteX66" fmla="*/ 638175 w 783431"/>
                <a:gd name="connsiteY66" fmla="*/ 219075 h 1200149"/>
                <a:gd name="connsiteX67" fmla="*/ 642937 w 783431"/>
                <a:gd name="connsiteY67" fmla="*/ 180975 h 1200149"/>
                <a:gd name="connsiteX68" fmla="*/ 673894 w 783431"/>
                <a:gd name="connsiteY68" fmla="*/ 171450 h 1200149"/>
                <a:gd name="connsiteX69" fmla="*/ 700087 w 783431"/>
                <a:gd name="connsiteY69" fmla="*/ 142875 h 1200149"/>
                <a:gd name="connsiteX70" fmla="*/ 700087 w 783431"/>
                <a:gd name="connsiteY70" fmla="*/ 111919 h 1200149"/>
                <a:gd name="connsiteX71" fmla="*/ 666750 w 783431"/>
                <a:gd name="connsiteY71" fmla="*/ 107157 h 1200149"/>
                <a:gd name="connsiteX72" fmla="*/ 645319 w 783431"/>
                <a:gd name="connsiteY72" fmla="*/ 102394 h 1200149"/>
                <a:gd name="connsiteX73" fmla="*/ 645319 w 783431"/>
                <a:gd name="connsiteY73" fmla="*/ 102394 h 1200149"/>
                <a:gd name="connsiteX74" fmla="*/ 678656 w 783431"/>
                <a:gd name="connsiteY74" fmla="*/ 69057 h 1200149"/>
                <a:gd name="connsiteX75" fmla="*/ 685800 w 783431"/>
                <a:gd name="connsiteY75" fmla="*/ 40482 h 1200149"/>
                <a:gd name="connsiteX76" fmla="*/ 678656 w 783431"/>
                <a:gd name="connsiteY76" fmla="*/ 21432 h 1200149"/>
                <a:gd name="connsiteX77" fmla="*/ 695325 w 783431"/>
                <a:gd name="connsiteY77" fmla="*/ 2382 h 1200149"/>
                <a:gd name="connsiteX78" fmla="*/ 628650 w 783431"/>
                <a:gd name="connsiteY78" fmla="*/ 0 h 1200149"/>
                <a:gd name="connsiteX79" fmla="*/ 552450 w 783431"/>
                <a:gd name="connsiteY79" fmla="*/ 52388 h 1200149"/>
                <a:gd name="connsiteX80" fmla="*/ 538162 w 783431"/>
                <a:gd name="connsiteY80" fmla="*/ 90488 h 1200149"/>
                <a:gd name="connsiteX81" fmla="*/ 445294 w 783431"/>
                <a:gd name="connsiteY81" fmla="*/ 126207 h 1200149"/>
                <a:gd name="connsiteX82" fmla="*/ 397669 w 783431"/>
                <a:gd name="connsiteY82" fmla="*/ 159544 h 1200149"/>
                <a:gd name="connsiteX83" fmla="*/ 376237 w 783431"/>
                <a:gd name="connsiteY83" fmla="*/ 190500 h 1200149"/>
                <a:gd name="connsiteX84" fmla="*/ 350044 w 783431"/>
                <a:gd name="connsiteY84" fmla="*/ 140494 h 1200149"/>
                <a:gd name="connsiteX85" fmla="*/ 316706 w 783431"/>
                <a:gd name="connsiteY85" fmla="*/ 140494 h 1200149"/>
                <a:gd name="connsiteX86" fmla="*/ 304800 w 783431"/>
                <a:gd name="connsiteY86" fmla="*/ 166688 h 1200149"/>
                <a:gd name="connsiteX87" fmla="*/ 280987 w 783431"/>
                <a:gd name="connsiteY87" fmla="*/ 230982 h 1200149"/>
                <a:gd name="connsiteX88" fmla="*/ 154781 w 783431"/>
                <a:gd name="connsiteY88" fmla="*/ 223838 h 1200149"/>
                <a:gd name="connsiteX89" fmla="*/ 140494 w 783431"/>
                <a:gd name="connsiteY89" fmla="*/ 245269 h 1200149"/>
                <a:gd name="connsiteX90" fmla="*/ 138112 w 783431"/>
                <a:gd name="connsiteY90" fmla="*/ 280988 h 1200149"/>
                <a:gd name="connsiteX91" fmla="*/ 66675 w 783431"/>
                <a:gd name="connsiteY91" fmla="*/ 309563 h 1200149"/>
                <a:gd name="connsiteX92" fmla="*/ 54769 w 783431"/>
                <a:gd name="connsiteY92" fmla="*/ 323850 h 1200149"/>
                <a:gd name="connsiteX93" fmla="*/ 66675 w 783431"/>
                <a:gd name="connsiteY93" fmla="*/ 381000 h 1200149"/>
                <a:gd name="connsiteX94" fmla="*/ 19050 w 783431"/>
                <a:gd name="connsiteY94" fmla="*/ 423863 h 1200149"/>
                <a:gd name="connsiteX95" fmla="*/ 26194 w 783431"/>
                <a:gd name="connsiteY95" fmla="*/ 490538 h 1200149"/>
                <a:gd name="connsiteX96" fmla="*/ 33337 w 783431"/>
                <a:gd name="connsiteY96" fmla="*/ 554832 h 1200149"/>
                <a:gd name="connsiteX97" fmla="*/ 0 w 783431"/>
                <a:gd name="connsiteY97" fmla="*/ 614363 h 1200149"/>
                <a:gd name="connsiteX0" fmla="*/ 0 w 783431"/>
                <a:gd name="connsiteY0" fmla="*/ 614363 h 1200149"/>
                <a:gd name="connsiteX1" fmla="*/ 21431 w 783431"/>
                <a:gd name="connsiteY1" fmla="*/ 661988 h 1200149"/>
                <a:gd name="connsiteX2" fmla="*/ 28575 w 783431"/>
                <a:gd name="connsiteY2" fmla="*/ 742950 h 1200149"/>
                <a:gd name="connsiteX3" fmla="*/ 76200 w 783431"/>
                <a:gd name="connsiteY3" fmla="*/ 814388 h 1200149"/>
                <a:gd name="connsiteX4" fmla="*/ 102394 w 783431"/>
                <a:gd name="connsiteY4" fmla="*/ 919163 h 1200149"/>
                <a:gd name="connsiteX5" fmla="*/ 116681 w 783431"/>
                <a:gd name="connsiteY5" fmla="*/ 947738 h 1200149"/>
                <a:gd name="connsiteX6" fmla="*/ 130969 w 783431"/>
                <a:gd name="connsiteY6" fmla="*/ 995363 h 1200149"/>
                <a:gd name="connsiteX7" fmla="*/ 150019 w 783431"/>
                <a:gd name="connsiteY7" fmla="*/ 1023938 h 1200149"/>
                <a:gd name="connsiteX8" fmla="*/ 159544 w 783431"/>
                <a:gd name="connsiteY8" fmla="*/ 1042988 h 1200149"/>
                <a:gd name="connsiteX9" fmla="*/ 197644 w 783431"/>
                <a:gd name="connsiteY9" fmla="*/ 1069182 h 1200149"/>
                <a:gd name="connsiteX10" fmla="*/ 245269 w 783431"/>
                <a:gd name="connsiteY10" fmla="*/ 1090613 h 1200149"/>
                <a:gd name="connsiteX11" fmla="*/ 264318 w 783431"/>
                <a:gd name="connsiteY11" fmla="*/ 1131094 h 1200149"/>
                <a:gd name="connsiteX12" fmla="*/ 295275 w 783431"/>
                <a:gd name="connsiteY12" fmla="*/ 1164431 h 1200149"/>
                <a:gd name="connsiteX13" fmla="*/ 385762 w 783431"/>
                <a:gd name="connsiteY13" fmla="*/ 1200149 h 1200149"/>
                <a:gd name="connsiteX14" fmla="*/ 557212 w 783431"/>
                <a:gd name="connsiteY14" fmla="*/ 1109662 h 1200149"/>
                <a:gd name="connsiteX15" fmla="*/ 604837 w 783431"/>
                <a:gd name="connsiteY15" fmla="*/ 1085850 h 1200149"/>
                <a:gd name="connsiteX16" fmla="*/ 585787 w 783431"/>
                <a:gd name="connsiteY16" fmla="*/ 1035844 h 1200149"/>
                <a:gd name="connsiteX17" fmla="*/ 607219 w 783431"/>
                <a:gd name="connsiteY17" fmla="*/ 1021557 h 1200149"/>
                <a:gd name="connsiteX18" fmla="*/ 645319 w 783431"/>
                <a:gd name="connsiteY18" fmla="*/ 1016794 h 1200149"/>
                <a:gd name="connsiteX19" fmla="*/ 685800 w 783431"/>
                <a:gd name="connsiteY19" fmla="*/ 997744 h 1200149"/>
                <a:gd name="connsiteX20" fmla="*/ 716756 w 783431"/>
                <a:gd name="connsiteY20" fmla="*/ 1002507 h 1200149"/>
                <a:gd name="connsiteX21" fmla="*/ 738187 w 783431"/>
                <a:gd name="connsiteY21" fmla="*/ 969169 h 1200149"/>
                <a:gd name="connsiteX22" fmla="*/ 783431 w 783431"/>
                <a:gd name="connsiteY22" fmla="*/ 933450 h 1200149"/>
                <a:gd name="connsiteX23" fmla="*/ 776287 w 783431"/>
                <a:gd name="connsiteY23" fmla="*/ 907257 h 1200149"/>
                <a:gd name="connsiteX24" fmla="*/ 752475 w 783431"/>
                <a:gd name="connsiteY24" fmla="*/ 888207 h 1200149"/>
                <a:gd name="connsiteX25" fmla="*/ 752475 w 783431"/>
                <a:gd name="connsiteY25" fmla="*/ 864394 h 1200149"/>
                <a:gd name="connsiteX26" fmla="*/ 728662 w 783431"/>
                <a:gd name="connsiteY26" fmla="*/ 852488 h 1200149"/>
                <a:gd name="connsiteX27" fmla="*/ 711994 w 783431"/>
                <a:gd name="connsiteY27" fmla="*/ 802482 h 1200149"/>
                <a:gd name="connsiteX28" fmla="*/ 688181 w 783431"/>
                <a:gd name="connsiteY28" fmla="*/ 814388 h 1200149"/>
                <a:gd name="connsiteX29" fmla="*/ 659606 w 783431"/>
                <a:gd name="connsiteY29" fmla="*/ 814388 h 1200149"/>
                <a:gd name="connsiteX30" fmla="*/ 647700 w 783431"/>
                <a:gd name="connsiteY30" fmla="*/ 847725 h 1200149"/>
                <a:gd name="connsiteX31" fmla="*/ 623887 w 783431"/>
                <a:gd name="connsiteY31" fmla="*/ 847725 h 1200149"/>
                <a:gd name="connsiteX32" fmla="*/ 576262 w 783431"/>
                <a:gd name="connsiteY32" fmla="*/ 828675 h 1200149"/>
                <a:gd name="connsiteX33" fmla="*/ 554831 w 783431"/>
                <a:gd name="connsiteY33" fmla="*/ 816769 h 1200149"/>
                <a:gd name="connsiteX34" fmla="*/ 547687 w 783431"/>
                <a:gd name="connsiteY34" fmla="*/ 783432 h 1200149"/>
                <a:gd name="connsiteX35" fmla="*/ 561975 w 783431"/>
                <a:gd name="connsiteY35" fmla="*/ 754857 h 1200149"/>
                <a:gd name="connsiteX36" fmla="*/ 533400 w 783431"/>
                <a:gd name="connsiteY36" fmla="*/ 733425 h 1200149"/>
                <a:gd name="connsiteX37" fmla="*/ 509587 w 783431"/>
                <a:gd name="connsiteY37" fmla="*/ 711994 h 1200149"/>
                <a:gd name="connsiteX38" fmla="*/ 473869 w 783431"/>
                <a:gd name="connsiteY38" fmla="*/ 711994 h 1200149"/>
                <a:gd name="connsiteX39" fmla="*/ 435769 w 783431"/>
                <a:gd name="connsiteY39" fmla="*/ 711994 h 1200149"/>
                <a:gd name="connsiteX40" fmla="*/ 438150 w 783431"/>
                <a:gd name="connsiteY40" fmla="*/ 669132 h 1200149"/>
                <a:gd name="connsiteX41" fmla="*/ 428625 w 783431"/>
                <a:gd name="connsiteY41" fmla="*/ 642938 h 1200149"/>
                <a:gd name="connsiteX42" fmla="*/ 423862 w 783431"/>
                <a:gd name="connsiteY42" fmla="*/ 607219 h 1200149"/>
                <a:gd name="connsiteX43" fmla="*/ 426244 w 783431"/>
                <a:gd name="connsiteY43" fmla="*/ 578644 h 1200149"/>
                <a:gd name="connsiteX44" fmla="*/ 440531 w 783431"/>
                <a:gd name="connsiteY44" fmla="*/ 566738 h 1200149"/>
                <a:gd name="connsiteX45" fmla="*/ 450056 w 783431"/>
                <a:gd name="connsiteY45" fmla="*/ 535782 h 1200149"/>
                <a:gd name="connsiteX46" fmla="*/ 457200 w 783431"/>
                <a:gd name="connsiteY46" fmla="*/ 519113 h 1200149"/>
                <a:gd name="connsiteX47" fmla="*/ 481012 w 783431"/>
                <a:gd name="connsiteY47" fmla="*/ 526257 h 1200149"/>
                <a:gd name="connsiteX48" fmla="*/ 495300 w 783431"/>
                <a:gd name="connsiteY48" fmla="*/ 576263 h 1200149"/>
                <a:gd name="connsiteX49" fmla="*/ 507206 w 783431"/>
                <a:gd name="connsiteY49" fmla="*/ 581025 h 1200149"/>
                <a:gd name="connsiteX50" fmla="*/ 526256 w 783431"/>
                <a:gd name="connsiteY50" fmla="*/ 583407 h 1200149"/>
                <a:gd name="connsiteX51" fmla="*/ 554831 w 783431"/>
                <a:gd name="connsiteY51" fmla="*/ 583407 h 1200149"/>
                <a:gd name="connsiteX52" fmla="*/ 557212 w 783431"/>
                <a:gd name="connsiteY52" fmla="*/ 547688 h 1200149"/>
                <a:gd name="connsiteX53" fmla="*/ 545306 w 783431"/>
                <a:gd name="connsiteY53" fmla="*/ 502444 h 1200149"/>
                <a:gd name="connsiteX54" fmla="*/ 545306 w 783431"/>
                <a:gd name="connsiteY54" fmla="*/ 476250 h 1200149"/>
                <a:gd name="connsiteX55" fmla="*/ 581025 w 783431"/>
                <a:gd name="connsiteY55" fmla="*/ 454819 h 1200149"/>
                <a:gd name="connsiteX56" fmla="*/ 604837 w 783431"/>
                <a:gd name="connsiteY56" fmla="*/ 435769 h 1200149"/>
                <a:gd name="connsiteX57" fmla="*/ 640556 w 783431"/>
                <a:gd name="connsiteY57" fmla="*/ 414338 h 1200149"/>
                <a:gd name="connsiteX58" fmla="*/ 645319 w 783431"/>
                <a:gd name="connsiteY58" fmla="*/ 395288 h 1200149"/>
                <a:gd name="connsiteX59" fmla="*/ 633412 w 783431"/>
                <a:gd name="connsiteY59" fmla="*/ 371475 h 1200149"/>
                <a:gd name="connsiteX60" fmla="*/ 614362 w 783431"/>
                <a:gd name="connsiteY60" fmla="*/ 369094 h 1200149"/>
                <a:gd name="connsiteX61" fmla="*/ 609600 w 783431"/>
                <a:gd name="connsiteY61" fmla="*/ 366713 h 1200149"/>
                <a:gd name="connsiteX62" fmla="*/ 597694 w 783431"/>
                <a:gd name="connsiteY62" fmla="*/ 357188 h 1200149"/>
                <a:gd name="connsiteX63" fmla="*/ 611981 w 783431"/>
                <a:gd name="connsiteY63" fmla="*/ 345282 h 1200149"/>
                <a:gd name="connsiteX64" fmla="*/ 652462 w 783431"/>
                <a:gd name="connsiteY64" fmla="*/ 316707 h 1200149"/>
                <a:gd name="connsiteX65" fmla="*/ 678656 w 783431"/>
                <a:gd name="connsiteY65" fmla="*/ 264319 h 1200149"/>
                <a:gd name="connsiteX66" fmla="*/ 666750 w 783431"/>
                <a:gd name="connsiteY66" fmla="*/ 242888 h 1200149"/>
                <a:gd name="connsiteX67" fmla="*/ 638175 w 783431"/>
                <a:gd name="connsiteY67" fmla="*/ 219075 h 1200149"/>
                <a:gd name="connsiteX68" fmla="*/ 642937 w 783431"/>
                <a:gd name="connsiteY68" fmla="*/ 180975 h 1200149"/>
                <a:gd name="connsiteX69" fmla="*/ 673894 w 783431"/>
                <a:gd name="connsiteY69" fmla="*/ 171450 h 1200149"/>
                <a:gd name="connsiteX70" fmla="*/ 700087 w 783431"/>
                <a:gd name="connsiteY70" fmla="*/ 142875 h 1200149"/>
                <a:gd name="connsiteX71" fmla="*/ 700087 w 783431"/>
                <a:gd name="connsiteY71" fmla="*/ 111919 h 1200149"/>
                <a:gd name="connsiteX72" fmla="*/ 666750 w 783431"/>
                <a:gd name="connsiteY72" fmla="*/ 107157 h 1200149"/>
                <a:gd name="connsiteX73" fmla="*/ 645319 w 783431"/>
                <a:gd name="connsiteY73" fmla="*/ 102394 h 1200149"/>
                <a:gd name="connsiteX74" fmla="*/ 645319 w 783431"/>
                <a:gd name="connsiteY74" fmla="*/ 102394 h 1200149"/>
                <a:gd name="connsiteX75" fmla="*/ 678656 w 783431"/>
                <a:gd name="connsiteY75" fmla="*/ 69057 h 1200149"/>
                <a:gd name="connsiteX76" fmla="*/ 685800 w 783431"/>
                <a:gd name="connsiteY76" fmla="*/ 40482 h 1200149"/>
                <a:gd name="connsiteX77" fmla="*/ 678656 w 783431"/>
                <a:gd name="connsiteY77" fmla="*/ 21432 h 1200149"/>
                <a:gd name="connsiteX78" fmla="*/ 695325 w 783431"/>
                <a:gd name="connsiteY78" fmla="*/ 2382 h 1200149"/>
                <a:gd name="connsiteX79" fmla="*/ 628650 w 783431"/>
                <a:gd name="connsiteY79" fmla="*/ 0 h 1200149"/>
                <a:gd name="connsiteX80" fmla="*/ 552450 w 783431"/>
                <a:gd name="connsiteY80" fmla="*/ 52388 h 1200149"/>
                <a:gd name="connsiteX81" fmla="*/ 538162 w 783431"/>
                <a:gd name="connsiteY81" fmla="*/ 90488 h 1200149"/>
                <a:gd name="connsiteX82" fmla="*/ 445294 w 783431"/>
                <a:gd name="connsiteY82" fmla="*/ 126207 h 1200149"/>
                <a:gd name="connsiteX83" fmla="*/ 397669 w 783431"/>
                <a:gd name="connsiteY83" fmla="*/ 159544 h 1200149"/>
                <a:gd name="connsiteX84" fmla="*/ 376237 w 783431"/>
                <a:gd name="connsiteY84" fmla="*/ 190500 h 1200149"/>
                <a:gd name="connsiteX85" fmla="*/ 350044 w 783431"/>
                <a:gd name="connsiteY85" fmla="*/ 140494 h 1200149"/>
                <a:gd name="connsiteX86" fmla="*/ 316706 w 783431"/>
                <a:gd name="connsiteY86" fmla="*/ 140494 h 1200149"/>
                <a:gd name="connsiteX87" fmla="*/ 304800 w 783431"/>
                <a:gd name="connsiteY87" fmla="*/ 166688 h 1200149"/>
                <a:gd name="connsiteX88" fmla="*/ 280987 w 783431"/>
                <a:gd name="connsiteY88" fmla="*/ 230982 h 1200149"/>
                <a:gd name="connsiteX89" fmla="*/ 154781 w 783431"/>
                <a:gd name="connsiteY89" fmla="*/ 223838 h 1200149"/>
                <a:gd name="connsiteX90" fmla="*/ 140494 w 783431"/>
                <a:gd name="connsiteY90" fmla="*/ 245269 h 1200149"/>
                <a:gd name="connsiteX91" fmla="*/ 138112 w 783431"/>
                <a:gd name="connsiteY91" fmla="*/ 280988 h 1200149"/>
                <a:gd name="connsiteX92" fmla="*/ 66675 w 783431"/>
                <a:gd name="connsiteY92" fmla="*/ 309563 h 1200149"/>
                <a:gd name="connsiteX93" fmla="*/ 54769 w 783431"/>
                <a:gd name="connsiteY93" fmla="*/ 323850 h 1200149"/>
                <a:gd name="connsiteX94" fmla="*/ 66675 w 783431"/>
                <a:gd name="connsiteY94" fmla="*/ 381000 h 1200149"/>
                <a:gd name="connsiteX95" fmla="*/ 19050 w 783431"/>
                <a:gd name="connsiteY95" fmla="*/ 423863 h 1200149"/>
                <a:gd name="connsiteX96" fmla="*/ 26194 w 783431"/>
                <a:gd name="connsiteY96" fmla="*/ 490538 h 1200149"/>
                <a:gd name="connsiteX97" fmla="*/ 33337 w 783431"/>
                <a:gd name="connsiteY97" fmla="*/ 554832 h 1200149"/>
                <a:gd name="connsiteX98" fmla="*/ 0 w 783431"/>
                <a:gd name="connsiteY98" fmla="*/ 614363 h 1200149"/>
                <a:gd name="connsiteX0" fmla="*/ 0 w 783431"/>
                <a:gd name="connsiteY0" fmla="*/ 614363 h 1200149"/>
                <a:gd name="connsiteX1" fmla="*/ 21431 w 783431"/>
                <a:gd name="connsiteY1" fmla="*/ 661988 h 1200149"/>
                <a:gd name="connsiteX2" fmla="*/ 28575 w 783431"/>
                <a:gd name="connsiteY2" fmla="*/ 742950 h 1200149"/>
                <a:gd name="connsiteX3" fmla="*/ 76200 w 783431"/>
                <a:gd name="connsiteY3" fmla="*/ 814388 h 1200149"/>
                <a:gd name="connsiteX4" fmla="*/ 102394 w 783431"/>
                <a:gd name="connsiteY4" fmla="*/ 919163 h 1200149"/>
                <a:gd name="connsiteX5" fmla="*/ 116681 w 783431"/>
                <a:gd name="connsiteY5" fmla="*/ 947738 h 1200149"/>
                <a:gd name="connsiteX6" fmla="*/ 130969 w 783431"/>
                <a:gd name="connsiteY6" fmla="*/ 995363 h 1200149"/>
                <a:gd name="connsiteX7" fmla="*/ 150019 w 783431"/>
                <a:gd name="connsiteY7" fmla="*/ 1023938 h 1200149"/>
                <a:gd name="connsiteX8" fmla="*/ 159544 w 783431"/>
                <a:gd name="connsiteY8" fmla="*/ 1042988 h 1200149"/>
                <a:gd name="connsiteX9" fmla="*/ 197644 w 783431"/>
                <a:gd name="connsiteY9" fmla="*/ 1069182 h 1200149"/>
                <a:gd name="connsiteX10" fmla="*/ 245269 w 783431"/>
                <a:gd name="connsiteY10" fmla="*/ 1090613 h 1200149"/>
                <a:gd name="connsiteX11" fmla="*/ 264318 w 783431"/>
                <a:gd name="connsiteY11" fmla="*/ 1131094 h 1200149"/>
                <a:gd name="connsiteX12" fmla="*/ 295275 w 783431"/>
                <a:gd name="connsiteY12" fmla="*/ 1164431 h 1200149"/>
                <a:gd name="connsiteX13" fmla="*/ 385762 w 783431"/>
                <a:gd name="connsiteY13" fmla="*/ 1200149 h 1200149"/>
                <a:gd name="connsiteX14" fmla="*/ 592931 w 783431"/>
                <a:gd name="connsiteY14" fmla="*/ 1126331 h 1200149"/>
                <a:gd name="connsiteX15" fmla="*/ 604837 w 783431"/>
                <a:gd name="connsiteY15" fmla="*/ 1085850 h 1200149"/>
                <a:gd name="connsiteX16" fmla="*/ 585787 w 783431"/>
                <a:gd name="connsiteY16" fmla="*/ 1035844 h 1200149"/>
                <a:gd name="connsiteX17" fmla="*/ 607219 w 783431"/>
                <a:gd name="connsiteY17" fmla="*/ 1021557 h 1200149"/>
                <a:gd name="connsiteX18" fmla="*/ 645319 w 783431"/>
                <a:gd name="connsiteY18" fmla="*/ 1016794 h 1200149"/>
                <a:gd name="connsiteX19" fmla="*/ 685800 w 783431"/>
                <a:gd name="connsiteY19" fmla="*/ 997744 h 1200149"/>
                <a:gd name="connsiteX20" fmla="*/ 716756 w 783431"/>
                <a:gd name="connsiteY20" fmla="*/ 1002507 h 1200149"/>
                <a:gd name="connsiteX21" fmla="*/ 738187 w 783431"/>
                <a:gd name="connsiteY21" fmla="*/ 969169 h 1200149"/>
                <a:gd name="connsiteX22" fmla="*/ 783431 w 783431"/>
                <a:gd name="connsiteY22" fmla="*/ 933450 h 1200149"/>
                <a:gd name="connsiteX23" fmla="*/ 776287 w 783431"/>
                <a:gd name="connsiteY23" fmla="*/ 907257 h 1200149"/>
                <a:gd name="connsiteX24" fmla="*/ 752475 w 783431"/>
                <a:gd name="connsiteY24" fmla="*/ 888207 h 1200149"/>
                <a:gd name="connsiteX25" fmla="*/ 752475 w 783431"/>
                <a:gd name="connsiteY25" fmla="*/ 864394 h 1200149"/>
                <a:gd name="connsiteX26" fmla="*/ 728662 w 783431"/>
                <a:gd name="connsiteY26" fmla="*/ 852488 h 1200149"/>
                <a:gd name="connsiteX27" fmla="*/ 711994 w 783431"/>
                <a:gd name="connsiteY27" fmla="*/ 802482 h 1200149"/>
                <a:gd name="connsiteX28" fmla="*/ 688181 w 783431"/>
                <a:gd name="connsiteY28" fmla="*/ 814388 h 1200149"/>
                <a:gd name="connsiteX29" fmla="*/ 659606 w 783431"/>
                <a:gd name="connsiteY29" fmla="*/ 814388 h 1200149"/>
                <a:gd name="connsiteX30" fmla="*/ 647700 w 783431"/>
                <a:gd name="connsiteY30" fmla="*/ 847725 h 1200149"/>
                <a:gd name="connsiteX31" fmla="*/ 623887 w 783431"/>
                <a:gd name="connsiteY31" fmla="*/ 847725 h 1200149"/>
                <a:gd name="connsiteX32" fmla="*/ 576262 w 783431"/>
                <a:gd name="connsiteY32" fmla="*/ 828675 h 1200149"/>
                <a:gd name="connsiteX33" fmla="*/ 554831 w 783431"/>
                <a:gd name="connsiteY33" fmla="*/ 816769 h 1200149"/>
                <a:gd name="connsiteX34" fmla="*/ 547687 w 783431"/>
                <a:gd name="connsiteY34" fmla="*/ 783432 h 1200149"/>
                <a:gd name="connsiteX35" fmla="*/ 561975 w 783431"/>
                <a:gd name="connsiteY35" fmla="*/ 754857 h 1200149"/>
                <a:gd name="connsiteX36" fmla="*/ 533400 w 783431"/>
                <a:gd name="connsiteY36" fmla="*/ 733425 h 1200149"/>
                <a:gd name="connsiteX37" fmla="*/ 509587 w 783431"/>
                <a:gd name="connsiteY37" fmla="*/ 711994 h 1200149"/>
                <a:gd name="connsiteX38" fmla="*/ 473869 w 783431"/>
                <a:gd name="connsiteY38" fmla="*/ 711994 h 1200149"/>
                <a:gd name="connsiteX39" fmla="*/ 435769 w 783431"/>
                <a:gd name="connsiteY39" fmla="*/ 711994 h 1200149"/>
                <a:gd name="connsiteX40" fmla="*/ 438150 w 783431"/>
                <a:gd name="connsiteY40" fmla="*/ 669132 h 1200149"/>
                <a:gd name="connsiteX41" fmla="*/ 428625 w 783431"/>
                <a:gd name="connsiteY41" fmla="*/ 642938 h 1200149"/>
                <a:gd name="connsiteX42" fmla="*/ 423862 w 783431"/>
                <a:gd name="connsiteY42" fmla="*/ 607219 h 1200149"/>
                <a:gd name="connsiteX43" fmla="*/ 426244 w 783431"/>
                <a:gd name="connsiteY43" fmla="*/ 578644 h 1200149"/>
                <a:gd name="connsiteX44" fmla="*/ 440531 w 783431"/>
                <a:gd name="connsiteY44" fmla="*/ 566738 h 1200149"/>
                <a:gd name="connsiteX45" fmla="*/ 450056 w 783431"/>
                <a:gd name="connsiteY45" fmla="*/ 535782 h 1200149"/>
                <a:gd name="connsiteX46" fmla="*/ 457200 w 783431"/>
                <a:gd name="connsiteY46" fmla="*/ 519113 h 1200149"/>
                <a:gd name="connsiteX47" fmla="*/ 481012 w 783431"/>
                <a:gd name="connsiteY47" fmla="*/ 526257 h 1200149"/>
                <a:gd name="connsiteX48" fmla="*/ 495300 w 783431"/>
                <a:gd name="connsiteY48" fmla="*/ 576263 h 1200149"/>
                <a:gd name="connsiteX49" fmla="*/ 507206 w 783431"/>
                <a:gd name="connsiteY49" fmla="*/ 581025 h 1200149"/>
                <a:gd name="connsiteX50" fmla="*/ 526256 w 783431"/>
                <a:gd name="connsiteY50" fmla="*/ 583407 h 1200149"/>
                <a:gd name="connsiteX51" fmla="*/ 554831 w 783431"/>
                <a:gd name="connsiteY51" fmla="*/ 583407 h 1200149"/>
                <a:gd name="connsiteX52" fmla="*/ 557212 w 783431"/>
                <a:gd name="connsiteY52" fmla="*/ 547688 h 1200149"/>
                <a:gd name="connsiteX53" fmla="*/ 545306 w 783431"/>
                <a:gd name="connsiteY53" fmla="*/ 502444 h 1200149"/>
                <a:gd name="connsiteX54" fmla="*/ 545306 w 783431"/>
                <a:gd name="connsiteY54" fmla="*/ 476250 h 1200149"/>
                <a:gd name="connsiteX55" fmla="*/ 581025 w 783431"/>
                <a:gd name="connsiteY55" fmla="*/ 454819 h 1200149"/>
                <a:gd name="connsiteX56" fmla="*/ 604837 w 783431"/>
                <a:gd name="connsiteY56" fmla="*/ 435769 h 1200149"/>
                <a:gd name="connsiteX57" fmla="*/ 640556 w 783431"/>
                <a:gd name="connsiteY57" fmla="*/ 414338 h 1200149"/>
                <a:gd name="connsiteX58" fmla="*/ 645319 w 783431"/>
                <a:gd name="connsiteY58" fmla="*/ 395288 h 1200149"/>
                <a:gd name="connsiteX59" fmla="*/ 633412 w 783431"/>
                <a:gd name="connsiteY59" fmla="*/ 371475 h 1200149"/>
                <a:gd name="connsiteX60" fmla="*/ 614362 w 783431"/>
                <a:gd name="connsiteY60" fmla="*/ 369094 h 1200149"/>
                <a:gd name="connsiteX61" fmla="*/ 609600 w 783431"/>
                <a:gd name="connsiteY61" fmla="*/ 366713 h 1200149"/>
                <a:gd name="connsiteX62" fmla="*/ 597694 w 783431"/>
                <a:gd name="connsiteY62" fmla="*/ 357188 h 1200149"/>
                <a:gd name="connsiteX63" fmla="*/ 611981 w 783431"/>
                <a:gd name="connsiteY63" fmla="*/ 345282 h 1200149"/>
                <a:gd name="connsiteX64" fmla="*/ 652462 w 783431"/>
                <a:gd name="connsiteY64" fmla="*/ 316707 h 1200149"/>
                <a:gd name="connsiteX65" fmla="*/ 678656 w 783431"/>
                <a:gd name="connsiteY65" fmla="*/ 264319 h 1200149"/>
                <a:gd name="connsiteX66" fmla="*/ 666750 w 783431"/>
                <a:gd name="connsiteY66" fmla="*/ 242888 h 1200149"/>
                <a:gd name="connsiteX67" fmla="*/ 638175 w 783431"/>
                <a:gd name="connsiteY67" fmla="*/ 219075 h 1200149"/>
                <a:gd name="connsiteX68" fmla="*/ 642937 w 783431"/>
                <a:gd name="connsiteY68" fmla="*/ 180975 h 1200149"/>
                <a:gd name="connsiteX69" fmla="*/ 673894 w 783431"/>
                <a:gd name="connsiteY69" fmla="*/ 171450 h 1200149"/>
                <a:gd name="connsiteX70" fmla="*/ 700087 w 783431"/>
                <a:gd name="connsiteY70" fmla="*/ 142875 h 1200149"/>
                <a:gd name="connsiteX71" fmla="*/ 700087 w 783431"/>
                <a:gd name="connsiteY71" fmla="*/ 111919 h 1200149"/>
                <a:gd name="connsiteX72" fmla="*/ 666750 w 783431"/>
                <a:gd name="connsiteY72" fmla="*/ 107157 h 1200149"/>
                <a:gd name="connsiteX73" fmla="*/ 645319 w 783431"/>
                <a:gd name="connsiteY73" fmla="*/ 102394 h 1200149"/>
                <a:gd name="connsiteX74" fmla="*/ 645319 w 783431"/>
                <a:gd name="connsiteY74" fmla="*/ 102394 h 1200149"/>
                <a:gd name="connsiteX75" fmla="*/ 678656 w 783431"/>
                <a:gd name="connsiteY75" fmla="*/ 69057 h 1200149"/>
                <a:gd name="connsiteX76" fmla="*/ 685800 w 783431"/>
                <a:gd name="connsiteY76" fmla="*/ 40482 h 1200149"/>
                <a:gd name="connsiteX77" fmla="*/ 678656 w 783431"/>
                <a:gd name="connsiteY77" fmla="*/ 21432 h 1200149"/>
                <a:gd name="connsiteX78" fmla="*/ 695325 w 783431"/>
                <a:gd name="connsiteY78" fmla="*/ 2382 h 1200149"/>
                <a:gd name="connsiteX79" fmla="*/ 628650 w 783431"/>
                <a:gd name="connsiteY79" fmla="*/ 0 h 1200149"/>
                <a:gd name="connsiteX80" fmla="*/ 552450 w 783431"/>
                <a:gd name="connsiteY80" fmla="*/ 52388 h 1200149"/>
                <a:gd name="connsiteX81" fmla="*/ 538162 w 783431"/>
                <a:gd name="connsiteY81" fmla="*/ 90488 h 1200149"/>
                <a:gd name="connsiteX82" fmla="*/ 445294 w 783431"/>
                <a:gd name="connsiteY82" fmla="*/ 126207 h 1200149"/>
                <a:gd name="connsiteX83" fmla="*/ 397669 w 783431"/>
                <a:gd name="connsiteY83" fmla="*/ 159544 h 1200149"/>
                <a:gd name="connsiteX84" fmla="*/ 376237 w 783431"/>
                <a:gd name="connsiteY84" fmla="*/ 190500 h 1200149"/>
                <a:gd name="connsiteX85" fmla="*/ 350044 w 783431"/>
                <a:gd name="connsiteY85" fmla="*/ 140494 h 1200149"/>
                <a:gd name="connsiteX86" fmla="*/ 316706 w 783431"/>
                <a:gd name="connsiteY86" fmla="*/ 140494 h 1200149"/>
                <a:gd name="connsiteX87" fmla="*/ 304800 w 783431"/>
                <a:gd name="connsiteY87" fmla="*/ 166688 h 1200149"/>
                <a:gd name="connsiteX88" fmla="*/ 280987 w 783431"/>
                <a:gd name="connsiteY88" fmla="*/ 230982 h 1200149"/>
                <a:gd name="connsiteX89" fmla="*/ 154781 w 783431"/>
                <a:gd name="connsiteY89" fmla="*/ 223838 h 1200149"/>
                <a:gd name="connsiteX90" fmla="*/ 140494 w 783431"/>
                <a:gd name="connsiteY90" fmla="*/ 245269 h 1200149"/>
                <a:gd name="connsiteX91" fmla="*/ 138112 w 783431"/>
                <a:gd name="connsiteY91" fmla="*/ 280988 h 1200149"/>
                <a:gd name="connsiteX92" fmla="*/ 66675 w 783431"/>
                <a:gd name="connsiteY92" fmla="*/ 309563 h 1200149"/>
                <a:gd name="connsiteX93" fmla="*/ 54769 w 783431"/>
                <a:gd name="connsiteY93" fmla="*/ 323850 h 1200149"/>
                <a:gd name="connsiteX94" fmla="*/ 66675 w 783431"/>
                <a:gd name="connsiteY94" fmla="*/ 381000 h 1200149"/>
                <a:gd name="connsiteX95" fmla="*/ 19050 w 783431"/>
                <a:gd name="connsiteY95" fmla="*/ 423863 h 1200149"/>
                <a:gd name="connsiteX96" fmla="*/ 26194 w 783431"/>
                <a:gd name="connsiteY96" fmla="*/ 490538 h 1200149"/>
                <a:gd name="connsiteX97" fmla="*/ 33337 w 783431"/>
                <a:gd name="connsiteY97" fmla="*/ 554832 h 1200149"/>
                <a:gd name="connsiteX98" fmla="*/ 0 w 783431"/>
                <a:gd name="connsiteY98" fmla="*/ 614363 h 1200149"/>
                <a:gd name="connsiteX0" fmla="*/ 0 w 783431"/>
                <a:gd name="connsiteY0" fmla="*/ 614363 h 1200149"/>
                <a:gd name="connsiteX1" fmla="*/ 21431 w 783431"/>
                <a:gd name="connsiteY1" fmla="*/ 661988 h 1200149"/>
                <a:gd name="connsiteX2" fmla="*/ 28575 w 783431"/>
                <a:gd name="connsiteY2" fmla="*/ 742950 h 1200149"/>
                <a:gd name="connsiteX3" fmla="*/ 76200 w 783431"/>
                <a:gd name="connsiteY3" fmla="*/ 814388 h 1200149"/>
                <a:gd name="connsiteX4" fmla="*/ 102394 w 783431"/>
                <a:gd name="connsiteY4" fmla="*/ 919163 h 1200149"/>
                <a:gd name="connsiteX5" fmla="*/ 116681 w 783431"/>
                <a:gd name="connsiteY5" fmla="*/ 947738 h 1200149"/>
                <a:gd name="connsiteX6" fmla="*/ 130969 w 783431"/>
                <a:gd name="connsiteY6" fmla="*/ 995363 h 1200149"/>
                <a:gd name="connsiteX7" fmla="*/ 150019 w 783431"/>
                <a:gd name="connsiteY7" fmla="*/ 1023938 h 1200149"/>
                <a:gd name="connsiteX8" fmla="*/ 159544 w 783431"/>
                <a:gd name="connsiteY8" fmla="*/ 1042988 h 1200149"/>
                <a:gd name="connsiteX9" fmla="*/ 197644 w 783431"/>
                <a:gd name="connsiteY9" fmla="*/ 1069182 h 1200149"/>
                <a:gd name="connsiteX10" fmla="*/ 245269 w 783431"/>
                <a:gd name="connsiteY10" fmla="*/ 1090613 h 1200149"/>
                <a:gd name="connsiteX11" fmla="*/ 264318 w 783431"/>
                <a:gd name="connsiteY11" fmla="*/ 1131094 h 1200149"/>
                <a:gd name="connsiteX12" fmla="*/ 295275 w 783431"/>
                <a:gd name="connsiteY12" fmla="*/ 1164431 h 1200149"/>
                <a:gd name="connsiteX13" fmla="*/ 385762 w 783431"/>
                <a:gd name="connsiteY13" fmla="*/ 1200149 h 1200149"/>
                <a:gd name="connsiteX14" fmla="*/ 545306 w 783431"/>
                <a:gd name="connsiteY14" fmla="*/ 1145381 h 1200149"/>
                <a:gd name="connsiteX15" fmla="*/ 592931 w 783431"/>
                <a:gd name="connsiteY15" fmla="*/ 1126331 h 1200149"/>
                <a:gd name="connsiteX16" fmla="*/ 604837 w 783431"/>
                <a:gd name="connsiteY16" fmla="*/ 1085850 h 1200149"/>
                <a:gd name="connsiteX17" fmla="*/ 585787 w 783431"/>
                <a:gd name="connsiteY17" fmla="*/ 1035844 h 1200149"/>
                <a:gd name="connsiteX18" fmla="*/ 607219 w 783431"/>
                <a:gd name="connsiteY18" fmla="*/ 1021557 h 1200149"/>
                <a:gd name="connsiteX19" fmla="*/ 645319 w 783431"/>
                <a:gd name="connsiteY19" fmla="*/ 1016794 h 1200149"/>
                <a:gd name="connsiteX20" fmla="*/ 685800 w 783431"/>
                <a:gd name="connsiteY20" fmla="*/ 997744 h 1200149"/>
                <a:gd name="connsiteX21" fmla="*/ 716756 w 783431"/>
                <a:gd name="connsiteY21" fmla="*/ 1002507 h 1200149"/>
                <a:gd name="connsiteX22" fmla="*/ 738187 w 783431"/>
                <a:gd name="connsiteY22" fmla="*/ 969169 h 1200149"/>
                <a:gd name="connsiteX23" fmla="*/ 783431 w 783431"/>
                <a:gd name="connsiteY23" fmla="*/ 933450 h 1200149"/>
                <a:gd name="connsiteX24" fmla="*/ 776287 w 783431"/>
                <a:gd name="connsiteY24" fmla="*/ 907257 h 1200149"/>
                <a:gd name="connsiteX25" fmla="*/ 752475 w 783431"/>
                <a:gd name="connsiteY25" fmla="*/ 888207 h 1200149"/>
                <a:gd name="connsiteX26" fmla="*/ 752475 w 783431"/>
                <a:gd name="connsiteY26" fmla="*/ 864394 h 1200149"/>
                <a:gd name="connsiteX27" fmla="*/ 728662 w 783431"/>
                <a:gd name="connsiteY27" fmla="*/ 852488 h 1200149"/>
                <a:gd name="connsiteX28" fmla="*/ 711994 w 783431"/>
                <a:gd name="connsiteY28" fmla="*/ 802482 h 1200149"/>
                <a:gd name="connsiteX29" fmla="*/ 688181 w 783431"/>
                <a:gd name="connsiteY29" fmla="*/ 814388 h 1200149"/>
                <a:gd name="connsiteX30" fmla="*/ 659606 w 783431"/>
                <a:gd name="connsiteY30" fmla="*/ 814388 h 1200149"/>
                <a:gd name="connsiteX31" fmla="*/ 647700 w 783431"/>
                <a:gd name="connsiteY31" fmla="*/ 847725 h 1200149"/>
                <a:gd name="connsiteX32" fmla="*/ 623887 w 783431"/>
                <a:gd name="connsiteY32" fmla="*/ 847725 h 1200149"/>
                <a:gd name="connsiteX33" fmla="*/ 576262 w 783431"/>
                <a:gd name="connsiteY33" fmla="*/ 828675 h 1200149"/>
                <a:gd name="connsiteX34" fmla="*/ 554831 w 783431"/>
                <a:gd name="connsiteY34" fmla="*/ 816769 h 1200149"/>
                <a:gd name="connsiteX35" fmla="*/ 547687 w 783431"/>
                <a:gd name="connsiteY35" fmla="*/ 783432 h 1200149"/>
                <a:gd name="connsiteX36" fmla="*/ 561975 w 783431"/>
                <a:gd name="connsiteY36" fmla="*/ 754857 h 1200149"/>
                <a:gd name="connsiteX37" fmla="*/ 533400 w 783431"/>
                <a:gd name="connsiteY37" fmla="*/ 733425 h 1200149"/>
                <a:gd name="connsiteX38" fmla="*/ 509587 w 783431"/>
                <a:gd name="connsiteY38" fmla="*/ 711994 h 1200149"/>
                <a:gd name="connsiteX39" fmla="*/ 473869 w 783431"/>
                <a:gd name="connsiteY39" fmla="*/ 711994 h 1200149"/>
                <a:gd name="connsiteX40" fmla="*/ 435769 w 783431"/>
                <a:gd name="connsiteY40" fmla="*/ 711994 h 1200149"/>
                <a:gd name="connsiteX41" fmla="*/ 438150 w 783431"/>
                <a:gd name="connsiteY41" fmla="*/ 669132 h 1200149"/>
                <a:gd name="connsiteX42" fmla="*/ 428625 w 783431"/>
                <a:gd name="connsiteY42" fmla="*/ 642938 h 1200149"/>
                <a:gd name="connsiteX43" fmla="*/ 423862 w 783431"/>
                <a:gd name="connsiteY43" fmla="*/ 607219 h 1200149"/>
                <a:gd name="connsiteX44" fmla="*/ 426244 w 783431"/>
                <a:gd name="connsiteY44" fmla="*/ 578644 h 1200149"/>
                <a:gd name="connsiteX45" fmla="*/ 440531 w 783431"/>
                <a:gd name="connsiteY45" fmla="*/ 566738 h 1200149"/>
                <a:gd name="connsiteX46" fmla="*/ 450056 w 783431"/>
                <a:gd name="connsiteY46" fmla="*/ 535782 h 1200149"/>
                <a:gd name="connsiteX47" fmla="*/ 457200 w 783431"/>
                <a:gd name="connsiteY47" fmla="*/ 519113 h 1200149"/>
                <a:gd name="connsiteX48" fmla="*/ 481012 w 783431"/>
                <a:gd name="connsiteY48" fmla="*/ 526257 h 1200149"/>
                <a:gd name="connsiteX49" fmla="*/ 495300 w 783431"/>
                <a:gd name="connsiteY49" fmla="*/ 576263 h 1200149"/>
                <a:gd name="connsiteX50" fmla="*/ 507206 w 783431"/>
                <a:gd name="connsiteY50" fmla="*/ 581025 h 1200149"/>
                <a:gd name="connsiteX51" fmla="*/ 526256 w 783431"/>
                <a:gd name="connsiteY51" fmla="*/ 583407 h 1200149"/>
                <a:gd name="connsiteX52" fmla="*/ 554831 w 783431"/>
                <a:gd name="connsiteY52" fmla="*/ 583407 h 1200149"/>
                <a:gd name="connsiteX53" fmla="*/ 557212 w 783431"/>
                <a:gd name="connsiteY53" fmla="*/ 547688 h 1200149"/>
                <a:gd name="connsiteX54" fmla="*/ 545306 w 783431"/>
                <a:gd name="connsiteY54" fmla="*/ 502444 h 1200149"/>
                <a:gd name="connsiteX55" fmla="*/ 545306 w 783431"/>
                <a:gd name="connsiteY55" fmla="*/ 476250 h 1200149"/>
                <a:gd name="connsiteX56" fmla="*/ 581025 w 783431"/>
                <a:gd name="connsiteY56" fmla="*/ 454819 h 1200149"/>
                <a:gd name="connsiteX57" fmla="*/ 604837 w 783431"/>
                <a:gd name="connsiteY57" fmla="*/ 435769 h 1200149"/>
                <a:gd name="connsiteX58" fmla="*/ 640556 w 783431"/>
                <a:gd name="connsiteY58" fmla="*/ 414338 h 1200149"/>
                <a:gd name="connsiteX59" fmla="*/ 645319 w 783431"/>
                <a:gd name="connsiteY59" fmla="*/ 395288 h 1200149"/>
                <a:gd name="connsiteX60" fmla="*/ 633412 w 783431"/>
                <a:gd name="connsiteY60" fmla="*/ 371475 h 1200149"/>
                <a:gd name="connsiteX61" fmla="*/ 614362 w 783431"/>
                <a:gd name="connsiteY61" fmla="*/ 369094 h 1200149"/>
                <a:gd name="connsiteX62" fmla="*/ 609600 w 783431"/>
                <a:gd name="connsiteY62" fmla="*/ 366713 h 1200149"/>
                <a:gd name="connsiteX63" fmla="*/ 597694 w 783431"/>
                <a:gd name="connsiteY63" fmla="*/ 357188 h 1200149"/>
                <a:gd name="connsiteX64" fmla="*/ 611981 w 783431"/>
                <a:gd name="connsiteY64" fmla="*/ 345282 h 1200149"/>
                <a:gd name="connsiteX65" fmla="*/ 652462 w 783431"/>
                <a:gd name="connsiteY65" fmla="*/ 316707 h 1200149"/>
                <a:gd name="connsiteX66" fmla="*/ 678656 w 783431"/>
                <a:gd name="connsiteY66" fmla="*/ 264319 h 1200149"/>
                <a:gd name="connsiteX67" fmla="*/ 666750 w 783431"/>
                <a:gd name="connsiteY67" fmla="*/ 242888 h 1200149"/>
                <a:gd name="connsiteX68" fmla="*/ 638175 w 783431"/>
                <a:gd name="connsiteY68" fmla="*/ 219075 h 1200149"/>
                <a:gd name="connsiteX69" fmla="*/ 642937 w 783431"/>
                <a:gd name="connsiteY69" fmla="*/ 180975 h 1200149"/>
                <a:gd name="connsiteX70" fmla="*/ 673894 w 783431"/>
                <a:gd name="connsiteY70" fmla="*/ 171450 h 1200149"/>
                <a:gd name="connsiteX71" fmla="*/ 700087 w 783431"/>
                <a:gd name="connsiteY71" fmla="*/ 142875 h 1200149"/>
                <a:gd name="connsiteX72" fmla="*/ 700087 w 783431"/>
                <a:gd name="connsiteY72" fmla="*/ 111919 h 1200149"/>
                <a:gd name="connsiteX73" fmla="*/ 666750 w 783431"/>
                <a:gd name="connsiteY73" fmla="*/ 107157 h 1200149"/>
                <a:gd name="connsiteX74" fmla="*/ 645319 w 783431"/>
                <a:gd name="connsiteY74" fmla="*/ 102394 h 1200149"/>
                <a:gd name="connsiteX75" fmla="*/ 645319 w 783431"/>
                <a:gd name="connsiteY75" fmla="*/ 102394 h 1200149"/>
                <a:gd name="connsiteX76" fmla="*/ 678656 w 783431"/>
                <a:gd name="connsiteY76" fmla="*/ 69057 h 1200149"/>
                <a:gd name="connsiteX77" fmla="*/ 685800 w 783431"/>
                <a:gd name="connsiteY77" fmla="*/ 40482 h 1200149"/>
                <a:gd name="connsiteX78" fmla="*/ 678656 w 783431"/>
                <a:gd name="connsiteY78" fmla="*/ 21432 h 1200149"/>
                <a:gd name="connsiteX79" fmla="*/ 695325 w 783431"/>
                <a:gd name="connsiteY79" fmla="*/ 2382 h 1200149"/>
                <a:gd name="connsiteX80" fmla="*/ 628650 w 783431"/>
                <a:gd name="connsiteY80" fmla="*/ 0 h 1200149"/>
                <a:gd name="connsiteX81" fmla="*/ 552450 w 783431"/>
                <a:gd name="connsiteY81" fmla="*/ 52388 h 1200149"/>
                <a:gd name="connsiteX82" fmla="*/ 538162 w 783431"/>
                <a:gd name="connsiteY82" fmla="*/ 90488 h 1200149"/>
                <a:gd name="connsiteX83" fmla="*/ 445294 w 783431"/>
                <a:gd name="connsiteY83" fmla="*/ 126207 h 1200149"/>
                <a:gd name="connsiteX84" fmla="*/ 397669 w 783431"/>
                <a:gd name="connsiteY84" fmla="*/ 159544 h 1200149"/>
                <a:gd name="connsiteX85" fmla="*/ 376237 w 783431"/>
                <a:gd name="connsiteY85" fmla="*/ 190500 h 1200149"/>
                <a:gd name="connsiteX86" fmla="*/ 350044 w 783431"/>
                <a:gd name="connsiteY86" fmla="*/ 140494 h 1200149"/>
                <a:gd name="connsiteX87" fmla="*/ 316706 w 783431"/>
                <a:gd name="connsiteY87" fmla="*/ 140494 h 1200149"/>
                <a:gd name="connsiteX88" fmla="*/ 304800 w 783431"/>
                <a:gd name="connsiteY88" fmla="*/ 166688 h 1200149"/>
                <a:gd name="connsiteX89" fmla="*/ 280987 w 783431"/>
                <a:gd name="connsiteY89" fmla="*/ 230982 h 1200149"/>
                <a:gd name="connsiteX90" fmla="*/ 154781 w 783431"/>
                <a:gd name="connsiteY90" fmla="*/ 223838 h 1200149"/>
                <a:gd name="connsiteX91" fmla="*/ 140494 w 783431"/>
                <a:gd name="connsiteY91" fmla="*/ 245269 h 1200149"/>
                <a:gd name="connsiteX92" fmla="*/ 138112 w 783431"/>
                <a:gd name="connsiteY92" fmla="*/ 280988 h 1200149"/>
                <a:gd name="connsiteX93" fmla="*/ 66675 w 783431"/>
                <a:gd name="connsiteY93" fmla="*/ 309563 h 1200149"/>
                <a:gd name="connsiteX94" fmla="*/ 54769 w 783431"/>
                <a:gd name="connsiteY94" fmla="*/ 323850 h 1200149"/>
                <a:gd name="connsiteX95" fmla="*/ 66675 w 783431"/>
                <a:gd name="connsiteY95" fmla="*/ 381000 h 1200149"/>
                <a:gd name="connsiteX96" fmla="*/ 19050 w 783431"/>
                <a:gd name="connsiteY96" fmla="*/ 423863 h 1200149"/>
                <a:gd name="connsiteX97" fmla="*/ 26194 w 783431"/>
                <a:gd name="connsiteY97" fmla="*/ 490538 h 1200149"/>
                <a:gd name="connsiteX98" fmla="*/ 33337 w 783431"/>
                <a:gd name="connsiteY98" fmla="*/ 554832 h 1200149"/>
                <a:gd name="connsiteX99" fmla="*/ 0 w 783431"/>
                <a:gd name="connsiteY99" fmla="*/ 614363 h 1200149"/>
                <a:gd name="connsiteX0" fmla="*/ 0 w 783431"/>
                <a:gd name="connsiteY0" fmla="*/ 614363 h 1202531"/>
                <a:gd name="connsiteX1" fmla="*/ 21431 w 783431"/>
                <a:gd name="connsiteY1" fmla="*/ 661988 h 1202531"/>
                <a:gd name="connsiteX2" fmla="*/ 28575 w 783431"/>
                <a:gd name="connsiteY2" fmla="*/ 742950 h 1202531"/>
                <a:gd name="connsiteX3" fmla="*/ 76200 w 783431"/>
                <a:gd name="connsiteY3" fmla="*/ 814388 h 1202531"/>
                <a:gd name="connsiteX4" fmla="*/ 102394 w 783431"/>
                <a:gd name="connsiteY4" fmla="*/ 919163 h 1202531"/>
                <a:gd name="connsiteX5" fmla="*/ 116681 w 783431"/>
                <a:gd name="connsiteY5" fmla="*/ 947738 h 1202531"/>
                <a:gd name="connsiteX6" fmla="*/ 130969 w 783431"/>
                <a:gd name="connsiteY6" fmla="*/ 995363 h 1202531"/>
                <a:gd name="connsiteX7" fmla="*/ 150019 w 783431"/>
                <a:gd name="connsiteY7" fmla="*/ 1023938 h 1202531"/>
                <a:gd name="connsiteX8" fmla="*/ 159544 w 783431"/>
                <a:gd name="connsiteY8" fmla="*/ 1042988 h 1202531"/>
                <a:gd name="connsiteX9" fmla="*/ 197644 w 783431"/>
                <a:gd name="connsiteY9" fmla="*/ 1069182 h 1202531"/>
                <a:gd name="connsiteX10" fmla="*/ 245269 w 783431"/>
                <a:gd name="connsiteY10" fmla="*/ 1090613 h 1202531"/>
                <a:gd name="connsiteX11" fmla="*/ 264318 w 783431"/>
                <a:gd name="connsiteY11" fmla="*/ 1131094 h 1202531"/>
                <a:gd name="connsiteX12" fmla="*/ 295275 w 783431"/>
                <a:gd name="connsiteY12" fmla="*/ 1164431 h 1202531"/>
                <a:gd name="connsiteX13" fmla="*/ 385762 w 783431"/>
                <a:gd name="connsiteY13" fmla="*/ 1200149 h 1202531"/>
                <a:gd name="connsiteX14" fmla="*/ 554831 w 783431"/>
                <a:gd name="connsiteY14" fmla="*/ 1202531 h 1202531"/>
                <a:gd name="connsiteX15" fmla="*/ 592931 w 783431"/>
                <a:gd name="connsiteY15" fmla="*/ 1126331 h 1202531"/>
                <a:gd name="connsiteX16" fmla="*/ 604837 w 783431"/>
                <a:gd name="connsiteY16" fmla="*/ 1085850 h 1202531"/>
                <a:gd name="connsiteX17" fmla="*/ 585787 w 783431"/>
                <a:gd name="connsiteY17" fmla="*/ 1035844 h 1202531"/>
                <a:gd name="connsiteX18" fmla="*/ 607219 w 783431"/>
                <a:gd name="connsiteY18" fmla="*/ 1021557 h 1202531"/>
                <a:gd name="connsiteX19" fmla="*/ 645319 w 783431"/>
                <a:gd name="connsiteY19" fmla="*/ 1016794 h 1202531"/>
                <a:gd name="connsiteX20" fmla="*/ 685800 w 783431"/>
                <a:gd name="connsiteY20" fmla="*/ 997744 h 1202531"/>
                <a:gd name="connsiteX21" fmla="*/ 716756 w 783431"/>
                <a:gd name="connsiteY21" fmla="*/ 1002507 h 1202531"/>
                <a:gd name="connsiteX22" fmla="*/ 738187 w 783431"/>
                <a:gd name="connsiteY22" fmla="*/ 969169 h 1202531"/>
                <a:gd name="connsiteX23" fmla="*/ 783431 w 783431"/>
                <a:gd name="connsiteY23" fmla="*/ 933450 h 1202531"/>
                <a:gd name="connsiteX24" fmla="*/ 776287 w 783431"/>
                <a:gd name="connsiteY24" fmla="*/ 907257 h 1202531"/>
                <a:gd name="connsiteX25" fmla="*/ 752475 w 783431"/>
                <a:gd name="connsiteY25" fmla="*/ 888207 h 1202531"/>
                <a:gd name="connsiteX26" fmla="*/ 752475 w 783431"/>
                <a:gd name="connsiteY26" fmla="*/ 864394 h 1202531"/>
                <a:gd name="connsiteX27" fmla="*/ 728662 w 783431"/>
                <a:gd name="connsiteY27" fmla="*/ 852488 h 1202531"/>
                <a:gd name="connsiteX28" fmla="*/ 711994 w 783431"/>
                <a:gd name="connsiteY28" fmla="*/ 802482 h 1202531"/>
                <a:gd name="connsiteX29" fmla="*/ 688181 w 783431"/>
                <a:gd name="connsiteY29" fmla="*/ 814388 h 1202531"/>
                <a:gd name="connsiteX30" fmla="*/ 659606 w 783431"/>
                <a:gd name="connsiteY30" fmla="*/ 814388 h 1202531"/>
                <a:gd name="connsiteX31" fmla="*/ 647700 w 783431"/>
                <a:gd name="connsiteY31" fmla="*/ 847725 h 1202531"/>
                <a:gd name="connsiteX32" fmla="*/ 623887 w 783431"/>
                <a:gd name="connsiteY32" fmla="*/ 847725 h 1202531"/>
                <a:gd name="connsiteX33" fmla="*/ 576262 w 783431"/>
                <a:gd name="connsiteY33" fmla="*/ 828675 h 1202531"/>
                <a:gd name="connsiteX34" fmla="*/ 554831 w 783431"/>
                <a:gd name="connsiteY34" fmla="*/ 816769 h 1202531"/>
                <a:gd name="connsiteX35" fmla="*/ 547687 w 783431"/>
                <a:gd name="connsiteY35" fmla="*/ 783432 h 1202531"/>
                <a:gd name="connsiteX36" fmla="*/ 561975 w 783431"/>
                <a:gd name="connsiteY36" fmla="*/ 754857 h 1202531"/>
                <a:gd name="connsiteX37" fmla="*/ 533400 w 783431"/>
                <a:gd name="connsiteY37" fmla="*/ 733425 h 1202531"/>
                <a:gd name="connsiteX38" fmla="*/ 509587 w 783431"/>
                <a:gd name="connsiteY38" fmla="*/ 711994 h 1202531"/>
                <a:gd name="connsiteX39" fmla="*/ 473869 w 783431"/>
                <a:gd name="connsiteY39" fmla="*/ 711994 h 1202531"/>
                <a:gd name="connsiteX40" fmla="*/ 435769 w 783431"/>
                <a:gd name="connsiteY40" fmla="*/ 711994 h 1202531"/>
                <a:gd name="connsiteX41" fmla="*/ 438150 w 783431"/>
                <a:gd name="connsiteY41" fmla="*/ 669132 h 1202531"/>
                <a:gd name="connsiteX42" fmla="*/ 428625 w 783431"/>
                <a:gd name="connsiteY42" fmla="*/ 642938 h 1202531"/>
                <a:gd name="connsiteX43" fmla="*/ 423862 w 783431"/>
                <a:gd name="connsiteY43" fmla="*/ 607219 h 1202531"/>
                <a:gd name="connsiteX44" fmla="*/ 426244 w 783431"/>
                <a:gd name="connsiteY44" fmla="*/ 578644 h 1202531"/>
                <a:gd name="connsiteX45" fmla="*/ 440531 w 783431"/>
                <a:gd name="connsiteY45" fmla="*/ 566738 h 1202531"/>
                <a:gd name="connsiteX46" fmla="*/ 450056 w 783431"/>
                <a:gd name="connsiteY46" fmla="*/ 535782 h 1202531"/>
                <a:gd name="connsiteX47" fmla="*/ 457200 w 783431"/>
                <a:gd name="connsiteY47" fmla="*/ 519113 h 1202531"/>
                <a:gd name="connsiteX48" fmla="*/ 481012 w 783431"/>
                <a:gd name="connsiteY48" fmla="*/ 526257 h 1202531"/>
                <a:gd name="connsiteX49" fmla="*/ 495300 w 783431"/>
                <a:gd name="connsiteY49" fmla="*/ 576263 h 1202531"/>
                <a:gd name="connsiteX50" fmla="*/ 507206 w 783431"/>
                <a:gd name="connsiteY50" fmla="*/ 581025 h 1202531"/>
                <a:gd name="connsiteX51" fmla="*/ 526256 w 783431"/>
                <a:gd name="connsiteY51" fmla="*/ 583407 h 1202531"/>
                <a:gd name="connsiteX52" fmla="*/ 554831 w 783431"/>
                <a:gd name="connsiteY52" fmla="*/ 583407 h 1202531"/>
                <a:gd name="connsiteX53" fmla="*/ 557212 w 783431"/>
                <a:gd name="connsiteY53" fmla="*/ 547688 h 1202531"/>
                <a:gd name="connsiteX54" fmla="*/ 545306 w 783431"/>
                <a:gd name="connsiteY54" fmla="*/ 502444 h 1202531"/>
                <a:gd name="connsiteX55" fmla="*/ 545306 w 783431"/>
                <a:gd name="connsiteY55" fmla="*/ 476250 h 1202531"/>
                <a:gd name="connsiteX56" fmla="*/ 581025 w 783431"/>
                <a:gd name="connsiteY56" fmla="*/ 454819 h 1202531"/>
                <a:gd name="connsiteX57" fmla="*/ 604837 w 783431"/>
                <a:gd name="connsiteY57" fmla="*/ 435769 h 1202531"/>
                <a:gd name="connsiteX58" fmla="*/ 640556 w 783431"/>
                <a:gd name="connsiteY58" fmla="*/ 414338 h 1202531"/>
                <a:gd name="connsiteX59" fmla="*/ 645319 w 783431"/>
                <a:gd name="connsiteY59" fmla="*/ 395288 h 1202531"/>
                <a:gd name="connsiteX60" fmla="*/ 633412 w 783431"/>
                <a:gd name="connsiteY60" fmla="*/ 371475 h 1202531"/>
                <a:gd name="connsiteX61" fmla="*/ 614362 w 783431"/>
                <a:gd name="connsiteY61" fmla="*/ 369094 h 1202531"/>
                <a:gd name="connsiteX62" fmla="*/ 609600 w 783431"/>
                <a:gd name="connsiteY62" fmla="*/ 366713 h 1202531"/>
                <a:gd name="connsiteX63" fmla="*/ 597694 w 783431"/>
                <a:gd name="connsiteY63" fmla="*/ 357188 h 1202531"/>
                <a:gd name="connsiteX64" fmla="*/ 611981 w 783431"/>
                <a:gd name="connsiteY64" fmla="*/ 345282 h 1202531"/>
                <a:gd name="connsiteX65" fmla="*/ 652462 w 783431"/>
                <a:gd name="connsiteY65" fmla="*/ 316707 h 1202531"/>
                <a:gd name="connsiteX66" fmla="*/ 678656 w 783431"/>
                <a:gd name="connsiteY66" fmla="*/ 264319 h 1202531"/>
                <a:gd name="connsiteX67" fmla="*/ 666750 w 783431"/>
                <a:gd name="connsiteY67" fmla="*/ 242888 h 1202531"/>
                <a:gd name="connsiteX68" fmla="*/ 638175 w 783431"/>
                <a:gd name="connsiteY68" fmla="*/ 219075 h 1202531"/>
                <a:gd name="connsiteX69" fmla="*/ 642937 w 783431"/>
                <a:gd name="connsiteY69" fmla="*/ 180975 h 1202531"/>
                <a:gd name="connsiteX70" fmla="*/ 673894 w 783431"/>
                <a:gd name="connsiteY70" fmla="*/ 171450 h 1202531"/>
                <a:gd name="connsiteX71" fmla="*/ 700087 w 783431"/>
                <a:gd name="connsiteY71" fmla="*/ 142875 h 1202531"/>
                <a:gd name="connsiteX72" fmla="*/ 700087 w 783431"/>
                <a:gd name="connsiteY72" fmla="*/ 111919 h 1202531"/>
                <a:gd name="connsiteX73" fmla="*/ 666750 w 783431"/>
                <a:gd name="connsiteY73" fmla="*/ 107157 h 1202531"/>
                <a:gd name="connsiteX74" fmla="*/ 645319 w 783431"/>
                <a:gd name="connsiteY74" fmla="*/ 102394 h 1202531"/>
                <a:gd name="connsiteX75" fmla="*/ 645319 w 783431"/>
                <a:gd name="connsiteY75" fmla="*/ 102394 h 1202531"/>
                <a:gd name="connsiteX76" fmla="*/ 678656 w 783431"/>
                <a:gd name="connsiteY76" fmla="*/ 69057 h 1202531"/>
                <a:gd name="connsiteX77" fmla="*/ 685800 w 783431"/>
                <a:gd name="connsiteY77" fmla="*/ 40482 h 1202531"/>
                <a:gd name="connsiteX78" fmla="*/ 678656 w 783431"/>
                <a:gd name="connsiteY78" fmla="*/ 21432 h 1202531"/>
                <a:gd name="connsiteX79" fmla="*/ 695325 w 783431"/>
                <a:gd name="connsiteY79" fmla="*/ 2382 h 1202531"/>
                <a:gd name="connsiteX80" fmla="*/ 628650 w 783431"/>
                <a:gd name="connsiteY80" fmla="*/ 0 h 1202531"/>
                <a:gd name="connsiteX81" fmla="*/ 552450 w 783431"/>
                <a:gd name="connsiteY81" fmla="*/ 52388 h 1202531"/>
                <a:gd name="connsiteX82" fmla="*/ 538162 w 783431"/>
                <a:gd name="connsiteY82" fmla="*/ 90488 h 1202531"/>
                <a:gd name="connsiteX83" fmla="*/ 445294 w 783431"/>
                <a:gd name="connsiteY83" fmla="*/ 126207 h 1202531"/>
                <a:gd name="connsiteX84" fmla="*/ 397669 w 783431"/>
                <a:gd name="connsiteY84" fmla="*/ 159544 h 1202531"/>
                <a:gd name="connsiteX85" fmla="*/ 376237 w 783431"/>
                <a:gd name="connsiteY85" fmla="*/ 190500 h 1202531"/>
                <a:gd name="connsiteX86" fmla="*/ 350044 w 783431"/>
                <a:gd name="connsiteY86" fmla="*/ 140494 h 1202531"/>
                <a:gd name="connsiteX87" fmla="*/ 316706 w 783431"/>
                <a:gd name="connsiteY87" fmla="*/ 140494 h 1202531"/>
                <a:gd name="connsiteX88" fmla="*/ 304800 w 783431"/>
                <a:gd name="connsiteY88" fmla="*/ 166688 h 1202531"/>
                <a:gd name="connsiteX89" fmla="*/ 280987 w 783431"/>
                <a:gd name="connsiteY89" fmla="*/ 230982 h 1202531"/>
                <a:gd name="connsiteX90" fmla="*/ 154781 w 783431"/>
                <a:gd name="connsiteY90" fmla="*/ 223838 h 1202531"/>
                <a:gd name="connsiteX91" fmla="*/ 140494 w 783431"/>
                <a:gd name="connsiteY91" fmla="*/ 245269 h 1202531"/>
                <a:gd name="connsiteX92" fmla="*/ 138112 w 783431"/>
                <a:gd name="connsiteY92" fmla="*/ 280988 h 1202531"/>
                <a:gd name="connsiteX93" fmla="*/ 66675 w 783431"/>
                <a:gd name="connsiteY93" fmla="*/ 309563 h 1202531"/>
                <a:gd name="connsiteX94" fmla="*/ 54769 w 783431"/>
                <a:gd name="connsiteY94" fmla="*/ 323850 h 1202531"/>
                <a:gd name="connsiteX95" fmla="*/ 66675 w 783431"/>
                <a:gd name="connsiteY95" fmla="*/ 381000 h 1202531"/>
                <a:gd name="connsiteX96" fmla="*/ 19050 w 783431"/>
                <a:gd name="connsiteY96" fmla="*/ 423863 h 1202531"/>
                <a:gd name="connsiteX97" fmla="*/ 26194 w 783431"/>
                <a:gd name="connsiteY97" fmla="*/ 490538 h 1202531"/>
                <a:gd name="connsiteX98" fmla="*/ 33337 w 783431"/>
                <a:gd name="connsiteY98" fmla="*/ 554832 h 1202531"/>
                <a:gd name="connsiteX99" fmla="*/ 0 w 783431"/>
                <a:gd name="connsiteY99" fmla="*/ 614363 h 1202531"/>
                <a:gd name="connsiteX0" fmla="*/ 0 w 783431"/>
                <a:gd name="connsiteY0" fmla="*/ 614363 h 1202531"/>
                <a:gd name="connsiteX1" fmla="*/ 21431 w 783431"/>
                <a:gd name="connsiteY1" fmla="*/ 661988 h 1202531"/>
                <a:gd name="connsiteX2" fmla="*/ 28575 w 783431"/>
                <a:gd name="connsiteY2" fmla="*/ 742950 h 1202531"/>
                <a:gd name="connsiteX3" fmla="*/ 76200 w 783431"/>
                <a:gd name="connsiteY3" fmla="*/ 814388 h 1202531"/>
                <a:gd name="connsiteX4" fmla="*/ 102394 w 783431"/>
                <a:gd name="connsiteY4" fmla="*/ 919163 h 1202531"/>
                <a:gd name="connsiteX5" fmla="*/ 116681 w 783431"/>
                <a:gd name="connsiteY5" fmla="*/ 947738 h 1202531"/>
                <a:gd name="connsiteX6" fmla="*/ 130969 w 783431"/>
                <a:gd name="connsiteY6" fmla="*/ 995363 h 1202531"/>
                <a:gd name="connsiteX7" fmla="*/ 150019 w 783431"/>
                <a:gd name="connsiteY7" fmla="*/ 1023938 h 1202531"/>
                <a:gd name="connsiteX8" fmla="*/ 159544 w 783431"/>
                <a:gd name="connsiteY8" fmla="*/ 1042988 h 1202531"/>
                <a:gd name="connsiteX9" fmla="*/ 197644 w 783431"/>
                <a:gd name="connsiteY9" fmla="*/ 1069182 h 1202531"/>
                <a:gd name="connsiteX10" fmla="*/ 245269 w 783431"/>
                <a:gd name="connsiteY10" fmla="*/ 1090613 h 1202531"/>
                <a:gd name="connsiteX11" fmla="*/ 264318 w 783431"/>
                <a:gd name="connsiteY11" fmla="*/ 1131094 h 1202531"/>
                <a:gd name="connsiteX12" fmla="*/ 295275 w 783431"/>
                <a:gd name="connsiteY12" fmla="*/ 1164431 h 1202531"/>
                <a:gd name="connsiteX13" fmla="*/ 385762 w 783431"/>
                <a:gd name="connsiteY13" fmla="*/ 1200149 h 1202531"/>
                <a:gd name="connsiteX14" fmla="*/ 461962 w 783431"/>
                <a:gd name="connsiteY14" fmla="*/ 1197768 h 1202531"/>
                <a:gd name="connsiteX15" fmla="*/ 554831 w 783431"/>
                <a:gd name="connsiteY15" fmla="*/ 1202531 h 1202531"/>
                <a:gd name="connsiteX16" fmla="*/ 592931 w 783431"/>
                <a:gd name="connsiteY16" fmla="*/ 1126331 h 1202531"/>
                <a:gd name="connsiteX17" fmla="*/ 604837 w 783431"/>
                <a:gd name="connsiteY17" fmla="*/ 1085850 h 1202531"/>
                <a:gd name="connsiteX18" fmla="*/ 585787 w 783431"/>
                <a:gd name="connsiteY18" fmla="*/ 1035844 h 1202531"/>
                <a:gd name="connsiteX19" fmla="*/ 607219 w 783431"/>
                <a:gd name="connsiteY19" fmla="*/ 1021557 h 1202531"/>
                <a:gd name="connsiteX20" fmla="*/ 645319 w 783431"/>
                <a:gd name="connsiteY20" fmla="*/ 1016794 h 1202531"/>
                <a:gd name="connsiteX21" fmla="*/ 685800 w 783431"/>
                <a:gd name="connsiteY21" fmla="*/ 997744 h 1202531"/>
                <a:gd name="connsiteX22" fmla="*/ 716756 w 783431"/>
                <a:gd name="connsiteY22" fmla="*/ 1002507 h 1202531"/>
                <a:gd name="connsiteX23" fmla="*/ 738187 w 783431"/>
                <a:gd name="connsiteY23" fmla="*/ 969169 h 1202531"/>
                <a:gd name="connsiteX24" fmla="*/ 783431 w 783431"/>
                <a:gd name="connsiteY24" fmla="*/ 933450 h 1202531"/>
                <a:gd name="connsiteX25" fmla="*/ 776287 w 783431"/>
                <a:gd name="connsiteY25" fmla="*/ 907257 h 1202531"/>
                <a:gd name="connsiteX26" fmla="*/ 752475 w 783431"/>
                <a:gd name="connsiteY26" fmla="*/ 888207 h 1202531"/>
                <a:gd name="connsiteX27" fmla="*/ 752475 w 783431"/>
                <a:gd name="connsiteY27" fmla="*/ 864394 h 1202531"/>
                <a:gd name="connsiteX28" fmla="*/ 728662 w 783431"/>
                <a:gd name="connsiteY28" fmla="*/ 852488 h 1202531"/>
                <a:gd name="connsiteX29" fmla="*/ 711994 w 783431"/>
                <a:gd name="connsiteY29" fmla="*/ 802482 h 1202531"/>
                <a:gd name="connsiteX30" fmla="*/ 688181 w 783431"/>
                <a:gd name="connsiteY30" fmla="*/ 814388 h 1202531"/>
                <a:gd name="connsiteX31" fmla="*/ 659606 w 783431"/>
                <a:gd name="connsiteY31" fmla="*/ 814388 h 1202531"/>
                <a:gd name="connsiteX32" fmla="*/ 647700 w 783431"/>
                <a:gd name="connsiteY32" fmla="*/ 847725 h 1202531"/>
                <a:gd name="connsiteX33" fmla="*/ 623887 w 783431"/>
                <a:gd name="connsiteY33" fmla="*/ 847725 h 1202531"/>
                <a:gd name="connsiteX34" fmla="*/ 576262 w 783431"/>
                <a:gd name="connsiteY34" fmla="*/ 828675 h 1202531"/>
                <a:gd name="connsiteX35" fmla="*/ 554831 w 783431"/>
                <a:gd name="connsiteY35" fmla="*/ 816769 h 1202531"/>
                <a:gd name="connsiteX36" fmla="*/ 547687 w 783431"/>
                <a:gd name="connsiteY36" fmla="*/ 783432 h 1202531"/>
                <a:gd name="connsiteX37" fmla="*/ 561975 w 783431"/>
                <a:gd name="connsiteY37" fmla="*/ 754857 h 1202531"/>
                <a:gd name="connsiteX38" fmla="*/ 533400 w 783431"/>
                <a:gd name="connsiteY38" fmla="*/ 733425 h 1202531"/>
                <a:gd name="connsiteX39" fmla="*/ 509587 w 783431"/>
                <a:gd name="connsiteY39" fmla="*/ 711994 h 1202531"/>
                <a:gd name="connsiteX40" fmla="*/ 473869 w 783431"/>
                <a:gd name="connsiteY40" fmla="*/ 711994 h 1202531"/>
                <a:gd name="connsiteX41" fmla="*/ 435769 w 783431"/>
                <a:gd name="connsiteY41" fmla="*/ 711994 h 1202531"/>
                <a:gd name="connsiteX42" fmla="*/ 438150 w 783431"/>
                <a:gd name="connsiteY42" fmla="*/ 669132 h 1202531"/>
                <a:gd name="connsiteX43" fmla="*/ 428625 w 783431"/>
                <a:gd name="connsiteY43" fmla="*/ 642938 h 1202531"/>
                <a:gd name="connsiteX44" fmla="*/ 423862 w 783431"/>
                <a:gd name="connsiteY44" fmla="*/ 607219 h 1202531"/>
                <a:gd name="connsiteX45" fmla="*/ 426244 w 783431"/>
                <a:gd name="connsiteY45" fmla="*/ 578644 h 1202531"/>
                <a:gd name="connsiteX46" fmla="*/ 440531 w 783431"/>
                <a:gd name="connsiteY46" fmla="*/ 566738 h 1202531"/>
                <a:gd name="connsiteX47" fmla="*/ 450056 w 783431"/>
                <a:gd name="connsiteY47" fmla="*/ 535782 h 1202531"/>
                <a:gd name="connsiteX48" fmla="*/ 457200 w 783431"/>
                <a:gd name="connsiteY48" fmla="*/ 519113 h 1202531"/>
                <a:gd name="connsiteX49" fmla="*/ 481012 w 783431"/>
                <a:gd name="connsiteY49" fmla="*/ 526257 h 1202531"/>
                <a:gd name="connsiteX50" fmla="*/ 495300 w 783431"/>
                <a:gd name="connsiteY50" fmla="*/ 576263 h 1202531"/>
                <a:gd name="connsiteX51" fmla="*/ 507206 w 783431"/>
                <a:gd name="connsiteY51" fmla="*/ 581025 h 1202531"/>
                <a:gd name="connsiteX52" fmla="*/ 526256 w 783431"/>
                <a:gd name="connsiteY52" fmla="*/ 583407 h 1202531"/>
                <a:gd name="connsiteX53" fmla="*/ 554831 w 783431"/>
                <a:gd name="connsiteY53" fmla="*/ 583407 h 1202531"/>
                <a:gd name="connsiteX54" fmla="*/ 557212 w 783431"/>
                <a:gd name="connsiteY54" fmla="*/ 547688 h 1202531"/>
                <a:gd name="connsiteX55" fmla="*/ 545306 w 783431"/>
                <a:gd name="connsiteY55" fmla="*/ 502444 h 1202531"/>
                <a:gd name="connsiteX56" fmla="*/ 545306 w 783431"/>
                <a:gd name="connsiteY56" fmla="*/ 476250 h 1202531"/>
                <a:gd name="connsiteX57" fmla="*/ 581025 w 783431"/>
                <a:gd name="connsiteY57" fmla="*/ 454819 h 1202531"/>
                <a:gd name="connsiteX58" fmla="*/ 604837 w 783431"/>
                <a:gd name="connsiteY58" fmla="*/ 435769 h 1202531"/>
                <a:gd name="connsiteX59" fmla="*/ 640556 w 783431"/>
                <a:gd name="connsiteY59" fmla="*/ 414338 h 1202531"/>
                <a:gd name="connsiteX60" fmla="*/ 645319 w 783431"/>
                <a:gd name="connsiteY60" fmla="*/ 395288 h 1202531"/>
                <a:gd name="connsiteX61" fmla="*/ 633412 w 783431"/>
                <a:gd name="connsiteY61" fmla="*/ 371475 h 1202531"/>
                <a:gd name="connsiteX62" fmla="*/ 614362 w 783431"/>
                <a:gd name="connsiteY62" fmla="*/ 369094 h 1202531"/>
                <a:gd name="connsiteX63" fmla="*/ 609600 w 783431"/>
                <a:gd name="connsiteY63" fmla="*/ 366713 h 1202531"/>
                <a:gd name="connsiteX64" fmla="*/ 597694 w 783431"/>
                <a:gd name="connsiteY64" fmla="*/ 357188 h 1202531"/>
                <a:gd name="connsiteX65" fmla="*/ 611981 w 783431"/>
                <a:gd name="connsiteY65" fmla="*/ 345282 h 1202531"/>
                <a:gd name="connsiteX66" fmla="*/ 652462 w 783431"/>
                <a:gd name="connsiteY66" fmla="*/ 316707 h 1202531"/>
                <a:gd name="connsiteX67" fmla="*/ 678656 w 783431"/>
                <a:gd name="connsiteY67" fmla="*/ 264319 h 1202531"/>
                <a:gd name="connsiteX68" fmla="*/ 666750 w 783431"/>
                <a:gd name="connsiteY68" fmla="*/ 242888 h 1202531"/>
                <a:gd name="connsiteX69" fmla="*/ 638175 w 783431"/>
                <a:gd name="connsiteY69" fmla="*/ 219075 h 1202531"/>
                <a:gd name="connsiteX70" fmla="*/ 642937 w 783431"/>
                <a:gd name="connsiteY70" fmla="*/ 180975 h 1202531"/>
                <a:gd name="connsiteX71" fmla="*/ 673894 w 783431"/>
                <a:gd name="connsiteY71" fmla="*/ 171450 h 1202531"/>
                <a:gd name="connsiteX72" fmla="*/ 700087 w 783431"/>
                <a:gd name="connsiteY72" fmla="*/ 142875 h 1202531"/>
                <a:gd name="connsiteX73" fmla="*/ 700087 w 783431"/>
                <a:gd name="connsiteY73" fmla="*/ 111919 h 1202531"/>
                <a:gd name="connsiteX74" fmla="*/ 666750 w 783431"/>
                <a:gd name="connsiteY74" fmla="*/ 107157 h 1202531"/>
                <a:gd name="connsiteX75" fmla="*/ 645319 w 783431"/>
                <a:gd name="connsiteY75" fmla="*/ 102394 h 1202531"/>
                <a:gd name="connsiteX76" fmla="*/ 645319 w 783431"/>
                <a:gd name="connsiteY76" fmla="*/ 102394 h 1202531"/>
                <a:gd name="connsiteX77" fmla="*/ 678656 w 783431"/>
                <a:gd name="connsiteY77" fmla="*/ 69057 h 1202531"/>
                <a:gd name="connsiteX78" fmla="*/ 685800 w 783431"/>
                <a:gd name="connsiteY78" fmla="*/ 40482 h 1202531"/>
                <a:gd name="connsiteX79" fmla="*/ 678656 w 783431"/>
                <a:gd name="connsiteY79" fmla="*/ 21432 h 1202531"/>
                <a:gd name="connsiteX80" fmla="*/ 695325 w 783431"/>
                <a:gd name="connsiteY80" fmla="*/ 2382 h 1202531"/>
                <a:gd name="connsiteX81" fmla="*/ 628650 w 783431"/>
                <a:gd name="connsiteY81" fmla="*/ 0 h 1202531"/>
                <a:gd name="connsiteX82" fmla="*/ 552450 w 783431"/>
                <a:gd name="connsiteY82" fmla="*/ 52388 h 1202531"/>
                <a:gd name="connsiteX83" fmla="*/ 538162 w 783431"/>
                <a:gd name="connsiteY83" fmla="*/ 90488 h 1202531"/>
                <a:gd name="connsiteX84" fmla="*/ 445294 w 783431"/>
                <a:gd name="connsiteY84" fmla="*/ 126207 h 1202531"/>
                <a:gd name="connsiteX85" fmla="*/ 397669 w 783431"/>
                <a:gd name="connsiteY85" fmla="*/ 159544 h 1202531"/>
                <a:gd name="connsiteX86" fmla="*/ 376237 w 783431"/>
                <a:gd name="connsiteY86" fmla="*/ 190500 h 1202531"/>
                <a:gd name="connsiteX87" fmla="*/ 350044 w 783431"/>
                <a:gd name="connsiteY87" fmla="*/ 140494 h 1202531"/>
                <a:gd name="connsiteX88" fmla="*/ 316706 w 783431"/>
                <a:gd name="connsiteY88" fmla="*/ 140494 h 1202531"/>
                <a:gd name="connsiteX89" fmla="*/ 304800 w 783431"/>
                <a:gd name="connsiteY89" fmla="*/ 166688 h 1202531"/>
                <a:gd name="connsiteX90" fmla="*/ 280987 w 783431"/>
                <a:gd name="connsiteY90" fmla="*/ 230982 h 1202531"/>
                <a:gd name="connsiteX91" fmla="*/ 154781 w 783431"/>
                <a:gd name="connsiteY91" fmla="*/ 223838 h 1202531"/>
                <a:gd name="connsiteX92" fmla="*/ 140494 w 783431"/>
                <a:gd name="connsiteY92" fmla="*/ 245269 h 1202531"/>
                <a:gd name="connsiteX93" fmla="*/ 138112 w 783431"/>
                <a:gd name="connsiteY93" fmla="*/ 280988 h 1202531"/>
                <a:gd name="connsiteX94" fmla="*/ 66675 w 783431"/>
                <a:gd name="connsiteY94" fmla="*/ 309563 h 1202531"/>
                <a:gd name="connsiteX95" fmla="*/ 54769 w 783431"/>
                <a:gd name="connsiteY95" fmla="*/ 323850 h 1202531"/>
                <a:gd name="connsiteX96" fmla="*/ 66675 w 783431"/>
                <a:gd name="connsiteY96" fmla="*/ 381000 h 1202531"/>
                <a:gd name="connsiteX97" fmla="*/ 19050 w 783431"/>
                <a:gd name="connsiteY97" fmla="*/ 423863 h 1202531"/>
                <a:gd name="connsiteX98" fmla="*/ 26194 w 783431"/>
                <a:gd name="connsiteY98" fmla="*/ 490538 h 1202531"/>
                <a:gd name="connsiteX99" fmla="*/ 33337 w 783431"/>
                <a:gd name="connsiteY99" fmla="*/ 554832 h 1202531"/>
                <a:gd name="connsiteX100" fmla="*/ 0 w 783431"/>
                <a:gd name="connsiteY100" fmla="*/ 614363 h 1202531"/>
                <a:gd name="connsiteX0" fmla="*/ 0 w 783431"/>
                <a:gd name="connsiteY0" fmla="*/ 614363 h 1202531"/>
                <a:gd name="connsiteX1" fmla="*/ 21431 w 783431"/>
                <a:gd name="connsiteY1" fmla="*/ 661988 h 1202531"/>
                <a:gd name="connsiteX2" fmla="*/ 28575 w 783431"/>
                <a:gd name="connsiteY2" fmla="*/ 742950 h 1202531"/>
                <a:gd name="connsiteX3" fmla="*/ 76200 w 783431"/>
                <a:gd name="connsiteY3" fmla="*/ 814388 h 1202531"/>
                <a:gd name="connsiteX4" fmla="*/ 102394 w 783431"/>
                <a:gd name="connsiteY4" fmla="*/ 919163 h 1202531"/>
                <a:gd name="connsiteX5" fmla="*/ 116681 w 783431"/>
                <a:gd name="connsiteY5" fmla="*/ 947738 h 1202531"/>
                <a:gd name="connsiteX6" fmla="*/ 130969 w 783431"/>
                <a:gd name="connsiteY6" fmla="*/ 995363 h 1202531"/>
                <a:gd name="connsiteX7" fmla="*/ 150019 w 783431"/>
                <a:gd name="connsiteY7" fmla="*/ 1023938 h 1202531"/>
                <a:gd name="connsiteX8" fmla="*/ 159544 w 783431"/>
                <a:gd name="connsiteY8" fmla="*/ 1042988 h 1202531"/>
                <a:gd name="connsiteX9" fmla="*/ 197644 w 783431"/>
                <a:gd name="connsiteY9" fmla="*/ 1069182 h 1202531"/>
                <a:gd name="connsiteX10" fmla="*/ 245269 w 783431"/>
                <a:gd name="connsiteY10" fmla="*/ 1090613 h 1202531"/>
                <a:gd name="connsiteX11" fmla="*/ 264318 w 783431"/>
                <a:gd name="connsiteY11" fmla="*/ 1131094 h 1202531"/>
                <a:gd name="connsiteX12" fmla="*/ 295275 w 783431"/>
                <a:gd name="connsiteY12" fmla="*/ 1164431 h 1202531"/>
                <a:gd name="connsiteX13" fmla="*/ 385762 w 783431"/>
                <a:gd name="connsiteY13" fmla="*/ 1200149 h 1202531"/>
                <a:gd name="connsiteX14" fmla="*/ 469106 w 783431"/>
                <a:gd name="connsiteY14" fmla="*/ 1181100 h 1202531"/>
                <a:gd name="connsiteX15" fmla="*/ 554831 w 783431"/>
                <a:gd name="connsiteY15" fmla="*/ 1202531 h 1202531"/>
                <a:gd name="connsiteX16" fmla="*/ 592931 w 783431"/>
                <a:gd name="connsiteY16" fmla="*/ 1126331 h 1202531"/>
                <a:gd name="connsiteX17" fmla="*/ 604837 w 783431"/>
                <a:gd name="connsiteY17" fmla="*/ 1085850 h 1202531"/>
                <a:gd name="connsiteX18" fmla="*/ 585787 w 783431"/>
                <a:gd name="connsiteY18" fmla="*/ 1035844 h 1202531"/>
                <a:gd name="connsiteX19" fmla="*/ 607219 w 783431"/>
                <a:gd name="connsiteY19" fmla="*/ 1021557 h 1202531"/>
                <a:gd name="connsiteX20" fmla="*/ 645319 w 783431"/>
                <a:gd name="connsiteY20" fmla="*/ 1016794 h 1202531"/>
                <a:gd name="connsiteX21" fmla="*/ 685800 w 783431"/>
                <a:gd name="connsiteY21" fmla="*/ 997744 h 1202531"/>
                <a:gd name="connsiteX22" fmla="*/ 716756 w 783431"/>
                <a:gd name="connsiteY22" fmla="*/ 1002507 h 1202531"/>
                <a:gd name="connsiteX23" fmla="*/ 738187 w 783431"/>
                <a:gd name="connsiteY23" fmla="*/ 969169 h 1202531"/>
                <a:gd name="connsiteX24" fmla="*/ 783431 w 783431"/>
                <a:gd name="connsiteY24" fmla="*/ 933450 h 1202531"/>
                <a:gd name="connsiteX25" fmla="*/ 776287 w 783431"/>
                <a:gd name="connsiteY25" fmla="*/ 907257 h 1202531"/>
                <a:gd name="connsiteX26" fmla="*/ 752475 w 783431"/>
                <a:gd name="connsiteY26" fmla="*/ 888207 h 1202531"/>
                <a:gd name="connsiteX27" fmla="*/ 752475 w 783431"/>
                <a:gd name="connsiteY27" fmla="*/ 864394 h 1202531"/>
                <a:gd name="connsiteX28" fmla="*/ 728662 w 783431"/>
                <a:gd name="connsiteY28" fmla="*/ 852488 h 1202531"/>
                <a:gd name="connsiteX29" fmla="*/ 711994 w 783431"/>
                <a:gd name="connsiteY29" fmla="*/ 802482 h 1202531"/>
                <a:gd name="connsiteX30" fmla="*/ 688181 w 783431"/>
                <a:gd name="connsiteY30" fmla="*/ 814388 h 1202531"/>
                <a:gd name="connsiteX31" fmla="*/ 659606 w 783431"/>
                <a:gd name="connsiteY31" fmla="*/ 814388 h 1202531"/>
                <a:gd name="connsiteX32" fmla="*/ 647700 w 783431"/>
                <a:gd name="connsiteY32" fmla="*/ 847725 h 1202531"/>
                <a:gd name="connsiteX33" fmla="*/ 623887 w 783431"/>
                <a:gd name="connsiteY33" fmla="*/ 847725 h 1202531"/>
                <a:gd name="connsiteX34" fmla="*/ 576262 w 783431"/>
                <a:gd name="connsiteY34" fmla="*/ 828675 h 1202531"/>
                <a:gd name="connsiteX35" fmla="*/ 554831 w 783431"/>
                <a:gd name="connsiteY35" fmla="*/ 816769 h 1202531"/>
                <a:gd name="connsiteX36" fmla="*/ 547687 w 783431"/>
                <a:gd name="connsiteY36" fmla="*/ 783432 h 1202531"/>
                <a:gd name="connsiteX37" fmla="*/ 561975 w 783431"/>
                <a:gd name="connsiteY37" fmla="*/ 754857 h 1202531"/>
                <a:gd name="connsiteX38" fmla="*/ 533400 w 783431"/>
                <a:gd name="connsiteY38" fmla="*/ 733425 h 1202531"/>
                <a:gd name="connsiteX39" fmla="*/ 509587 w 783431"/>
                <a:gd name="connsiteY39" fmla="*/ 711994 h 1202531"/>
                <a:gd name="connsiteX40" fmla="*/ 473869 w 783431"/>
                <a:gd name="connsiteY40" fmla="*/ 711994 h 1202531"/>
                <a:gd name="connsiteX41" fmla="*/ 435769 w 783431"/>
                <a:gd name="connsiteY41" fmla="*/ 711994 h 1202531"/>
                <a:gd name="connsiteX42" fmla="*/ 438150 w 783431"/>
                <a:gd name="connsiteY42" fmla="*/ 669132 h 1202531"/>
                <a:gd name="connsiteX43" fmla="*/ 428625 w 783431"/>
                <a:gd name="connsiteY43" fmla="*/ 642938 h 1202531"/>
                <a:gd name="connsiteX44" fmla="*/ 423862 w 783431"/>
                <a:gd name="connsiteY44" fmla="*/ 607219 h 1202531"/>
                <a:gd name="connsiteX45" fmla="*/ 426244 w 783431"/>
                <a:gd name="connsiteY45" fmla="*/ 578644 h 1202531"/>
                <a:gd name="connsiteX46" fmla="*/ 440531 w 783431"/>
                <a:gd name="connsiteY46" fmla="*/ 566738 h 1202531"/>
                <a:gd name="connsiteX47" fmla="*/ 450056 w 783431"/>
                <a:gd name="connsiteY47" fmla="*/ 535782 h 1202531"/>
                <a:gd name="connsiteX48" fmla="*/ 457200 w 783431"/>
                <a:gd name="connsiteY48" fmla="*/ 519113 h 1202531"/>
                <a:gd name="connsiteX49" fmla="*/ 481012 w 783431"/>
                <a:gd name="connsiteY49" fmla="*/ 526257 h 1202531"/>
                <a:gd name="connsiteX50" fmla="*/ 495300 w 783431"/>
                <a:gd name="connsiteY50" fmla="*/ 576263 h 1202531"/>
                <a:gd name="connsiteX51" fmla="*/ 507206 w 783431"/>
                <a:gd name="connsiteY51" fmla="*/ 581025 h 1202531"/>
                <a:gd name="connsiteX52" fmla="*/ 526256 w 783431"/>
                <a:gd name="connsiteY52" fmla="*/ 583407 h 1202531"/>
                <a:gd name="connsiteX53" fmla="*/ 554831 w 783431"/>
                <a:gd name="connsiteY53" fmla="*/ 583407 h 1202531"/>
                <a:gd name="connsiteX54" fmla="*/ 557212 w 783431"/>
                <a:gd name="connsiteY54" fmla="*/ 547688 h 1202531"/>
                <a:gd name="connsiteX55" fmla="*/ 545306 w 783431"/>
                <a:gd name="connsiteY55" fmla="*/ 502444 h 1202531"/>
                <a:gd name="connsiteX56" fmla="*/ 545306 w 783431"/>
                <a:gd name="connsiteY56" fmla="*/ 476250 h 1202531"/>
                <a:gd name="connsiteX57" fmla="*/ 581025 w 783431"/>
                <a:gd name="connsiteY57" fmla="*/ 454819 h 1202531"/>
                <a:gd name="connsiteX58" fmla="*/ 604837 w 783431"/>
                <a:gd name="connsiteY58" fmla="*/ 435769 h 1202531"/>
                <a:gd name="connsiteX59" fmla="*/ 640556 w 783431"/>
                <a:gd name="connsiteY59" fmla="*/ 414338 h 1202531"/>
                <a:gd name="connsiteX60" fmla="*/ 645319 w 783431"/>
                <a:gd name="connsiteY60" fmla="*/ 395288 h 1202531"/>
                <a:gd name="connsiteX61" fmla="*/ 633412 w 783431"/>
                <a:gd name="connsiteY61" fmla="*/ 371475 h 1202531"/>
                <a:gd name="connsiteX62" fmla="*/ 614362 w 783431"/>
                <a:gd name="connsiteY62" fmla="*/ 369094 h 1202531"/>
                <a:gd name="connsiteX63" fmla="*/ 609600 w 783431"/>
                <a:gd name="connsiteY63" fmla="*/ 366713 h 1202531"/>
                <a:gd name="connsiteX64" fmla="*/ 597694 w 783431"/>
                <a:gd name="connsiteY64" fmla="*/ 357188 h 1202531"/>
                <a:gd name="connsiteX65" fmla="*/ 611981 w 783431"/>
                <a:gd name="connsiteY65" fmla="*/ 345282 h 1202531"/>
                <a:gd name="connsiteX66" fmla="*/ 652462 w 783431"/>
                <a:gd name="connsiteY66" fmla="*/ 316707 h 1202531"/>
                <a:gd name="connsiteX67" fmla="*/ 678656 w 783431"/>
                <a:gd name="connsiteY67" fmla="*/ 264319 h 1202531"/>
                <a:gd name="connsiteX68" fmla="*/ 666750 w 783431"/>
                <a:gd name="connsiteY68" fmla="*/ 242888 h 1202531"/>
                <a:gd name="connsiteX69" fmla="*/ 638175 w 783431"/>
                <a:gd name="connsiteY69" fmla="*/ 219075 h 1202531"/>
                <a:gd name="connsiteX70" fmla="*/ 642937 w 783431"/>
                <a:gd name="connsiteY70" fmla="*/ 180975 h 1202531"/>
                <a:gd name="connsiteX71" fmla="*/ 673894 w 783431"/>
                <a:gd name="connsiteY71" fmla="*/ 171450 h 1202531"/>
                <a:gd name="connsiteX72" fmla="*/ 700087 w 783431"/>
                <a:gd name="connsiteY72" fmla="*/ 142875 h 1202531"/>
                <a:gd name="connsiteX73" fmla="*/ 700087 w 783431"/>
                <a:gd name="connsiteY73" fmla="*/ 111919 h 1202531"/>
                <a:gd name="connsiteX74" fmla="*/ 666750 w 783431"/>
                <a:gd name="connsiteY74" fmla="*/ 107157 h 1202531"/>
                <a:gd name="connsiteX75" fmla="*/ 645319 w 783431"/>
                <a:gd name="connsiteY75" fmla="*/ 102394 h 1202531"/>
                <a:gd name="connsiteX76" fmla="*/ 645319 w 783431"/>
                <a:gd name="connsiteY76" fmla="*/ 102394 h 1202531"/>
                <a:gd name="connsiteX77" fmla="*/ 678656 w 783431"/>
                <a:gd name="connsiteY77" fmla="*/ 69057 h 1202531"/>
                <a:gd name="connsiteX78" fmla="*/ 685800 w 783431"/>
                <a:gd name="connsiteY78" fmla="*/ 40482 h 1202531"/>
                <a:gd name="connsiteX79" fmla="*/ 678656 w 783431"/>
                <a:gd name="connsiteY79" fmla="*/ 21432 h 1202531"/>
                <a:gd name="connsiteX80" fmla="*/ 695325 w 783431"/>
                <a:gd name="connsiteY80" fmla="*/ 2382 h 1202531"/>
                <a:gd name="connsiteX81" fmla="*/ 628650 w 783431"/>
                <a:gd name="connsiteY81" fmla="*/ 0 h 1202531"/>
                <a:gd name="connsiteX82" fmla="*/ 552450 w 783431"/>
                <a:gd name="connsiteY82" fmla="*/ 52388 h 1202531"/>
                <a:gd name="connsiteX83" fmla="*/ 538162 w 783431"/>
                <a:gd name="connsiteY83" fmla="*/ 90488 h 1202531"/>
                <a:gd name="connsiteX84" fmla="*/ 445294 w 783431"/>
                <a:gd name="connsiteY84" fmla="*/ 126207 h 1202531"/>
                <a:gd name="connsiteX85" fmla="*/ 397669 w 783431"/>
                <a:gd name="connsiteY85" fmla="*/ 159544 h 1202531"/>
                <a:gd name="connsiteX86" fmla="*/ 376237 w 783431"/>
                <a:gd name="connsiteY86" fmla="*/ 190500 h 1202531"/>
                <a:gd name="connsiteX87" fmla="*/ 350044 w 783431"/>
                <a:gd name="connsiteY87" fmla="*/ 140494 h 1202531"/>
                <a:gd name="connsiteX88" fmla="*/ 316706 w 783431"/>
                <a:gd name="connsiteY88" fmla="*/ 140494 h 1202531"/>
                <a:gd name="connsiteX89" fmla="*/ 304800 w 783431"/>
                <a:gd name="connsiteY89" fmla="*/ 166688 h 1202531"/>
                <a:gd name="connsiteX90" fmla="*/ 280987 w 783431"/>
                <a:gd name="connsiteY90" fmla="*/ 230982 h 1202531"/>
                <a:gd name="connsiteX91" fmla="*/ 154781 w 783431"/>
                <a:gd name="connsiteY91" fmla="*/ 223838 h 1202531"/>
                <a:gd name="connsiteX92" fmla="*/ 140494 w 783431"/>
                <a:gd name="connsiteY92" fmla="*/ 245269 h 1202531"/>
                <a:gd name="connsiteX93" fmla="*/ 138112 w 783431"/>
                <a:gd name="connsiteY93" fmla="*/ 280988 h 1202531"/>
                <a:gd name="connsiteX94" fmla="*/ 66675 w 783431"/>
                <a:gd name="connsiteY94" fmla="*/ 309563 h 1202531"/>
                <a:gd name="connsiteX95" fmla="*/ 54769 w 783431"/>
                <a:gd name="connsiteY95" fmla="*/ 323850 h 1202531"/>
                <a:gd name="connsiteX96" fmla="*/ 66675 w 783431"/>
                <a:gd name="connsiteY96" fmla="*/ 381000 h 1202531"/>
                <a:gd name="connsiteX97" fmla="*/ 19050 w 783431"/>
                <a:gd name="connsiteY97" fmla="*/ 423863 h 1202531"/>
                <a:gd name="connsiteX98" fmla="*/ 26194 w 783431"/>
                <a:gd name="connsiteY98" fmla="*/ 490538 h 1202531"/>
                <a:gd name="connsiteX99" fmla="*/ 33337 w 783431"/>
                <a:gd name="connsiteY99" fmla="*/ 554832 h 1202531"/>
                <a:gd name="connsiteX100" fmla="*/ 0 w 783431"/>
                <a:gd name="connsiteY100" fmla="*/ 614363 h 1202531"/>
                <a:gd name="connsiteX0" fmla="*/ 0 w 783431"/>
                <a:gd name="connsiteY0" fmla="*/ 614363 h 1202531"/>
                <a:gd name="connsiteX1" fmla="*/ 21431 w 783431"/>
                <a:gd name="connsiteY1" fmla="*/ 661988 h 1202531"/>
                <a:gd name="connsiteX2" fmla="*/ 28575 w 783431"/>
                <a:gd name="connsiteY2" fmla="*/ 742950 h 1202531"/>
                <a:gd name="connsiteX3" fmla="*/ 76200 w 783431"/>
                <a:gd name="connsiteY3" fmla="*/ 814388 h 1202531"/>
                <a:gd name="connsiteX4" fmla="*/ 102394 w 783431"/>
                <a:gd name="connsiteY4" fmla="*/ 919163 h 1202531"/>
                <a:gd name="connsiteX5" fmla="*/ 116681 w 783431"/>
                <a:gd name="connsiteY5" fmla="*/ 947738 h 1202531"/>
                <a:gd name="connsiteX6" fmla="*/ 130969 w 783431"/>
                <a:gd name="connsiteY6" fmla="*/ 995363 h 1202531"/>
                <a:gd name="connsiteX7" fmla="*/ 150019 w 783431"/>
                <a:gd name="connsiteY7" fmla="*/ 1023938 h 1202531"/>
                <a:gd name="connsiteX8" fmla="*/ 159544 w 783431"/>
                <a:gd name="connsiteY8" fmla="*/ 1042988 h 1202531"/>
                <a:gd name="connsiteX9" fmla="*/ 197644 w 783431"/>
                <a:gd name="connsiteY9" fmla="*/ 1069182 h 1202531"/>
                <a:gd name="connsiteX10" fmla="*/ 245269 w 783431"/>
                <a:gd name="connsiteY10" fmla="*/ 1090613 h 1202531"/>
                <a:gd name="connsiteX11" fmla="*/ 264318 w 783431"/>
                <a:gd name="connsiteY11" fmla="*/ 1131094 h 1202531"/>
                <a:gd name="connsiteX12" fmla="*/ 295275 w 783431"/>
                <a:gd name="connsiteY12" fmla="*/ 1164431 h 1202531"/>
                <a:gd name="connsiteX13" fmla="*/ 385762 w 783431"/>
                <a:gd name="connsiteY13" fmla="*/ 1200149 h 1202531"/>
                <a:gd name="connsiteX14" fmla="*/ 419100 w 783431"/>
                <a:gd name="connsiteY14" fmla="*/ 1190624 h 1202531"/>
                <a:gd name="connsiteX15" fmla="*/ 469106 w 783431"/>
                <a:gd name="connsiteY15" fmla="*/ 1181100 h 1202531"/>
                <a:gd name="connsiteX16" fmla="*/ 554831 w 783431"/>
                <a:gd name="connsiteY16" fmla="*/ 1202531 h 1202531"/>
                <a:gd name="connsiteX17" fmla="*/ 592931 w 783431"/>
                <a:gd name="connsiteY17" fmla="*/ 1126331 h 1202531"/>
                <a:gd name="connsiteX18" fmla="*/ 604837 w 783431"/>
                <a:gd name="connsiteY18" fmla="*/ 1085850 h 1202531"/>
                <a:gd name="connsiteX19" fmla="*/ 585787 w 783431"/>
                <a:gd name="connsiteY19" fmla="*/ 1035844 h 1202531"/>
                <a:gd name="connsiteX20" fmla="*/ 607219 w 783431"/>
                <a:gd name="connsiteY20" fmla="*/ 1021557 h 1202531"/>
                <a:gd name="connsiteX21" fmla="*/ 645319 w 783431"/>
                <a:gd name="connsiteY21" fmla="*/ 1016794 h 1202531"/>
                <a:gd name="connsiteX22" fmla="*/ 685800 w 783431"/>
                <a:gd name="connsiteY22" fmla="*/ 997744 h 1202531"/>
                <a:gd name="connsiteX23" fmla="*/ 716756 w 783431"/>
                <a:gd name="connsiteY23" fmla="*/ 1002507 h 1202531"/>
                <a:gd name="connsiteX24" fmla="*/ 738187 w 783431"/>
                <a:gd name="connsiteY24" fmla="*/ 969169 h 1202531"/>
                <a:gd name="connsiteX25" fmla="*/ 783431 w 783431"/>
                <a:gd name="connsiteY25" fmla="*/ 933450 h 1202531"/>
                <a:gd name="connsiteX26" fmla="*/ 776287 w 783431"/>
                <a:gd name="connsiteY26" fmla="*/ 907257 h 1202531"/>
                <a:gd name="connsiteX27" fmla="*/ 752475 w 783431"/>
                <a:gd name="connsiteY27" fmla="*/ 888207 h 1202531"/>
                <a:gd name="connsiteX28" fmla="*/ 752475 w 783431"/>
                <a:gd name="connsiteY28" fmla="*/ 864394 h 1202531"/>
                <a:gd name="connsiteX29" fmla="*/ 728662 w 783431"/>
                <a:gd name="connsiteY29" fmla="*/ 852488 h 1202531"/>
                <a:gd name="connsiteX30" fmla="*/ 711994 w 783431"/>
                <a:gd name="connsiteY30" fmla="*/ 802482 h 1202531"/>
                <a:gd name="connsiteX31" fmla="*/ 688181 w 783431"/>
                <a:gd name="connsiteY31" fmla="*/ 814388 h 1202531"/>
                <a:gd name="connsiteX32" fmla="*/ 659606 w 783431"/>
                <a:gd name="connsiteY32" fmla="*/ 814388 h 1202531"/>
                <a:gd name="connsiteX33" fmla="*/ 647700 w 783431"/>
                <a:gd name="connsiteY33" fmla="*/ 847725 h 1202531"/>
                <a:gd name="connsiteX34" fmla="*/ 623887 w 783431"/>
                <a:gd name="connsiteY34" fmla="*/ 847725 h 1202531"/>
                <a:gd name="connsiteX35" fmla="*/ 576262 w 783431"/>
                <a:gd name="connsiteY35" fmla="*/ 828675 h 1202531"/>
                <a:gd name="connsiteX36" fmla="*/ 554831 w 783431"/>
                <a:gd name="connsiteY36" fmla="*/ 816769 h 1202531"/>
                <a:gd name="connsiteX37" fmla="*/ 547687 w 783431"/>
                <a:gd name="connsiteY37" fmla="*/ 783432 h 1202531"/>
                <a:gd name="connsiteX38" fmla="*/ 561975 w 783431"/>
                <a:gd name="connsiteY38" fmla="*/ 754857 h 1202531"/>
                <a:gd name="connsiteX39" fmla="*/ 533400 w 783431"/>
                <a:gd name="connsiteY39" fmla="*/ 733425 h 1202531"/>
                <a:gd name="connsiteX40" fmla="*/ 509587 w 783431"/>
                <a:gd name="connsiteY40" fmla="*/ 711994 h 1202531"/>
                <a:gd name="connsiteX41" fmla="*/ 473869 w 783431"/>
                <a:gd name="connsiteY41" fmla="*/ 711994 h 1202531"/>
                <a:gd name="connsiteX42" fmla="*/ 435769 w 783431"/>
                <a:gd name="connsiteY42" fmla="*/ 711994 h 1202531"/>
                <a:gd name="connsiteX43" fmla="*/ 438150 w 783431"/>
                <a:gd name="connsiteY43" fmla="*/ 669132 h 1202531"/>
                <a:gd name="connsiteX44" fmla="*/ 428625 w 783431"/>
                <a:gd name="connsiteY44" fmla="*/ 642938 h 1202531"/>
                <a:gd name="connsiteX45" fmla="*/ 423862 w 783431"/>
                <a:gd name="connsiteY45" fmla="*/ 607219 h 1202531"/>
                <a:gd name="connsiteX46" fmla="*/ 426244 w 783431"/>
                <a:gd name="connsiteY46" fmla="*/ 578644 h 1202531"/>
                <a:gd name="connsiteX47" fmla="*/ 440531 w 783431"/>
                <a:gd name="connsiteY47" fmla="*/ 566738 h 1202531"/>
                <a:gd name="connsiteX48" fmla="*/ 450056 w 783431"/>
                <a:gd name="connsiteY48" fmla="*/ 535782 h 1202531"/>
                <a:gd name="connsiteX49" fmla="*/ 457200 w 783431"/>
                <a:gd name="connsiteY49" fmla="*/ 519113 h 1202531"/>
                <a:gd name="connsiteX50" fmla="*/ 481012 w 783431"/>
                <a:gd name="connsiteY50" fmla="*/ 526257 h 1202531"/>
                <a:gd name="connsiteX51" fmla="*/ 495300 w 783431"/>
                <a:gd name="connsiteY51" fmla="*/ 576263 h 1202531"/>
                <a:gd name="connsiteX52" fmla="*/ 507206 w 783431"/>
                <a:gd name="connsiteY52" fmla="*/ 581025 h 1202531"/>
                <a:gd name="connsiteX53" fmla="*/ 526256 w 783431"/>
                <a:gd name="connsiteY53" fmla="*/ 583407 h 1202531"/>
                <a:gd name="connsiteX54" fmla="*/ 554831 w 783431"/>
                <a:gd name="connsiteY54" fmla="*/ 583407 h 1202531"/>
                <a:gd name="connsiteX55" fmla="*/ 557212 w 783431"/>
                <a:gd name="connsiteY55" fmla="*/ 547688 h 1202531"/>
                <a:gd name="connsiteX56" fmla="*/ 545306 w 783431"/>
                <a:gd name="connsiteY56" fmla="*/ 502444 h 1202531"/>
                <a:gd name="connsiteX57" fmla="*/ 545306 w 783431"/>
                <a:gd name="connsiteY57" fmla="*/ 476250 h 1202531"/>
                <a:gd name="connsiteX58" fmla="*/ 581025 w 783431"/>
                <a:gd name="connsiteY58" fmla="*/ 454819 h 1202531"/>
                <a:gd name="connsiteX59" fmla="*/ 604837 w 783431"/>
                <a:gd name="connsiteY59" fmla="*/ 435769 h 1202531"/>
                <a:gd name="connsiteX60" fmla="*/ 640556 w 783431"/>
                <a:gd name="connsiteY60" fmla="*/ 414338 h 1202531"/>
                <a:gd name="connsiteX61" fmla="*/ 645319 w 783431"/>
                <a:gd name="connsiteY61" fmla="*/ 395288 h 1202531"/>
                <a:gd name="connsiteX62" fmla="*/ 633412 w 783431"/>
                <a:gd name="connsiteY62" fmla="*/ 371475 h 1202531"/>
                <a:gd name="connsiteX63" fmla="*/ 614362 w 783431"/>
                <a:gd name="connsiteY63" fmla="*/ 369094 h 1202531"/>
                <a:gd name="connsiteX64" fmla="*/ 609600 w 783431"/>
                <a:gd name="connsiteY64" fmla="*/ 366713 h 1202531"/>
                <a:gd name="connsiteX65" fmla="*/ 597694 w 783431"/>
                <a:gd name="connsiteY65" fmla="*/ 357188 h 1202531"/>
                <a:gd name="connsiteX66" fmla="*/ 611981 w 783431"/>
                <a:gd name="connsiteY66" fmla="*/ 345282 h 1202531"/>
                <a:gd name="connsiteX67" fmla="*/ 652462 w 783431"/>
                <a:gd name="connsiteY67" fmla="*/ 316707 h 1202531"/>
                <a:gd name="connsiteX68" fmla="*/ 678656 w 783431"/>
                <a:gd name="connsiteY68" fmla="*/ 264319 h 1202531"/>
                <a:gd name="connsiteX69" fmla="*/ 666750 w 783431"/>
                <a:gd name="connsiteY69" fmla="*/ 242888 h 1202531"/>
                <a:gd name="connsiteX70" fmla="*/ 638175 w 783431"/>
                <a:gd name="connsiteY70" fmla="*/ 219075 h 1202531"/>
                <a:gd name="connsiteX71" fmla="*/ 642937 w 783431"/>
                <a:gd name="connsiteY71" fmla="*/ 180975 h 1202531"/>
                <a:gd name="connsiteX72" fmla="*/ 673894 w 783431"/>
                <a:gd name="connsiteY72" fmla="*/ 171450 h 1202531"/>
                <a:gd name="connsiteX73" fmla="*/ 700087 w 783431"/>
                <a:gd name="connsiteY73" fmla="*/ 142875 h 1202531"/>
                <a:gd name="connsiteX74" fmla="*/ 700087 w 783431"/>
                <a:gd name="connsiteY74" fmla="*/ 111919 h 1202531"/>
                <a:gd name="connsiteX75" fmla="*/ 666750 w 783431"/>
                <a:gd name="connsiteY75" fmla="*/ 107157 h 1202531"/>
                <a:gd name="connsiteX76" fmla="*/ 645319 w 783431"/>
                <a:gd name="connsiteY76" fmla="*/ 102394 h 1202531"/>
                <a:gd name="connsiteX77" fmla="*/ 645319 w 783431"/>
                <a:gd name="connsiteY77" fmla="*/ 102394 h 1202531"/>
                <a:gd name="connsiteX78" fmla="*/ 678656 w 783431"/>
                <a:gd name="connsiteY78" fmla="*/ 69057 h 1202531"/>
                <a:gd name="connsiteX79" fmla="*/ 685800 w 783431"/>
                <a:gd name="connsiteY79" fmla="*/ 40482 h 1202531"/>
                <a:gd name="connsiteX80" fmla="*/ 678656 w 783431"/>
                <a:gd name="connsiteY80" fmla="*/ 21432 h 1202531"/>
                <a:gd name="connsiteX81" fmla="*/ 695325 w 783431"/>
                <a:gd name="connsiteY81" fmla="*/ 2382 h 1202531"/>
                <a:gd name="connsiteX82" fmla="*/ 628650 w 783431"/>
                <a:gd name="connsiteY82" fmla="*/ 0 h 1202531"/>
                <a:gd name="connsiteX83" fmla="*/ 552450 w 783431"/>
                <a:gd name="connsiteY83" fmla="*/ 52388 h 1202531"/>
                <a:gd name="connsiteX84" fmla="*/ 538162 w 783431"/>
                <a:gd name="connsiteY84" fmla="*/ 90488 h 1202531"/>
                <a:gd name="connsiteX85" fmla="*/ 445294 w 783431"/>
                <a:gd name="connsiteY85" fmla="*/ 126207 h 1202531"/>
                <a:gd name="connsiteX86" fmla="*/ 397669 w 783431"/>
                <a:gd name="connsiteY86" fmla="*/ 159544 h 1202531"/>
                <a:gd name="connsiteX87" fmla="*/ 376237 w 783431"/>
                <a:gd name="connsiteY87" fmla="*/ 190500 h 1202531"/>
                <a:gd name="connsiteX88" fmla="*/ 350044 w 783431"/>
                <a:gd name="connsiteY88" fmla="*/ 140494 h 1202531"/>
                <a:gd name="connsiteX89" fmla="*/ 316706 w 783431"/>
                <a:gd name="connsiteY89" fmla="*/ 140494 h 1202531"/>
                <a:gd name="connsiteX90" fmla="*/ 304800 w 783431"/>
                <a:gd name="connsiteY90" fmla="*/ 166688 h 1202531"/>
                <a:gd name="connsiteX91" fmla="*/ 280987 w 783431"/>
                <a:gd name="connsiteY91" fmla="*/ 230982 h 1202531"/>
                <a:gd name="connsiteX92" fmla="*/ 154781 w 783431"/>
                <a:gd name="connsiteY92" fmla="*/ 223838 h 1202531"/>
                <a:gd name="connsiteX93" fmla="*/ 140494 w 783431"/>
                <a:gd name="connsiteY93" fmla="*/ 245269 h 1202531"/>
                <a:gd name="connsiteX94" fmla="*/ 138112 w 783431"/>
                <a:gd name="connsiteY94" fmla="*/ 280988 h 1202531"/>
                <a:gd name="connsiteX95" fmla="*/ 66675 w 783431"/>
                <a:gd name="connsiteY95" fmla="*/ 309563 h 1202531"/>
                <a:gd name="connsiteX96" fmla="*/ 54769 w 783431"/>
                <a:gd name="connsiteY96" fmla="*/ 323850 h 1202531"/>
                <a:gd name="connsiteX97" fmla="*/ 66675 w 783431"/>
                <a:gd name="connsiteY97" fmla="*/ 381000 h 1202531"/>
                <a:gd name="connsiteX98" fmla="*/ 19050 w 783431"/>
                <a:gd name="connsiteY98" fmla="*/ 423863 h 1202531"/>
                <a:gd name="connsiteX99" fmla="*/ 26194 w 783431"/>
                <a:gd name="connsiteY99" fmla="*/ 490538 h 1202531"/>
                <a:gd name="connsiteX100" fmla="*/ 33337 w 783431"/>
                <a:gd name="connsiteY100" fmla="*/ 554832 h 1202531"/>
                <a:gd name="connsiteX101" fmla="*/ 0 w 783431"/>
                <a:gd name="connsiteY101" fmla="*/ 614363 h 1202531"/>
                <a:gd name="connsiteX0" fmla="*/ 0 w 783431"/>
                <a:gd name="connsiteY0" fmla="*/ 614363 h 1276349"/>
                <a:gd name="connsiteX1" fmla="*/ 21431 w 783431"/>
                <a:gd name="connsiteY1" fmla="*/ 661988 h 1276349"/>
                <a:gd name="connsiteX2" fmla="*/ 28575 w 783431"/>
                <a:gd name="connsiteY2" fmla="*/ 742950 h 1276349"/>
                <a:gd name="connsiteX3" fmla="*/ 76200 w 783431"/>
                <a:gd name="connsiteY3" fmla="*/ 814388 h 1276349"/>
                <a:gd name="connsiteX4" fmla="*/ 102394 w 783431"/>
                <a:gd name="connsiteY4" fmla="*/ 919163 h 1276349"/>
                <a:gd name="connsiteX5" fmla="*/ 116681 w 783431"/>
                <a:gd name="connsiteY5" fmla="*/ 947738 h 1276349"/>
                <a:gd name="connsiteX6" fmla="*/ 130969 w 783431"/>
                <a:gd name="connsiteY6" fmla="*/ 995363 h 1276349"/>
                <a:gd name="connsiteX7" fmla="*/ 150019 w 783431"/>
                <a:gd name="connsiteY7" fmla="*/ 1023938 h 1276349"/>
                <a:gd name="connsiteX8" fmla="*/ 159544 w 783431"/>
                <a:gd name="connsiteY8" fmla="*/ 1042988 h 1276349"/>
                <a:gd name="connsiteX9" fmla="*/ 197644 w 783431"/>
                <a:gd name="connsiteY9" fmla="*/ 1069182 h 1276349"/>
                <a:gd name="connsiteX10" fmla="*/ 245269 w 783431"/>
                <a:gd name="connsiteY10" fmla="*/ 1090613 h 1276349"/>
                <a:gd name="connsiteX11" fmla="*/ 264318 w 783431"/>
                <a:gd name="connsiteY11" fmla="*/ 1131094 h 1276349"/>
                <a:gd name="connsiteX12" fmla="*/ 295275 w 783431"/>
                <a:gd name="connsiteY12" fmla="*/ 1164431 h 1276349"/>
                <a:gd name="connsiteX13" fmla="*/ 385762 w 783431"/>
                <a:gd name="connsiteY13" fmla="*/ 1200149 h 1276349"/>
                <a:gd name="connsiteX14" fmla="*/ 404812 w 783431"/>
                <a:gd name="connsiteY14" fmla="*/ 1276349 h 1276349"/>
                <a:gd name="connsiteX15" fmla="*/ 469106 w 783431"/>
                <a:gd name="connsiteY15" fmla="*/ 1181100 h 1276349"/>
                <a:gd name="connsiteX16" fmla="*/ 554831 w 783431"/>
                <a:gd name="connsiteY16" fmla="*/ 1202531 h 1276349"/>
                <a:gd name="connsiteX17" fmla="*/ 592931 w 783431"/>
                <a:gd name="connsiteY17" fmla="*/ 1126331 h 1276349"/>
                <a:gd name="connsiteX18" fmla="*/ 604837 w 783431"/>
                <a:gd name="connsiteY18" fmla="*/ 1085850 h 1276349"/>
                <a:gd name="connsiteX19" fmla="*/ 585787 w 783431"/>
                <a:gd name="connsiteY19" fmla="*/ 1035844 h 1276349"/>
                <a:gd name="connsiteX20" fmla="*/ 607219 w 783431"/>
                <a:gd name="connsiteY20" fmla="*/ 1021557 h 1276349"/>
                <a:gd name="connsiteX21" fmla="*/ 645319 w 783431"/>
                <a:gd name="connsiteY21" fmla="*/ 1016794 h 1276349"/>
                <a:gd name="connsiteX22" fmla="*/ 685800 w 783431"/>
                <a:gd name="connsiteY22" fmla="*/ 997744 h 1276349"/>
                <a:gd name="connsiteX23" fmla="*/ 716756 w 783431"/>
                <a:gd name="connsiteY23" fmla="*/ 1002507 h 1276349"/>
                <a:gd name="connsiteX24" fmla="*/ 738187 w 783431"/>
                <a:gd name="connsiteY24" fmla="*/ 969169 h 1276349"/>
                <a:gd name="connsiteX25" fmla="*/ 783431 w 783431"/>
                <a:gd name="connsiteY25" fmla="*/ 933450 h 1276349"/>
                <a:gd name="connsiteX26" fmla="*/ 776287 w 783431"/>
                <a:gd name="connsiteY26" fmla="*/ 907257 h 1276349"/>
                <a:gd name="connsiteX27" fmla="*/ 752475 w 783431"/>
                <a:gd name="connsiteY27" fmla="*/ 888207 h 1276349"/>
                <a:gd name="connsiteX28" fmla="*/ 752475 w 783431"/>
                <a:gd name="connsiteY28" fmla="*/ 864394 h 1276349"/>
                <a:gd name="connsiteX29" fmla="*/ 728662 w 783431"/>
                <a:gd name="connsiteY29" fmla="*/ 852488 h 1276349"/>
                <a:gd name="connsiteX30" fmla="*/ 711994 w 783431"/>
                <a:gd name="connsiteY30" fmla="*/ 802482 h 1276349"/>
                <a:gd name="connsiteX31" fmla="*/ 688181 w 783431"/>
                <a:gd name="connsiteY31" fmla="*/ 814388 h 1276349"/>
                <a:gd name="connsiteX32" fmla="*/ 659606 w 783431"/>
                <a:gd name="connsiteY32" fmla="*/ 814388 h 1276349"/>
                <a:gd name="connsiteX33" fmla="*/ 647700 w 783431"/>
                <a:gd name="connsiteY33" fmla="*/ 847725 h 1276349"/>
                <a:gd name="connsiteX34" fmla="*/ 623887 w 783431"/>
                <a:gd name="connsiteY34" fmla="*/ 847725 h 1276349"/>
                <a:gd name="connsiteX35" fmla="*/ 576262 w 783431"/>
                <a:gd name="connsiteY35" fmla="*/ 828675 h 1276349"/>
                <a:gd name="connsiteX36" fmla="*/ 554831 w 783431"/>
                <a:gd name="connsiteY36" fmla="*/ 816769 h 1276349"/>
                <a:gd name="connsiteX37" fmla="*/ 547687 w 783431"/>
                <a:gd name="connsiteY37" fmla="*/ 783432 h 1276349"/>
                <a:gd name="connsiteX38" fmla="*/ 561975 w 783431"/>
                <a:gd name="connsiteY38" fmla="*/ 754857 h 1276349"/>
                <a:gd name="connsiteX39" fmla="*/ 533400 w 783431"/>
                <a:gd name="connsiteY39" fmla="*/ 733425 h 1276349"/>
                <a:gd name="connsiteX40" fmla="*/ 509587 w 783431"/>
                <a:gd name="connsiteY40" fmla="*/ 711994 h 1276349"/>
                <a:gd name="connsiteX41" fmla="*/ 473869 w 783431"/>
                <a:gd name="connsiteY41" fmla="*/ 711994 h 1276349"/>
                <a:gd name="connsiteX42" fmla="*/ 435769 w 783431"/>
                <a:gd name="connsiteY42" fmla="*/ 711994 h 1276349"/>
                <a:gd name="connsiteX43" fmla="*/ 438150 w 783431"/>
                <a:gd name="connsiteY43" fmla="*/ 669132 h 1276349"/>
                <a:gd name="connsiteX44" fmla="*/ 428625 w 783431"/>
                <a:gd name="connsiteY44" fmla="*/ 642938 h 1276349"/>
                <a:gd name="connsiteX45" fmla="*/ 423862 w 783431"/>
                <a:gd name="connsiteY45" fmla="*/ 607219 h 1276349"/>
                <a:gd name="connsiteX46" fmla="*/ 426244 w 783431"/>
                <a:gd name="connsiteY46" fmla="*/ 578644 h 1276349"/>
                <a:gd name="connsiteX47" fmla="*/ 440531 w 783431"/>
                <a:gd name="connsiteY47" fmla="*/ 566738 h 1276349"/>
                <a:gd name="connsiteX48" fmla="*/ 450056 w 783431"/>
                <a:gd name="connsiteY48" fmla="*/ 535782 h 1276349"/>
                <a:gd name="connsiteX49" fmla="*/ 457200 w 783431"/>
                <a:gd name="connsiteY49" fmla="*/ 519113 h 1276349"/>
                <a:gd name="connsiteX50" fmla="*/ 481012 w 783431"/>
                <a:gd name="connsiteY50" fmla="*/ 526257 h 1276349"/>
                <a:gd name="connsiteX51" fmla="*/ 495300 w 783431"/>
                <a:gd name="connsiteY51" fmla="*/ 576263 h 1276349"/>
                <a:gd name="connsiteX52" fmla="*/ 507206 w 783431"/>
                <a:gd name="connsiteY52" fmla="*/ 581025 h 1276349"/>
                <a:gd name="connsiteX53" fmla="*/ 526256 w 783431"/>
                <a:gd name="connsiteY53" fmla="*/ 583407 h 1276349"/>
                <a:gd name="connsiteX54" fmla="*/ 554831 w 783431"/>
                <a:gd name="connsiteY54" fmla="*/ 583407 h 1276349"/>
                <a:gd name="connsiteX55" fmla="*/ 557212 w 783431"/>
                <a:gd name="connsiteY55" fmla="*/ 547688 h 1276349"/>
                <a:gd name="connsiteX56" fmla="*/ 545306 w 783431"/>
                <a:gd name="connsiteY56" fmla="*/ 502444 h 1276349"/>
                <a:gd name="connsiteX57" fmla="*/ 545306 w 783431"/>
                <a:gd name="connsiteY57" fmla="*/ 476250 h 1276349"/>
                <a:gd name="connsiteX58" fmla="*/ 581025 w 783431"/>
                <a:gd name="connsiteY58" fmla="*/ 454819 h 1276349"/>
                <a:gd name="connsiteX59" fmla="*/ 604837 w 783431"/>
                <a:gd name="connsiteY59" fmla="*/ 435769 h 1276349"/>
                <a:gd name="connsiteX60" fmla="*/ 640556 w 783431"/>
                <a:gd name="connsiteY60" fmla="*/ 414338 h 1276349"/>
                <a:gd name="connsiteX61" fmla="*/ 645319 w 783431"/>
                <a:gd name="connsiteY61" fmla="*/ 395288 h 1276349"/>
                <a:gd name="connsiteX62" fmla="*/ 633412 w 783431"/>
                <a:gd name="connsiteY62" fmla="*/ 371475 h 1276349"/>
                <a:gd name="connsiteX63" fmla="*/ 614362 w 783431"/>
                <a:gd name="connsiteY63" fmla="*/ 369094 h 1276349"/>
                <a:gd name="connsiteX64" fmla="*/ 609600 w 783431"/>
                <a:gd name="connsiteY64" fmla="*/ 366713 h 1276349"/>
                <a:gd name="connsiteX65" fmla="*/ 597694 w 783431"/>
                <a:gd name="connsiteY65" fmla="*/ 357188 h 1276349"/>
                <a:gd name="connsiteX66" fmla="*/ 611981 w 783431"/>
                <a:gd name="connsiteY66" fmla="*/ 345282 h 1276349"/>
                <a:gd name="connsiteX67" fmla="*/ 652462 w 783431"/>
                <a:gd name="connsiteY67" fmla="*/ 316707 h 1276349"/>
                <a:gd name="connsiteX68" fmla="*/ 678656 w 783431"/>
                <a:gd name="connsiteY68" fmla="*/ 264319 h 1276349"/>
                <a:gd name="connsiteX69" fmla="*/ 666750 w 783431"/>
                <a:gd name="connsiteY69" fmla="*/ 242888 h 1276349"/>
                <a:gd name="connsiteX70" fmla="*/ 638175 w 783431"/>
                <a:gd name="connsiteY70" fmla="*/ 219075 h 1276349"/>
                <a:gd name="connsiteX71" fmla="*/ 642937 w 783431"/>
                <a:gd name="connsiteY71" fmla="*/ 180975 h 1276349"/>
                <a:gd name="connsiteX72" fmla="*/ 673894 w 783431"/>
                <a:gd name="connsiteY72" fmla="*/ 171450 h 1276349"/>
                <a:gd name="connsiteX73" fmla="*/ 700087 w 783431"/>
                <a:gd name="connsiteY73" fmla="*/ 142875 h 1276349"/>
                <a:gd name="connsiteX74" fmla="*/ 700087 w 783431"/>
                <a:gd name="connsiteY74" fmla="*/ 111919 h 1276349"/>
                <a:gd name="connsiteX75" fmla="*/ 666750 w 783431"/>
                <a:gd name="connsiteY75" fmla="*/ 107157 h 1276349"/>
                <a:gd name="connsiteX76" fmla="*/ 645319 w 783431"/>
                <a:gd name="connsiteY76" fmla="*/ 102394 h 1276349"/>
                <a:gd name="connsiteX77" fmla="*/ 645319 w 783431"/>
                <a:gd name="connsiteY77" fmla="*/ 102394 h 1276349"/>
                <a:gd name="connsiteX78" fmla="*/ 678656 w 783431"/>
                <a:gd name="connsiteY78" fmla="*/ 69057 h 1276349"/>
                <a:gd name="connsiteX79" fmla="*/ 685800 w 783431"/>
                <a:gd name="connsiteY79" fmla="*/ 40482 h 1276349"/>
                <a:gd name="connsiteX80" fmla="*/ 678656 w 783431"/>
                <a:gd name="connsiteY80" fmla="*/ 21432 h 1276349"/>
                <a:gd name="connsiteX81" fmla="*/ 695325 w 783431"/>
                <a:gd name="connsiteY81" fmla="*/ 2382 h 1276349"/>
                <a:gd name="connsiteX82" fmla="*/ 628650 w 783431"/>
                <a:gd name="connsiteY82" fmla="*/ 0 h 1276349"/>
                <a:gd name="connsiteX83" fmla="*/ 552450 w 783431"/>
                <a:gd name="connsiteY83" fmla="*/ 52388 h 1276349"/>
                <a:gd name="connsiteX84" fmla="*/ 538162 w 783431"/>
                <a:gd name="connsiteY84" fmla="*/ 90488 h 1276349"/>
                <a:gd name="connsiteX85" fmla="*/ 445294 w 783431"/>
                <a:gd name="connsiteY85" fmla="*/ 126207 h 1276349"/>
                <a:gd name="connsiteX86" fmla="*/ 397669 w 783431"/>
                <a:gd name="connsiteY86" fmla="*/ 159544 h 1276349"/>
                <a:gd name="connsiteX87" fmla="*/ 376237 w 783431"/>
                <a:gd name="connsiteY87" fmla="*/ 190500 h 1276349"/>
                <a:gd name="connsiteX88" fmla="*/ 350044 w 783431"/>
                <a:gd name="connsiteY88" fmla="*/ 140494 h 1276349"/>
                <a:gd name="connsiteX89" fmla="*/ 316706 w 783431"/>
                <a:gd name="connsiteY89" fmla="*/ 140494 h 1276349"/>
                <a:gd name="connsiteX90" fmla="*/ 304800 w 783431"/>
                <a:gd name="connsiteY90" fmla="*/ 166688 h 1276349"/>
                <a:gd name="connsiteX91" fmla="*/ 280987 w 783431"/>
                <a:gd name="connsiteY91" fmla="*/ 230982 h 1276349"/>
                <a:gd name="connsiteX92" fmla="*/ 154781 w 783431"/>
                <a:gd name="connsiteY92" fmla="*/ 223838 h 1276349"/>
                <a:gd name="connsiteX93" fmla="*/ 140494 w 783431"/>
                <a:gd name="connsiteY93" fmla="*/ 245269 h 1276349"/>
                <a:gd name="connsiteX94" fmla="*/ 138112 w 783431"/>
                <a:gd name="connsiteY94" fmla="*/ 280988 h 1276349"/>
                <a:gd name="connsiteX95" fmla="*/ 66675 w 783431"/>
                <a:gd name="connsiteY95" fmla="*/ 309563 h 1276349"/>
                <a:gd name="connsiteX96" fmla="*/ 54769 w 783431"/>
                <a:gd name="connsiteY96" fmla="*/ 323850 h 1276349"/>
                <a:gd name="connsiteX97" fmla="*/ 66675 w 783431"/>
                <a:gd name="connsiteY97" fmla="*/ 381000 h 1276349"/>
                <a:gd name="connsiteX98" fmla="*/ 19050 w 783431"/>
                <a:gd name="connsiteY98" fmla="*/ 423863 h 1276349"/>
                <a:gd name="connsiteX99" fmla="*/ 26194 w 783431"/>
                <a:gd name="connsiteY99" fmla="*/ 490538 h 1276349"/>
                <a:gd name="connsiteX100" fmla="*/ 33337 w 783431"/>
                <a:gd name="connsiteY100" fmla="*/ 554832 h 1276349"/>
                <a:gd name="connsiteX101" fmla="*/ 0 w 783431"/>
                <a:gd name="connsiteY101" fmla="*/ 614363 h 1276349"/>
                <a:gd name="connsiteX0" fmla="*/ 0 w 783431"/>
                <a:gd name="connsiteY0" fmla="*/ 614363 h 1276349"/>
                <a:gd name="connsiteX1" fmla="*/ 21431 w 783431"/>
                <a:gd name="connsiteY1" fmla="*/ 661988 h 1276349"/>
                <a:gd name="connsiteX2" fmla="*/ 28575 w 783431"/>
                <a:gd name="connsiteY2" fmla="*/ 742950 h 1276349"/>
                <a:gd name="connsiteX3" fmla="*/ 76200 w 783431"/>
                <a:gd name="connsiteY3" fmla="*/ 814388 h 1276349"/>
                <a:gd name="connsiteX4" fmla="*/ 102394 w 783431"/>
                <a:gd name="connsiteY4" fmla="*/ 919163 h 1276349"/>
                <a:gd name="connsiteX5" fmla="*/ 116681 w 783431"/>
                <a:gd name="connsiteY5" fmla="*/ 947738 h 1276349"/>
                <a:gd name="connsiteX6" fmla="*/ 130969 w 783431"/>
                <a:gd name="connsiteY6" fmla="*/ 995363 h 1276349"/>
                <a:gd name="connsiteX7" fmla="*/ 150019 w 783431"/>
                <a:gd name="connsiteY7" fmla="*/ 1023938 h 1276349"/>
                <a:gd name="connsiteX8" fmla="*/ 159544 w 783431"/>
                <a:gd name="connsiteY8" fmla="*/ 1042988 h 1276349"/>
                <a:gd name="connsiteX9" fmla="*/ 197644 w 783431"/>
                <a:gd name="connsiteY9" fmla="*/ 1069182 h 1276349"/>
                <a:gd name="connsiteX10" fmla="*/ 245269 w 783431"/>
                <a:gd name="connsiteY10" fmla="*/ 1090613 h 1276349"/>
                <a:gd name="connsiteX11" fmla="*/ 264318 w 783431"/>
                <a:gd name="connsiteY11" fmla="*/ 1131094 h 1276349"/>
                <a:gd name="connsiteX12" fmla="*/ 295275 w 783431"/>
                <a:gd name="connsiteY12" fmla="*/ 1164431 h 1276349"/>
                <a:gd name="connsiteX13" fmla="*/ 385762 w 783431"/>
                <a:gd name="connsiteY13" fmla="*/ 1200149 h 1276349"/>
                <a:gd name="connsiteX14" fmla="*/ 404812 w 783431"/>
                <a:gd name="connsiteY14" fmla="*/ 1276349 h 1276349"/>
                <a:gd name="connsiteX15" fmla="*/ 438150 w 783431"/>
                <a:gd name="connsiteY15" fmla="*/ 1228724 h 1276349"/>
                <a:gd name="connsiteX16" fmla="*/ 469106 w 783431"/>
                <a:gd name="connsiteY16" fmla="*/ 1181100 h 1276349"/>
                <a:gd name="connsiteX17" fmla="*/ 554831 w 783431"/>
                <a:gd name="connsiteY17" fmla="*/ 1202531 h 1276349"/>
                <a:gd name="connsiteX18" fmla="*/ 592931 w 783431"/>
                <a:gd name="connsiteY18" fmla="*/ 1126331 h 1276349"/>
                <a:gd name="connsiteX19" fmla="*/ 604837 w 783431"/>
                <a:gd name="connsiteY19" fmla="*/ 1085850 h 1276349"/>
                <a:gd name="connsiteX20" fmla="*/ 585787 w 783431"/>
                <a:gd name="connsiteY20" fmla="*/ 1035844 h 1276349"/>
                <a:gd name="connsiteX21" fmla="*/ 607219 w 783431"/>
                <a:gd name="connsiteY21" fmla="*/ 1021557 h 1276349"/>
                <a:gd name="connsiteX22" fmla="*/ 645319 w 783431"/>
                <a:gd name="connsiteY22" fmla="*/ 1016794 h 1276349"/>
                <a:gd name="connsiteX23" fmla="*/ 685800 w 783431"/>
                <a:gd name="connsiteY23" fmla="*/ 997744 h 1276349"/>
                <a:gd name="connsiteX24" fmla="*/ 716756 w 783431"/>
                <a:gd name="connsiteY24" fmla="*/ 1002507 h 1276349"/>
                <a:gd name="connsiteX25" fmla="*/ 738187 w 783431"/>
                <a:gd name="connsiteY25" fmla="*/ 969169 h 1276349"/>
                <a:gd name="connsiteX26" fmla="*/ 783431 w 783431"/>
                <a:gd name="connsiteY26" fmla="*/ 933450 h 1276349"/>
                <a:gd name="connsiteX27" fmla="*/ 776287 w 783431"/>
                <a:gd name="connsiteY27" fmla="*/ 907257 h 1276349"/>
                <a:gd name="connsiteX28" fmla="*/ 752475 w 783431"/>
                <a:gd name="connsiteY28" fmla="*/ 888207 h 1276349"/>
                <a:gd name="connsiteX29" fmla="*/ 752475 w 783431"/>
                <a:gd name="connsiteY29" fmla="*/ 864394 h 1276349"/>
                <a:gd name="connsiteX30" fmla="*/ 728662 w 783431"/>
                <a:gd name="connsiteY30" fmla="*/ 852488 h 1276349"/>
                <a:gd name="connsiteX31" fmla="*/ 711994 w 783431"/>
                <a:gd name="connsiteY31" fmla="*/ 802482 h 1276349"/>
                <a:gd name="connsiteX32" fmla="*/ 688181 w 783431"/>
                <a:gd name="connsiteY32" fmla="*/ 814388 h 1276349"/>
                <a:gd name="connsiteX33" fmla="*/ 659606 w 783431"/>
                <a:gd name="connsiteY33" fmla="*/ 814388 h 1276349"/>
                <a:gd name="connsiteX34" fmla="*/ 647700 w 783431"/>
                <a:gd name="connsiteY34" fmla="*/ 847725 h 1276349"/>
                <a:gd name="connsiteX35" fmla="*/ 623887 w 783431"/>
                <a:gd name="connsiteY35" fmla="*/ 847725 h 1276349"/>
                <a:gd name="connsiteX36" fmla="*/ 576262 w 783431"/>
                <a:gd name="connsiteY36" fmla="*/ 828675 h 1276349"/>
                <a:gd name="connsiteX37" fmla="*/ 554831 w 783431"/>
                <a:gd name="connsiteY37" fmla="*/ 816769 h 1276349"/>
                <a:gd name="connsiteX38" fmla="*/ 547687 w 783431"/>
                <a:gd name="connsiteY38" fmla="*/ 783432 h 1276349"/>
                <a:gd name="connsiteX39" fmla="*/ 561975 w 783431"/>
                <a:gd name="connsiteY39" fmla="*/ 754857 h 1276349"/>
                <a:gd name="connsiteX40" fmla="*/ 533400 w 783431"/>
                <a:gd name="connsiteY40" fmla="*/ 733425 h 1276349"/>
                <a:gd name="connsiteX41" fmla="*/ 509587 w 783431"/>
                <a:gd name="connsiteY41" fmla="*/ 711994 h 1276349"/>
                <a:gd name="connsiteX42" fmla="*/ 473869 w 783431"/>
                <a:gd name="connsiteY42" fmla="*/ 711994 h 1276349"/>
                <a:gd name="connsiteX43" fmla="*/ 435769 w 783431"/>
                <a:gd name="connsiteY43" fmla="*/ 711994 h 1276349"/>
                <a:gd name="connsiteX44" fmla="*/ 438150 w 783431"/>
                <a:gd name="connsiteY44" fmla="*/ 669132 h 1276349"/>
                <a:gd name="connsiteX45" fmla="*/ 428625 w 783431"/>
                <a:gd name="connsiteY45" fmla="*/ 642938 h 1276349"/>
                <a:gd name="connsiteX46" fmla="*/ 423862 w 783431"/>
                <a:gd name="connsiteY46" fmla="*/ 607219 h 1276349"/>
                <a:gd name="connsiteX47" fmla="*/ 426244 w 783431"/>
                <a:gd name="connsiteY47" fmla="*/ 578644 h 1276349"/>
                <a:gd name="connsiteX48" fmla="*/ 440531 w 783431"/>
                <a:gd name="connsiteY48" fmla="*/ 566738 h 1276349"/>
                <a:gd name="connsiteX49" fmla="*/ 450056 w 783431"/>
                <a:gd name="connsiteY49" fmla="*/ 535782 h 1276349"/>
                <a:gd name="connsiteX50" fmla="*/ 457200 w 783431"/>
                <a:gd name="connsiteY50" fmla="*/ 519113 h 1276349"/>
                <a:gd name="connsiteX51" fmla="*/ 481012 w 783431"/>
                <a:gd name="connsiteY51" fmla="*/ 526257 h 1276349"/>
                <a:gd name="connsiteX52" fmla="*/ 495300 w 783431"/>
                <a:gd name="connsiteY52" fmla="*/ 576263 h 1276349"/>
                <a:gd name="connsiteX53" fmla="*/ 507206 w 783431"/>
                <a:gd name="connsiteY53" fmla="*/ 581025 h 1276349"/>
                <a:gd name="connsiteX54" fmla="*/ 526256 w 783431"/>
                <a:gd name="connsiteY54" fmla="*/ 583407 h 1276349"/>
                <a:gd name="connsiteX55" fmla="*/ 554831 w 783431"/>
                <a:gd name="connsiteY55" fmla="*/ 583407 h 1276349"/>
                <a:gd name="connsiteX56" fmla="*/ 557212 w 783431"/>
                <a:gd name="connsiteY56" fmla="*/ 547688 h 1276349"/>
                <a:gd name="connsiteX57" fmla="*/ 545306 w 783431"/>
                <a:gd name="connsiteY57" fmla="*/ 502444 h 1276349"/>
                <a:gd name="connsiteX58" fmla="*/ 545306 w 783431"/>
                <a:gd name="connsiteY58" fmla="*/ 476250 h 1276349"/>
                <a:gd name="connsiteX59" fmla="*/ 581025 w 783431"/>
                <a:gd name="connsiteY59" fmla="*/ 454819 h 1276349"/>
                <a:gd name="connsiteX60" fmla="*/ 604837 w 783431"/>
                <a:gd name="connsiteY60" fmla="*/ 435769 h 1276349"/>
                <a:gd name="connsiteX61" fmla="*/ 640556 w 783431"/>
                <a:gd name="connsiteY61" fmla="*/ 414338 h 1276349"/>
                <a:gd name="connsiteX62" fmla="*/ 645319 w 783431"/>
                <a:gd name="connsiteY62" fmla="*/ 395288 h 1276349"/>
                <a:gd name="connsiteX63" fmla="*/ 633412 w 783431"/>
                <a:gd name="connsiteY63" fmla="*/ 371475 h 1276349"/>
                <a:gd name="connsiteX64" fmla="*/ 614362 w 783431"/>
                <a:gd name="connsiteY64" fmla="*/ 369094 h 1276349"/>
                <a:gd name="connsiteX65" fmla="*/ 609600 w 783431"/>
                <a:gd name="connsiteY65" fmla="*/ 366713 h 1276349"/>
                <a:gd name="connsiteX66" fmla="*/ 597694 w 783431"/>
                <a:gd name="connsiteY66" fmla="*/ 357188 h 1276349"/>
                <a:gd name="connsiteX67" fmla="*/ 611981 w 783431"/>
                <a:gd name="connsiteY67" fmla="*/ 345282 h 1276349"/>
                <a:gd name="connsiteX68" fmla="*/ 652462 w 783431"/>
                <a:gd name="connsiteY68" fmla="*/ 316707 h 1276349"/>
                <a:gd name="connsiteX69" fmla="*/ 678656 w 783431"/>
                <a:gd name="connsiteY69" fmla="*/ 264319 h 1276349"/>
                <a:gd name="connsiteX70" fmla="*/ 666750 w 783431"/>
                <a:gd name="connsiteY70" fmla="*/ 242888 h 1276349"/>
                <a:gd name="connsiteX71" fmla="*/ 638175 w 783431"/>
                <a:gd name="connsiteY71" fmla="*/ 219075 h 1276349"/>
                <a:gd name="connsiteX72" fmla="*/ 642937 w 783431"/>
                <a:gd name="connsiteY72" fmla="*/ 180975 h 1276349"/>
                <a:gd name="connsiteX73" fmla="*/ 673894 w 783431"/>
                <a:gd name="connsiteY73" fmla="*/ 171450 h 1276349"/>
                <a:gd name="connsiteX74" fmla="*/ 700087 w 783431"/>
                <a:gd name="connsiteY74" fmla="*/ 142875 h 1276349"/>
                <a:gd name="connsiteX75" fmla="*/ 700087 w 783431"/>
                <a:gd name="connsiteY75" fmla="*/ 111919 h 1276349"/>
                <a:gd name="connsiteX76" fmla="*/ 666750 w 783431"/>
                <a:gd name="connsiteY76" fmla="*/ 107157 h 1276349"/>
                <a:gd name="connsiteX77" fmla="*/ 645319 w 783431"/>
                <a:gd name="connsiteY77" fmla="*/ 102394 h 1276349"/>
                <a:gd name="connsiteX78" fmla="*/ 645319 w 783431"/>
                <a:gd name="connsiteY78" fmla="*/ 102394 h 1276349"/>
                <a:gd name="connsiteX79" fmla="*/ 678656 w 783431"/>
                <a:gd name="connsiteY79" fmla="*/ 69057 h 1276349"/>
                <a:gd name="connsiteX80" fmla="*/ 685800 w 783431"/>
                <a:gd name="connsiteY80" fmla="*/ 40482 h 1276349"/>
                <a:gd name="connsiteX81" fmla="*/ 678656 w 783431"/>
                <a:gd name="connsiteY81" fmla="*/ 21432 h 1276349"/>
                <a:gd name="connsiteX82" fmla="*/ 695325 w 783431"/>
                <a:gd name="connsiteY82" fmla="*/ 2382 h 1276349"/>
                <a:gd name="connsiteX83" fmla="*/ 628650 w 783431"/>
                <a:gd name="connsiteY83" fmla="*/ 0 h 1276349"/>
                <a:gd name="connsiteX84" fmla="*/ 552450 w 783431"/>
                <a:gd name="connsiteY84" fmla="*/ 52388 h 1276349"/>
                <a:gd name="connsiteX85" fmla="*/ 538162 w 783431"/>
                <a:gd name="connsiteY85" fmla="*/ 90488 h 1276349"/>
                <a:gd name="connsiteX86" fmla="*/ 445294 w 783431"/>
                <a:gd name="connsiteY86" fmla="*/ 126207 h 1276349"/>
                <a:gd name="connsiteX87" fmla="*/ 397669 w 783431"/>
                <a:gd name="connsiteY87" fmla="*/ 159544 h 1276349"/>
                <a:gd name="connsiteX88" fmla="*/ 376237 w 783431"/>
                <a:gd name="connsiteY88" fmla="*/ 190500 h 1276349"/>
                <a:gd name="connsiteX89" fmla="*/ 350044 w 783431"/>
                <a:gd name="connsiteY89" fmla="*/ 140494 h 1276349"/>
                <a:gd name="connsiteX90" fmla="*/ 316706 w 783431"/>
                <a:gd name="connsiteY90" fmla="*/ 140494 h 1276349"/>
                <a:gd name="connsiteX91" fmla="*/ 304800 w 783431"/>
                <a:gd name="connsiteY91" fmla="*/ 166688 h 1276349"/>
                <a:gd name="connsiteX92" fmla="*/ 280987 w 783431"/>
                <a:gd name="connsiteY92" fmla="*/ 230982 h 1276349"/>
                <a:gd name="connsiteX93" fmla="*/ 154781 w 783431"/>
                <a:gd name="connsiteY93" fmla="*/ 223838 h 1276349"/>
                <a:gd name="connsiteX94" fmla="*/ 140494 w 783431"/>
                <a:gd name="connsiteY94" fmla="*/ 245269 h 1276349"/>
                <a:gd name="connsiteX95" fmla="*/ 138112 w 783431"/>
                <a:gd name="connsiteY95" fmla="*/ 280988 h 1276349"/>
                <a:gd name="connsiteX96" fmla="*/ 66675 w 783431"/>
                <a:gd name="connsiteY96" fmla="*/ 309563 h 1276349"/>
                <a:gd name="connsiteX97" fmla="*/ 54769 w 783431"/>
                <a:gd name="connsiteY97" fmla="*/ 323850 h 1276349"/>
                <a:gd name="connsiteX98" fmla="*/ 66675 w 783431"/>
                <a:gd name="connsiteY98" fmla="*/ 381000 h 1276349"/>
                <a:gd name="connsiteX99" fmla="*/ 19050 w 783431"/>
                <a:gd name="connsiteY99" fmla="*/ 423863 h 1276349"/>
                <a:gd name="connsiteX100" fmla="*/ 26194 w 783431"/>
                <a:gd name="connsiteY100" fmla="*/ 490538 h 1276349"/>
                <a:gd name="connsiteX101" fmla="*/ 33337 w 783431"/>
                <a:gd name="connsiteY101" fmla="*/ 554832 h 1276349"/>
                <a:gd name="connsiteX102" fmla="*/ 0 w 783431"/>
                <a:gd name="connsiteY102" fmla="*/ 614363 h 1276349"/>
                <a:gd name="connsiteX0" fmla="*/ 0 w 783431"/>
                <a:gd name="connsiteY0" fmla="*/ 614363 h 1276349"/>
                <a:gd name="connsiteX1" fmla="*/ 21431 w 783431"/>
                <a:gd name="connsiteY1" fmla="*/ 661988 h 1276349"/>
                <a:gd name="connsiteX2" fmla="*/ 28575 w 783431"/>
                <a:gd name="connsiteY2" fmla="*/ 742950 h 1276349"/>
                <a:gd name="connsiteX3" fmla="*/ 76200 w 783431"/>
                <a:gd name="connsiteY3" fmla="*/ 814388 h 1276349"/>
                <a:gd name="connsiteX4" fmla="*/ 102394 w 783431"/>
                <a:gd name="connsiteY4" fmla="*/ 919163 h 1276349"/>
                <a:gd name="connsiteX5" fmla="*/ 116681 w 783431"/>
                <a:gd name="connsiteY5" fmla="*/ 947738 h 1276349"/>
                <a:gd name="connsiteX6" fmla="*/ 130969 w 783431"/>
                <a:gd name="connsiteY6" fmla="*/ 995363 h 1276349"/>
                <a:gd name="connsiteX7" fmla="*/ 150019 w 783431"/>
                <a:gd name="connsiteY7" fmla="*/ 1023938 h 1276349"/>
                <a:gd name="connsiteX8" fmla="*/ 159544 w 783431"/>
                <a:gd name="connsiteY8" fmla="*/ 1042988 h 1276349"/>
                <a:gd name="connsiteX9" fmla="*/ 197644 w 783431"/>
                <a:gd name="connsiteY9" fmla="*/ 1069182 h 1276349"/>
                <a:gd name="connsiteX10" fmla="*/ 245269 w 783431"/>
                <a:gd name="connsiteY10" fmla="*/ 1090613 h 1276349"/>
                <a:gd name="connsiteX11" fmla="*/ 264318 w 783431"/>
                <a:gd name="connsiteY11" fmla="*/ 1131094 h 1276349"/>
                <a:gd name="connsiteX12" fmla="*/ 295275 w 783431"/>
                <a:gd name="connsiteY12" fmla="*/ 1164431 h 1276349"/>
                <a:gd name="connsiteX13" fmla="*/ 385762 w 783431"/>
                <a:gd name="connsiteY13" fmla="*/ 1200149 h 1276349"/>
                <a:gd name="connsiteX14" fmla="*/ 404812 w 783431"/>
                <a:gd name="connsiteY14" fmla="*/ 1276349 h 1276349"/>
                <a:gd name="connsiteX15" fmla="*/ 423863 w 783431"/>
                <a:gd name="connsiteY15" fmla="*/ 1221580 h 1276349"/>
                <a:gd name="connsiteX16" fmla="*/ 469106 w 783431"/>
                <a:gd name="connsiteY16" fmla="*/ 1181100 h 1276349"/>
                <a:gd name="connsiteX17" fmla="*/ 554831 w 783431"/>
                <a:gd name="connsiteY17" fmla="*/ 1202531 h 1276349"/>
                <a:gd name="connsiteX18" fmla="*/ 592931 w 783431"/>
                <a:gd name="connsiteY18" fmla="*/ 1126331 h 1276349"/>
                <a:gd name="connsiteX19" fmla="*/ 604837 w 783431"/>
                <a:gd name="connsiteY19" fmla="*/ 1085850 h 1276349"/>
                <a:gd name="connsiteX20" fmla="*/ 585787 w 783431"/>
                <a:gd name="connsiteY20" fmla="*/ 1035844 h 1276349"/>
                <a:gd name="connsiteX21" fmla="*/ 607219 w 783431"/>
                <a:gd name="connsiteY21" fmla="*/ 1021557 h 1276349"/>
                <a:gd name="connsiteX22" fmla="*/ 645319 w 783431"/>
                <a:gd name="connsiteY22" fmla="*/ 1016794 h 1276349"/>
                <a:gd name="connsiteX23" fmla="*/ 685800 w 783431"/>
                <a:gd name="connsiteY23" fmla="*/ 997744 h 1276349"/>
                <a:gd name="connsiteX24" fmla="*/ 716756 w 783431"/>
                <a:gd name="connsiteY24" fmla="*/ 1002507 h 1276349"/>
                <a:gd name="connsiteX25" fmla="*/ 738187 w 783431"/>
                <a:gd name="connsiteY25" fmla="*/ 969169 h 1276349"/>
                <a:gd name="connsiteX26" fmla="*/ 783431 w 783431"/>
                <a:gd name="connsiteY26" fmla="*/ 933450 h 1276349"/>
                <a:gd name="connsiteX27" fmla="*/ 776287 w 783431"/>
                <a:gd name="connsiteY27" fmla="*/ 907257 h 1276349"/>
                <a:gd name="connsiteX28" fmla="*/ 752475 w 783431"/>
                <a:gd name="connsiteY28" fmla="*/ 888207 h 1276349"/>
                <a:gd name="connsiteX29" fmla="*/ 752475 w 783431"/>
                <a:gd name="connsiteY29" fmla="*/ 864394 h 1276349"/>
                <a:gd name="connsiteX30" fmla="*/ 728662 w 783431"/>
                <a:gd name="connsiteY30" fmla="*/ 852488 h 1276349"/>
                <a:gd name="connsiteX31" fmla="*/ 711994 w 783431"/>
                <a:gd name="connsiteY31" fmla="*/ 802482 h 1276349"/>
                <a:gd name="connsiteX32" fmla="*/ 688181 w 783431"/>
                <a:gd name="connsiteY32" fmla="*/ 814388 h 1276349"/>
                <a:gd name="connsiteX33" fmla="*/ 659606 w 783431"/>
                <a:gd name="connsiteY33" fmla="*/ 814388 h 1276349"/>
                <a:gd name="connsiteX34" fmla="*/ 647700 w 783431"/>
                <a:gd name="connsiteY34" fmla="*/ 847725 h 1276349"/>
                <a:gd name="connsiteX35" fmla="*/ 623887 w 783431"/>
                <a:gd name="connsiteY35" fmla="*/ 847725 h 1276349"/>
                <a:gd name="connsiteX36" fmla="*/ 576262 w 783431"/>
                <a:gd name="connsiteY36" fmla="*/ 828675 h 1276349"/>
                <a:gd name="connsiteX37" fmla="*/ 554831 w 783431"/>
                <a:gd name="connsiteY37" fmla="*/ 816769 h 1276349"/>
                <a:gd name="connsiteX38" fmla="*/ 547687 w 783431"/>
                <a:gd name="connsiteY38" fmla="*/ 783432 h 1276349"/>
                <a:gd name="connsiteX39" fmla="*/ 561975 w 783431"/>
                <a:gd name="connsiteY39" fmla="*/ 754857 h 1276349"/>
                <a:gd name="connsiteX40" fmla="*/ 533400 w 783431"/>
                <a:gd name="connsiteY40" fmla="*/ 733425 h 1276349"/>
                <a:gd name="connsiteX41" fmla="*/ 509587 w 783431"/>
                <a:gd name="connsiteY41" fmla="*/ 711994 h 1276349"/>
                <a:gd name="connsiteX42" fmla="*/ 473869 w 783431"/>
                <a:gd name="connsiteY42" fmla="*/ 711994 h 1276349"/>
                <a:gd name="connsiteX43" fmla="*/ 435769 w 783431"/>
                <a:gd name="connsiteY43" fmla="*/ 711994 h 1276349"/>
                <a:gd name="connsiteX44" fmla="*/ 438150 w 783431"/>
                <a:gd name="connsiteY44" fmla="*/ 669132 h 1276349"/>
                <a:gd name="connsiteX45" fmla="*/ 428625 w 783431"/>
                <a:gd name="connsiteY45" fmla="*/ 642938 h 1276349"/>
                <a:gd name="connsiteX46" fmla="*/ 423862 w 783431"/>
                <a:gd name="connsiteY46" fmla="*/ 607219 h 1276349"/>
                <a:gd name="connsiteX47" fmla="*/ 426244 w 783431"/>
                <a:gd name="connsiteY47" fmla="*/ 578644 h 1276349"/>
                <a:gd name="connsiteX48" fmla="*/ 440531 w 783431"/>
                <a:gd name="connsiteY48" fmla="*/ 566738 h 1276349"/>
                <a:gd name="connsiteX49" fmla="*/ 450056 w 783431"/>
                <a:gd name="connsiteY49" fmla="*/ 535782 h 1276349"/>
                <a:gd name="connsiteX50" fmla="*/ 457200 w 783431"/>
                <a:gd name="connsiteY50" fmla="*/ 519113 h 1276349"/>
                <a:gd name="connsiteX51" fmla="*/ 481012 w 783431"/>
                <a:gd name="connsiteY51" fmla="*/ 526257 h 1276349"/>
                <a:gd name="connsiteX52" fmla="*/ 495300 w 783431"/>
                <a:gd name="connsiteY52" fmla="*/ 576263 h 1276349"/>
                <a:gd name="connsiteX53" fmla="*/ 507206 w 783431"/>
                <a:gd name="connsiteY53" fmla="*/ 581025 h 1276349"/>
                <a:gd name="connsiteX54" fmla="*/ 526256 w 783431"/>
                <a:gd name="connsiteY54" fmla="*/ 583407 h 1276349"/>
                <a:gd name="connsiteX55" fmla="*/ 554831 w 783431"/>
                <a:gd name="connsiteY55" fmla="*/ 583407 h 1276349"/>
                <a:gd name="connsiteX56" fmla="*/ 557212 w 783431"/>
                <a:gd name="connsiteY56" fmla="*/ 547688 h 1276349"/>
                <a:gd name="connsiteX57" fmla="*/ 545306 w 783431"/>
                <a:gd name="connsiteY57" fmla="*/ 502444 h 1276349"/>
                <a:gd name="connsiteX58" fmla="*/ 545306 w 783431"/>
                <a:gd name="connsiteY58" fmla="*/ 476250 h 1276349"/>
                <a:gd name="connsiteX59" fmla="*/ 581025 w 783431"/>
                <a:gd name="connsiteY59" fmla="*/ 454819 h 1276349"/>
                <a:gd name="connsiteX60" fmla="*/ 604837 w 783431"/>
                <a:gd name="connsiteY60" fmla="*/ 435769 h 1276349"/>
                <a:gd name="connsiteX61" fmla="*/ 640556 w 783431"/>
                <a:gd name="connsiteY61" fmla="*/ 414338 h 1276349"/>
                <a:gd name="connsiteX62" fmla="*/ 645319 w 783431"/>
                <a:gd name="connsiteY62" fmla="*/ 395288 h 1276349"/>
                <a:gd name="connsiteX63" fmla="*/ 633412 w 783431"/>
                <a:gd name="connsiteY63" fmla="*/ 371475 h 1276349"/>
                <a:gd name="connsiteX64" fmla="*/ 614362 w 783431"/>
                <a:gd name="connsiteY64" fmla="*/ 369094 h 1276349"/>
                <a:gd name="connsiteX65" fmla="*/ 609600 w 783431"/>
                <a:gd name="connsiteY65" fmla="*/ 366713 h 1276349"/>
                <a:gd name="connsiteX66" fmla="*/ 597694 w 783431"/>
                <a:gd name="connsiteY66" fmla="*/ 357188 h 1276349"/>
                <a:gd name="connsiteX67" fmla="*/ 611981 w 783431"/>
                <a:gd name="connsiteY67" fmla="*/ 345282 h 1276349"/>
                <a:gd name="connsiteX68" fmla="*/ 652462 w 783431"/>
                <a:gd name="connsiteY68" fmla="*/ 316707 h 1276349"/>
                <a:gd name="connsiteX69" fmla="*/ 678656 w 783431"/>
                <a:gd name="connsiteY69" fmla="*/ 264319 h 1276349"/>
                <a:gd name="connsiteX70" fmla="*/ 666750 w 783431"/>
                <a:gd name="connsiteY70" fmla="*/ 242888 h 1276349"/>
                <a:gd name="connsiteX71" fmla="*/ 638175 w 783431"/>
                <a:gd name="connsiteY71" fmla="*/ 219075 h 1276349"/>
                <a:gd name="connsiteX72" fmla="*/ 642937 w 783431"/>
                <a:gd name="connsiteY72" fmla="*/ 180975 h 1276349"/>
                <a:gd name="connsiteX73" fmla="*/ 673894 w 783431"/>
                <a:gd name="connsiteY73" fmla="*/ 171450 h 1276349"/>
                <a:gd name="connsiteX74" fmla="*/ 700087 w 783431"/>
                <a:gd name="connsiteY74" fmla="*/ 142875 h 1276349"/>
                <a:gd name="connsiteX75" fmla="*/ 700087 w 783431"/>
                <a:gd name="connsiteY75" fmla="*/ 111919 h 1276349"/>
                <a:gd name="connsiteX76" fmla="*/ 666750 w 783431"/>
                <a:gd name="connsiteY76" fmla="*/ 107157 h 1276349"/>
                <a:gd name="connsiteX77" fmla="*/ 645319 w 783431"/>
                <a:gd name="connsiteY77" fmla="*/ 102394 h 1276349"/>
                <a:gd name="connsiteX78" fmla="*/ 645319 w 783431"/>
                <a:gd name="connsiteY78" fmla="*/ 102394 h 1276349"/>
                <a:gd name="connsiteX79" fmla="*/ 678656 w 783431"/>
                <a:gd name="connsiteY79" fmla="*/ 69057 h 1276349"/>
                <a:gd name="connsiteX80" fmla="*/ 685800 w 783431"/>
                <a:gd name="connsiteY80" fmla="*/ 40482 h 1276349"/>
                <a:gd name="connsiteX81" fmla="*/ 678656 w 783431"/>
                <a:gd name="connsiteY81" fmla="*/ 21432 h 1276349"/>
                <a:gd name="connsiteX82" fmla="*/ 695325 w 783431"/>
                <a:gd name="connsiteY82" fmla="*/ 2382 h 1276349"/>
                <a:gd name="connsiteX83" fmla="*/ 628650 w 783431"/>
                <a:gd name="connsiteY83" fmla="*/ 0 h 1276349"/>
                <a:gd name="connsiteX84" fmla="*/ 552450 w 783431"/>
                <a:gd name="connsiteY84" fmla="*/ 52388 h 1276349"/>
                <a:gd name="connsiteX85" fmla="*/ 538162 w 783431"/>
                <a:gd name="connsiteY85" fmla="*/ 90488 h 1276349"/>
                <a:gd name="connsiteX86" fmla="*/ 445294 w 783431"/>
                <a:gd name="connsiteY86" fmla="*/ 126207 h 1276349"/>
                <a:gd name="connsiteX87" fmla="*/ 397669 w 783431"/>
                <a:gd name="connsiteY87" fmla="*/ 159544 h 1276349"/>
                <a:gd name="connsiteX88" fmla="*/ 376237 w 783431"/>
                <a:gd name="connsiteY88" fmla="*/ 190500 h 1276349"/>
                <a:gd name="connsiteX89" fmla="*/ 350044 w 783431"/>
                <a:gd name="connsiteY89" fmla="*/ 140494 h 1276349"/>
                <a:gd name="connsiteX90" fmla="*/ 316706 w 783431"/>
                <a:gd name="connsiteY90" fmla="*/ 140494 h 1276349"/>
                <a:gd name="connsiteX91" fmla="*/ 304800 w 783431"/>
                <a:gd name="connsiteY91" fmla="*/ 166688 h 1276349"/>
                <a:gd name="connsiteX92" fmla="*/ 280987 w 783431"/>
                <a:gd name="connsiteY92" fmla="*/ 230982 h 1276349"/>
                <a:gd name="connsiteX93" fmla="*/ 154781 w 783431"/>
                <a:gd name="connsiteY93" fmla="*/ 223838 h 1276349"/>
                <a:gd name="connsiteX94" fmla="*/ 140494 w 783431"/>
                <a:gd name="connsiteY94" fmla="*/ 245269 h 1276349"/>
                <a:gd name="connsiteX95" fmla="*/ 138112 w 783431"/>
                <a:gd name="connsiteY95" fmla="*/ 280988 h 1276349"/>
                <a:gd name="connsiteX96" fmla="*/ 66675 w 783431"/>
                <a:gd name="connsiteY96" fmla="*/ 309563 h 1276349"/>
                <a:gd name="connsiteX97" fmla="*/ 54769 w 783431"/>
                <a:gd name="connsiteY97" fmla="*/ 323850 h 1276349"/>
                <a:gd name="connsiteX98" fmla="*/ 66675 w 783431"/>
                <a:gd name="connsiteY98" fmla="*/ 381000 h 1276349"/>
                <a:gd name="connsiteX99" fmla="*/ 19050 w 783431"/>
                <a:gd name="connsiteY99" fmla="*/ 423863 h 1276349"/>
                <a:gd name="connsiteX100" fmla="*/ 26194 w 783431"/>
                <a:gd name="connsiteY100" fmla="*/ 490538 h 1276349"/>
                <a:gd name="connsiteX101" fmla="*/ 33337 w 783431"/>
                <a:gd name="connsiteY101" fmla="*/ 554832 h 1276349"/>
                <a:gd name="connsiteX102" fmla="*/ 0 w 783431"/>
                <a:gd name="connsiteY102" fmla="*/ 614363 h 1276349"/>
                <a:gd name="connsiteX0" fmla="*/ 0 w 783431"/>
                <a:gd name="connsiteY0" fmla="*/ 614363 h 1276349"/>
                <a:gd name="connsiteX1" fmla="*/ 21431 w 783431"/>
                <a:gd name="connsiteY1" fmla="*/ 661988 h 1276349"/>
                <a:gd name="connsiteX2" fmla="*/ 28575 w 783431"/>
                <a:gd name="connsiteY2" fmla="*/ 742950 h 1276349"/>
                <a:gd name="connsiteX3" fmla="*/ 76200 w 783431"/>
                <a:gd name="connsiteY3" fmla="*/ 814388 h 1276349"/>
                <a:gd name="connsiteX4" fmla="*/ 102394 w 783431"/>
                <a:gd name="connsiteY4" fmla="*/ 919163 h 1276349"/>
                <a:gd name="connsiteX5" fmla="*/ 116681 w 783431"/>
                <a:gd name="connsiteY5" fmla="*/ 947738 h 1276349"/>
                <a:gd name="connsiteX6" fmla="*/ 130969 w 783431"/>
                <a:gd name="connsiteY6" fmla="*/ 995363 h 1276349"/>
                <a:gd name="connsiteX7" fmla="*/ 150019 w 783431"/>
                <a:gd name="connsiteY7" fmla="*/ 1023938 h 1276349"/>
                <a:gd name="connsiteX8" fmla="*/ 159544 w 783431"/>
                <a:gd name="connsiteY8" fmla="*/ 1042988 h 1276349"/>
                <a:gd name="connsiteX9" fmla="*/ 197644 w 783431"/>
                <a:gd name="connsiteY9" fmla="*/ 1069182 h 1276349"/>
                <a:gd name="connsiteX10" fmla="*/ 245269 w 783431"/>
                <a:gd name="connsiteY10" fmla="*/ 1090613 h 1276349"/>
                <a:gd name="connsiteX11" fmla="*/ 264318 w 783431"/>
                <a:gd name="connsiteY11" fmla="*/ 1131094 h 1276349"/>
                <a:gd name="connsiteX12" fmla="*/ 295275 w 783431"/>
                <a:gd name="connsiteY12" fmla="*/ 1164431 h 1276349"/>
                <a:gd name="connsiteX13" fmla="*/ 385762 w 783431"/>
                <a:gd name="connsiteY13" fmla="*/ 1200149 h 1276349"/>
                <a:gd name="connsiteX14" fmla="*/ 404812 w 783431"/>
                <a:gd name="connsiteY14" fmla="*/ 1276349 h 1276349"/>
                <a:gd name="connsiteX15" fmla="*/ 416720 w 783431"/>
                <a:gd name="connsiteY15" fmla="*/ 1212055 h 1276349"/>
                <a:gd name="connsiteX16" fmla="*/ 469106 w 783431"/>
                <a:gd name="connsiteY16" fmla="*/ 1181100 h 1276349"/>
                <a:gd name="connsiteX17" fmla="*/ 554831 w 783431"/>
                <a:gd name="connsiteY17" fmla="*/ 1202531 h 1276349"/>
                <a:gd name="connsiteX18" fmla="*/ 592931 w 783431"/>
                <a:gd name="connsiteY18" fmla="*/ 1126331 h 1276349"/>
                <a:gd name="connsiteX19" fmla="*/ 604837 w 783431"/>
                <a:gd name="connsiteY19" fmla="*/ 1085850 h 1276349"/>
                <a:gd name="connsiteX20" fmla="*/ 585787 w 783431"/>
                <a:gd name="connsiteY20" fmla="*/ 1035844 h 1276349"/>
                <a:gd name="connsiteX21" fmla="*/ 607219 w 783431"/>
                <a:gd name="connsiteY21" fmla="*/ 1021557 h 1276349"/>
                <a:gd name="connsiteX22" fmla="*/ 645319 w 783431"/>
                <a:gd name="connsiteY22" fmla="*/ 1016794 h 1276349"/>
                <a:gd name="connsiteX23" fmla="*/ 685800 w 783431"/>
                <a:gd name="connsiteY23" fmla="*/ 997744 h 1276349"/>
                <a:gd name="connsiteX24" fmla="*/ 716756 w 783431"/>
                <a:gd name="connsiteY24" fmla="*/ 1002507 h 1276349"/>
                <a:gd name="connsiteX25" fmla="*/ 738187 w 783431"/>
                <a:gd name="connsiteY25" fmla="*/ 969169 h 1276349"/>
                <a:gd name="connsiteX26" fmla="*/ 783431 w 783431"/>
                <a:gd name="connsiteY26" fmla="*/ 933450 h 1276349"/>
                <a:gd name="connsiteX27" fmla="*/ 776287 w 783431"/>
                <a:gd name="connsiteY27" fmla="*/ 907257 h 1276349"/>
                <a:gd name="connsiteX28" fmla="*/ 752475 w 783431"/>
                <a:gd name="connsiteY28" fmla="*/ 888207 h 1276349"/>
                <a:gd name="connsiteX29" fmla="*/ 752475 w 783431"/>
                <a:gd name="connsiteY29" fmla="*/ 864394 h 1276349"/>
                <a:gd name="connsiteX30" fmla="*/ 728662 w 783431"/>
                <a:gd name="connsiteY30" fmla="*/ 852488 h 1276349"/>
                <a:gd name="connsiteX31" fmla="*/ 711994 w 783431"/>
                <a:gd name="connsiteY31" fmla="*/ 802482 h 1276349"/>
                <a:gd name="connsiteX32" fmla="*/ 688181 w 783431"/>
                <a:gd name="connsiteY32" fmla="*/ 814388 h 1276349"/>
                <a:gd name="connsiteX33" fmla="*/ 659606 w 783431"/>
                <a:gd name="connsiteY33" fmla="*/ 814388 h 1276349"/>
                <a:gd name="connsiteX34" fmla="*/ 647700 w 783431"/>
                <a:gd name="connsiteY34" fmla="*/ 847725 h 1276349"/>
                <a:gd name="connsiteX35" fmla="*/ 623887 w 783431"/>
                <a:gd name="connsiteY35" fmla="*/ 847725 h 1276349"/>
                <a:gd name="connsiteX36" fmla="*/ 576262 w 783431"/>
                <a:gd name="connsiteY36" fmla="*/ 828675 h 1276349"/>
                <a:gd name="connsiteX37" fmla="*/ 554831 w 783431"/>
                <a:gd name="connsiteY37" fmla="*/ 816769 h 1276349"/>
                <a:gd name="connsiteX38" fmla="*/ 547687 w 783431"/>
                <a:gd name="connsiteY38" fmla="*/ 783432 h 1276349"/>
                <a:gd name="connsiteX39" fmla="*/ 561975 w 783431"/>
                <a:gd name="connsiteY39" fmla="*/ 754857 h 1276349"/>
                <a:gd name="connsiteX40" fmla="*/ 533400 w 783431"/>
                <a:gd name="connsiteY40" fmla="*/ 733425 h 1276349"/>
                <a:gd name="connsiteX41" fmla="*/ 509587 w 783431"/>
                <a:gd name="connsiteY41" fmla="*/ 711994 h 1276349"/>
                <a:gd name="connsiteX42" fmla="*/ 473869 w 783431"/>
                <a:gd name="connsiteY42" fmla="*/ 711994 h 1276349"/>
                <a:gd name="connsiteX43" fmla="*/ 435769 w 783431"/>
                <a:gd name="connsiteY43" fmla="*/ 711994 h 1276349"/>
                <a:gd name="connsiteX44" fmla="*/ 438150 w 783431"/>
                <a:gd name="connsiteY44" fmla="*/ 669132 h 1276349"/>
                <a:gd name="connsiteX45" fmla="*/ 428625 w 783431"/>
                <a:gd name="connsiteY45" fmla="*/ 642938 h 1276349"/>
                <a:gd name="connsiteX46" fmla="*/ 423862 w 783431"/>
                <a:gd name="connsiteY46" fmla="*/ 607219 h 1276349"/>
                <a:gd name="connsiteX47" fmla="*/ 426244 w 783431"/>
                <a:gd name="connsiteY47" fmla="*/ 578644 h 1276349"/>
                <a:gd name="connsiteX48" fmla="*/ 440531 w 783431"/>
                <a:gd name="connsiteY48" fmla="*/ 566738 h 1276349"/>
                <a:gd name="connsiteX49" fmla="*/ 450056 w 783431"/>
                <a:gd name="connsiteY49" fmla="*/ 535782 h 1276349"/>
                <a:gd name="connsiteX50" fmla="*/ 457200 w 783431"/>
                <a:gd name="connsiteY50" fmla="*/ 519113 h 1276349"/>
                <a:gd name="connsiteX51" fmla="*/ 481012 w 783431"/>
                <a:gd name="connsiteY51" fmla="*/ 526257 h 1276349"/>
                <a:gd name="connsiteX52" fmla="*/ 495300 w 783431"/>
                <a:gd name="connsiteY52" fmla="*/ 576263 h 1276349"/>
                <a:gd name="connsiteX53" fmla="*/ 507206 w 783431"/>
                <a:gd name="connsiteY53" fmla="*/ 581025 h 1276349"/>
                <a:gd name="connsiteX54" fmla="*/ 526256 w 783431"/>
                <a:gd name="connsiteY54" fmla="*/ 583407 h 1276349"/>
                <a:gd name="connsiteX55" fmla="*/ 554831 w 783431"/>
                <a:gd name="connsiteY55" fmla="*/ 583407 h 1276349"/>
                <a:gd name="connsiteX56" fmla="*/ 557212 w 783431"/>
                <a:gd name="connsiteY56" fmla="*/ 547688 h 1276349"/>
                <a:gd name="connsiteX57" fmla="*/ 545306 w 783431"/>
                <a:gd name="connsiteY57" fmla="*/ 502444 h 1276349"/>
                <a:gd name="connsiteX58" fmla="*/ 545306 w 783431"/>
                <a:gd name="connsiteY58" fmla="*/ 476250 h 1276349"/>
                <a:gd name="connsiteX59" fmla="*/ 581025 w 783431"/>
                <a:gd name="connsiteY59" fmla="*/ 454819 h 1276349"/>
                <a:gd name="connsiteX60" fmla="*/ 604837 w 783431"/>
                <a:gd name="connsiteY60" fmla="*/ 435769 h 1276349"/>
                <a:gd name="connsiteX61" fmla="*/ 640556 w 783431"/>
                <a:gd name="connsiteY61" fmla="*/ 414338 h 1276349"/>
                <a:gd name="connsiteX62" fmla="*/ 645319 w 783431"/>
                <a:gd name="connsiteY62" fmla="*/ 395288 h 1276349"/>
                <a:gd name="connsiteX63" fmla="*/ 633412 w 783431"/>
                <a:gd name="connsiteY63" fmla="*/ 371475 h 1276349"/>
                <a:gd name="connsiteX64" fmla="*/ 614362 w 783431"/>
                <a:gd name="connsiteY64" fmla="*/ 369094 h 1276349"/>
                <a:gd name="connsiteX65" fmla="*/ 609600 w 783431"/>
                <a:gd name="connsiteY65" fmla="*/ 366713 h 1276349"/>
                <a:gd name="connsiteX66" fmla="*/ 597694 w 783431"/>
                <a:gd name="connsiteY66" fmla="*/ 357188 h 1276349"/>
                <a:gd name="connsiteX67" fmla="*/ 611981 w 783431"/>
                <a:gd name="connsiteY67" fmla="*/ 345282 h 1276349"/>
                <a:gd name="connsiteX68" fmla="*/ 652462 w 783431"/>
                <a:gd name="connsiteY68" fmla="*/ 316707 h 1276349"/>
                <a:gd name="connsiteX69" fmla="*/ 678656 w 783431"/>
                <a:gd name="connsiteY69" fmla="*/ 264319 h 1276349"/>
                <a:gd name="connsiteX70" fmla="*/ 666750 w 783431"/>
                <a:gd name="connsiteY70" fmla="*/ 242888 h 1276349"/>
                <a:gd name="connsiteX71" fmla="*/ 638175 w 783431"/>
                <a:gd name="connsiteY71" fmla="*/ 219075 h 1276349"/>
                <a:gd name="connsiteX72" fmla="*/ 642937 w 783431"/>
                <a:gd name="connsiteY72" fmla="*/ 180975 h 1276349"/>
                <a:gd name="connsiteX73" fmla="*/ 673894 w 783431"/>
                <a:gd name="connsiteY73" fmla="*/ 171450 h 1276349"/>
                <a:gd name="connsiteX74" fmla="*/ 700087 w 783431"/>
                <a:gd name="connsiteY74" fmla="*/ 142875 h 1276349"/>
                <a:gd name="connsiteX75" fmla="*/ 700087 w 783431"/>
                <a:gd name="connsiteY75" fmla="*/ 111919 h 1276349"/>
                <a:gd name="connsiteX76" fmla="*/ 666750 w 783431"/>
                <a:gd name="connsiteY76" fmla="*/ 107157 h 1276349"/>
                <a:gd name="connsiteX77" fmla="*/ 645319 w 783431"/>
                <a:gd name="connsiteY77" fmla="*/ 102394 h 1276349"/>
                <a:gd name="connsiteX78" fmla="*/ 645319 w 783431"/>
                <a:gd name="connsiteY78" fmla="*/ 102394 h 1276349"/>
                <a:gd name="connsiteX79" fmla="*/ 678656 w 783431"/>
                <a:gd name="connsiteY79" fmla="*/ 69057 h 1276349"/>
                <a:gd name="connsiteX80" fmla="*/ 685800 w 783431"/>
                <a:gd name="connsiteY80" fmla="*/ 40482 h 1276349"/>
                <a:gd name="connsiteX81" fmla="*/ 678656 w 783431"/>
                <a:gd name="connsiteY81" fmla="*/ 21432 h 1276349"/>
                <a:gd name="connsiteX82" fmla="*/ 695325 w 783431"/>
                <a:gd name="connsiteY82" fmla="*/ 2382 h 1276349"/>
                <a:gd name="connsiteX83" fmla="*/ 628650 w 783431"/>
                <a:gd name="connsiteY83" fmla="*/ 0 h 1276349"/>
                <a:gd name="connsiteX84" fmla="*/ 552450 w 783431"/>
                <a:gd name="connsiteY84" fmla="*/ 52388 h 1276349"/>
                <a:gd name="connsiteX85" fmla="*/ 538162 w 783431"/>
                <a:gd name="connsiteY85" fmla="*/ 90488 h 1276349"/>
                <a:gd name="connsiteX86" fmla="*/ 445294 w 783431"/>
                <a:gd name="connsiteY86" fmla="*/ 126207 h 1276349"/>
                <a:gd name="connsiteX87" fmla="*/ 397669 w 783431"/>
                <a:gd name="connsiteY87" fmla="*/ 159544 h 1276349"/>
                <a:gd name="connsiteX88" fmla="*/ 376237 w 783431"/>
                <a:gd name="connsiteY88" fmla="*/ 190500 h 1276349"/>
                <a:gd name="connsiteX89" fmla="*/ 350044 w 783431"/>
                <a:gd name="connsiteY89" fmla="*/ 140494 h 1276349"/>
                <a:gd name="connsiteX90" fmla="*/ 316706 w 783431"/>
                <a:gd name="connsiteY90" fmla="*/ 140494 h 1276349"/>
                <a:gd name="connsiteX91" fmla="*/ 304800 w 783431"/>
                <a:gd name="connsiteY91" fmla="*/ 166688 h 1276349"/>
                <a:gd name="connsiteX92" fmla="*/ 280987 w 783431"/>
                <a:gd name="connsiteY92" fmla="*/ 230982 h 1276349"/>
                <a:gd name="connsiteX93" fmla="*/ 154781 w 783431"/>
                <a:gd name="connsiteY93" fmla="*/ 223838 h 1276349"/>
                <a:gd name="connsiteX94" fmla="*/ 140494 w 783431"/>
                <a:gd name="connsiteY94" fmla="*/ 245269 h 1276349"/>
                <a:gd name="connsiteX95" fmla="*/ 138112 w 783431"/>
                <a:gd name="connsiteY95" fmla="*/ 280988 h 1276349"/>
                <a:gd name="connsiteX96" fmla="*/ 66675 w 783431"/>
                <a:gd name="connsiteY96" fmla="*/ 309563 h 1276349"/>
                <a:gd name="connsiteX97" fmla="*/ 54769 w 783431"/>
                <a:gd name="connsiteY97" fmla="*/ 323850 h 1276349"/>
                <a:gd name="connsiteX98" fmla="*/ 66675 w 783431"/>
                <a:gd name="connsiteY98" fmla="*/ 381000 h 1276349"/>
                <a:gd name="connsiteX99" fmla="*/ 19050 w 783431"/>
                <a:gd name="connsiteY99" fmla="*/ 423863 h 1276349"/>
                <a:gd name="connsiteX100" fmla="*/ 26194 w 783431"/>
                <a:gd name="connsiteY100" fmla="*/ 490538 h 1276349"/>
                <a:gd name="connsiteX101" fmla="*/ 33337 w 783431"/>
                <a:gd name="connsiteY101" fmla="*/ 554832 h 1276349"/>
                <a:gd name="connsiteX102" fmla="*/ 0 w 783431"/>
                <a:gd name="connsiteY102" fmla="*/ 614363 h 1276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783431" h="1276349">
                  <a:moveTo>
                    <a:pt x="0" y="614363"/>
                  </a:moveTo>
                  <a:lnTo>
                    <a:pt x="21431" y="661988"/>
                  </a:lnTo>
                  <a:lnTo>
                    <a:pt x="28575" y="742950"/>
                  </a:lnTo>
                  <a:lnTo>
                    <a:pt x="76200" y="814388"/>
                  </a:lnTo>
                  <a:lnTo>
                    <a:pt x="102394" y="919163"/>
                  </a:lnTo>
                  <a:lnTo>
                    <a:pt x="116681" y="947738"/>
                  </a:lnTo>
                  <a:lnTo>
                    <a:pt x="130969" y="995363"/>
                  </a:lnTo>
                  <a:lnTo>
                    <a:pt x="150019" y="1023938"/>
                  </a:lnTo>
                  <a:lnTo>
                    <a:pt x="159544" y="1042988"/>
                  </a:lnTo>
                  <a:lnTo>
                    <a:pt x="197644" y="1069182"/>
                  </a:lnTo>
                  <a:lnTo>
                    <a:pt x="245269" y="1090613"/>
                  </a:lnTo>
                  <a:lnTo>
                    <a:pt x="264318" y="1131094"/>
                  </a:lnTo>
                  <a:lnTo>
                    <a:pt x="295275" y="1164431"/>
                  </a:lnTo>
                  <a:lnTo>
                    <a:pt x="385762" y="1200149"/>
                  </a:lnTo>
                  <a:lnTo>
                    <a:pt x="404812" y="1276349"/>
                  </a:lnTo>
                  <a:lnTo>
                    <a:pt x="416720" y="1212055"/>
                  </a:lnTo>
                  <a:lnTo>
                    <a:pt x="469106" y="1181100"/>
                  </a:lnTo>
                  <a:lnTo>
                    <a:pt x="554831" y="1202531"/>
                  </a:lnTo>
                  <a:lnTo>
                    <a:pt x="592931" y="1126331"/>
                  </a:lnTo>
                  <a:lnTo>
                    <a:pt x="604837" y="1085850"/>
                  </a:lnTo>
                  <a:lnTo>
                    <a:pt x="585787" y="1035844"/>
                  </a:lnTo>
                  <a:lnTo>
                    <a:pt x="607219" y="1021557"/>
                  </a:lnTo>
                  <a:lnTo>
                    <a:pt x="645319" y="1016794"/>
                  </a:lnTo>
                  <a:lnTo>
                    <a:pt x="685800" y="997744"/>
                  </a:lnTo>
                  <a:lnTo>
                    <a:pt x="716756" y="1002507"/>
                  </a:lnTo>
                  <a:lnTo>
                    <a:pt x="738187" y="969169"/>
                  </a:lnTo>
                  <a:lnTo>
                    <a:pt x="783431" y="933450"/>
                  </a:lnTo>
                  <a:lnTo>
                    <a:pt x="776287" y="907257"/>
                  </a:lnTo>
                  <a:lnTo>
                    <a:pt x="752475" y="888207"/>
                  </a:lnTo>
                  <a:lnTo>
                    <a:pt x="752475" y="864394"/>
                  </a:lnTo>
                  <a:lnTo>
                    <a:pt x="728662" y="852488"/>
                  </a:lnTo>
                  <a:lnTo>
                    <a:pt x="711994" y="802482"/>
                  </a:lnTo>
                  <a:lnTo>
                    <a:pt x="688181" y="814388"/>
                  </a:lnTo>
                  <a:lnTo>
                    <a:pt x="659606" y="814388"/>
                  </a:lnTo>
                  <a:lnTo>
                    <a:pt x="647700" y="847725"/>
                  </a:lnTo>
                  <a:lnTo>
                    <a:pt x="623887" y="847725"/>
                  </a:lnTo>
                  <a:lnTo>
                    <a:pt x="576262" y="828675"/>
                  </a:lnTo>
                  <a:lnTo>
                    <a:pt x="554831" y="816769"/>
                  </a:lnTo>
                  <a:lnTo>
                    <a:pt x="547687" y="783432"/>
                  </a:lnTo>
                  <a:lnTo>
                    <a:pt x="561975" y="754857"/>
                  </a:lnTo>
                  <a:lnTo>
                    <a:pt x="533400" y="733425"/>
                  </a:lnTo>
                  <a:lnTo>
                    <a:pt x="509587" y="711994"/>
                  </a:lnTo>
                  <a:lnTo>
                    <a:pt x="473869" y="711994"/>
                  </a:lnTo>
                  <a:lnTo>
                    <a:pt x="435769" y="711994"/>
                  </a:lnTo>
                  <a:lnTo>
                    <a:pt x="438150" y="669132"/>
                  </a:lnTo>
                  <a:lnTo>
                    <a:pt x="428625" y="642938"/>
                  </a:lnTo>
                  <a:lnTo>
                    <a:pt x="423862" y="607219"/>
                  </a:lnTo>
                  <a:lnTo>
                    <a:pt x="426244" y="578644"/>
                  </a:lnTo>
                  <a:lnTo>
                    <a:pt x="440531" y="566738"/>
                  </a:lnTo>
                  <a:lnTo>
                    <a:pt x="450056" y="535782"/>
                  </a:lnTo>
                  <a:lnTo>
                    <a:pt x="457200" y="519113"/>
                  </a:lnTo>
                  <a:lnTo>
                    <a:pt x="481012" y="526257"/>
                  </a:lnTo>
                  <a:lnTo>
                    <a:pt x="495300" y="576263"/>
                  </a:lnTo>
                  <a:lnTo>
                    <a:pt x="507206" y="581025"/>
                  </a:lnTo>
                  <a:lnTo>
                    <a:pt x="526256" y="583407"/>
                  </a:lnTo>
                  <a:lnTo>
                    <a:pt x="554831" y="583407"/>
                  </a:lnTo>
                  <a:lnTo>
                    <a:pt x="557212" y="547688"/>
                  </a:lnTo>
                  <a:lnTo>
                    <a:pt x="545306" y="502444"/>
                  </a:lnTo>
                  <a:lnTo>
                    <a:pt x="545306" y="476250"/>
                  </a:lnTo>
                  <a:lnTo>
                    <a:pt x="581025" y="454819"/>
                  </a:lnTo>
                  <a:lnTo>
                    <a:pt x="604837" y="435769"/>
                  </a:lnTo>
                  <a:lnTo>
                    <a:pt x="640556" y="414338"/>
                  </a:lnTo>
                  <a:lnTo>
                    <a:pt x="645319" y="395288"/>
                  </a:lnTo>
                  <a:lnTo>
                    <a:pt x="633412" y="371475"/>
                  </a:lnTo>
                  <a:lnTo>
                    <a:pt x="614362" y="369094"/>
                  </a:lnTo>
                  <a:lnTo>
                    <a:pt x="609600" y="366713"/>
                  </a:lnTo>
                  <a:lnTo>
                    <a:pt x="597694" y="357188"/>
                  </a:lnTo>
                  <a:lnTo>
                    <a:pt x="611981" y="345282"/>
                  </a:lnTo>
                  <a:lnTo>
                    <a:pt x="652462" y="316707"/>
                  </a:lnTo>
                  <a:lnTo>
                    <a:pt x="678656" y="264319"/>
                  </a:lnTo>
                  <a:lnTo>
                    <a:pt x="666750" y="242888"/>
                  </a:lnTo>
                  <a:lnTo>
                    <a:pt x="638175" y="219075"/>
                  </a:lnTo>
                  <a:lnTo>
                    <a:pt x="642937" y="180975"/>
                  </a:lnTo>
                  <a:lnTo>
                    <a:pt x="673894" y="171450"/>
                  </a:lnTo>
                  <a:lnTo>
                    <a:pt x="700087" y="142875"/>
                  </a:lnTo>
                  <a:lnTo>
                    <a:pt x="700087" y="111919"/>
                  </a:lnTo>
                  <a:lnTo>
                    <a:pt x="666750" y="107157"/>
                  </a:lnTo>
                  <a:lnTo>
                    <a:pt x="645319" y="102394"/>
                  </a:lnTo>
                  <a:lnTo>
                    <a:pt x="645319" y="102394"/>
                  </a:lnTo>
                  <a:lnTo>
                    <a:pt x="678656" y="69057"/>
                  </a:lnTo>
                  <a:lnTo>
                    <a:pt x="685800" y="40482"/>
                  </a:lnTo>
                  <a:lnTo>
                    <a:pt x="678656" y="21432"/>
                  </a:lnTo>
                  <a:lnTo>
                    <a:pt x="695325" y="2382"/>
                  </a:lnTo>
                  <a:lnTo>
                    <a:pt x="628650" y="0"/>
                  </a:lnTo>
                  <a:lnTo>
                    <a:pt x="552450" y="52388"/>
                  </a:lnTo>
                  <a:lnTo>
                    <a:pt x="538162" y="90488"/>
                  </a:lnTo>
                  <a:lnTo>
                    <a:pt x="445294" y="126207"/>
                  </a:lnTo>
                  <a:lnTo>
                    <a:pt x="397669" y="159544"/>
                  </a:lnTo>
                  <a:lnTo>
                    <a:pt x="376237" y="190500"/>
                  </a:lnTo>
                  <a:lnTo>
                    <a:pt x="350044" y="140494"/>
                  </a:lnTo>
                  <a:lnTo>
                    <a:pt x="316706" y="140494"/>
                  </a:lnTo>
                  <a:lnTo>
                    <a:pt x="304800" y="166688"/>
                  </a:lnTo>
                  <a:lnTo>
                    <a:pt x="280987" y="230982"/>
                  </a:lnTo>
                  <a:lnTo>
                    <a:pt x="154781" y="223838"/>
                  </a:lnTo>
                  <a:lnTo>
                    <a:pt x="140494" y="245269"/>
                  </a:lnTo>
                  <a:lnTo>
                    <a:pt x="138112" y="280988"/>
                  </a:lnTo>
                  <a:lnTo>
                    <a:pt x="66675" y="309563"/>
                  </a:lnTo>
                  <a:lnTo>
                    <a:pt x="54769" y="323850"/>
                  </a:lnTo>
                  <a:lnTo>
                    <a:pt x="66675" y="381000"/>
                  </a:lnTo>
                  <a:lnTo>
                    <a:pt x="19050" y="423863"/>
                  </a:lnTo>
                  <a:lnTo>
                    <a:pt x="26194" y="490538"/>
                  </a:lnTo>
                  <a:lnTo>
                    <a:pt x="33337" y="554832"/>
                  </a:lnTo>
                  <a:lnTo>
                    <a:pt x="0" y="614363"/>
                  </a:lnTo>
                  <a:close/>
                </a:path>
              </a:pathLst>
            </a:custGeom>
            <a:solidFill>
              <a:schemeClr val="bg1"/>
            </a:solidFill>
            <a:ln w="317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a:lstStyle/>
            <a:p>
              <a:pPr>
                <a:defRPr/>
              </a:pPr>
              <a:endParaRPr lang="en-GB"/>
            </a:p>
          </p:txBody>
        </p:sp>
        <p:sp>
          <p:nvSpPr>
            <p:cNvPr id="51" name="Freeform 50"/>
            <p:cNvSpPr/>
            <p:nvPr/>
          </p:nvSpPr>
          <p:spPr>
            <a:xfrm>
              <a:off x="3737372" y="5169446"/>
              <a:ext cx="395288" cy="900113"/>
            </a:xfrm>
            <a:custGeom>
              <a:avLst/>
              <a:gdLst>
                <a:gd name="connsiteX0" fmla="*/ 0 w 395287"/>
                <a:gd name="connsiteY0" fmla="*/ 0 h 900113"/>
                <a:gd name="connsiteX1" fmla="*/ 0 w 395287"/>
                <a:gd name="connsiteY1" fmla="*/ 107157 h 900113"/>
                <a:gd name="connsiteX2" fmla="*/ 9525 w 395287"/>
                <a:gd name="connsiteY2" fmla="*/ 135732 h 900113"/>
                <a:gd name="connsiteX3" fmla="*/ 9525 w 395287"/>
                <a:gd name="connsiteY3" fmla="*/ 171450 h 900113"/>
                <a:gd name="connsiteX4" fmla="*/ 54768 w 395287"/>
                <a:gd name="connsiteY4" fmla="*/ 226219 h 900113"/>
                <a:gd name="connsiteX5" fmla="*/ 73818 w 395287"/>
                <a:gd name="connsiteY5" fmla="*/ 247650 h 900113"/>
                <a:gd name="connsiteX6" fmla="*/ 100012 w 395287"/>
                <a:gd name="connsiteY6" fmla="*/ 302419 h 900113"/>
                <a:gd name="connsiteX7" fmla="*/ 97631 w 395287"/>
                <a:gd name="connsiteY7" fmla="*/ 357188 h 900113"/>
                <a:gd name="connsiteX8" fmla="*/ 152400 w 395287"/>
                <a:gd name="connsiteY8" fmla="*/ 423863 h 900113"/>
                <a:gd name="connsiteX9" fmla="*/ 176212 w 395287"/>
                <a:gd name="connsiteY9" fmla="*/ 600075 h 900113"/>
                <a:gd name="connsiteX10" fmla="*/ 185737 w 395287"/>
                <a:gd name="connsiteY10" fmla="*/ 633413 h 900113"/>
                <a:gd name="connsiteX11" fmla="*/ 200025 w 395287"/>
                <a:gd name="connsiteY11" fmla="*/ 726282 h 900113"/>
                <a:gd name="connsiteX12" fmla="*/ 350043 w 395287"/>
                <a:gd name="connsiteY12" fmla="*/ 895350 h 900113"/>
                <a:gd name="connsiteX13" fmla="*/ 361950 w 395287"/>
                <a:gd name="connsiteY13" fmla="*/ 900113 h 900113"/>
                <a:gd name="connsiteX14" fmla="*/ 381000 w 395287"/>
                <a:gd name="connsiteY14" fmla="*/ 838200 h 900113"/>
                <a:gd name="connsiteX15" fmla="*/ 373856 w 395287"/>
                <a:gd name="connsiteY15" fmla="*/ 823913 h 900113"/>
                <a:gd name="connsiteX16" fmla="*/ 369093 w 395287"/>
                <a:gd name="connsiteY16" fmla="*/ 754857 h 900113"/>
                <a:gd name="connsiteX17" fmla="*/ 390525 w 395287"/>
                <a:gd name="connsiteY17" fmla="*/ 731044 h 900113"/>
                <a:gd name="connsiteX18" fmla="*/ 395287 w 395287"/>
                <a:gd name="connsiteY18" fmla="*/ 688182 h 900113"/>
                <a:gd name="connsiteX19" fmla="*/ 366712 w 395287"/>
                <a:gd name="connsiteY19" fmla="*/ 647700 h 900113"/>
                <a:gd name="connsiteX20" fmla="*/ 364331 w 395287"/>
                <a:gd name="connsiteY20" fmla="*/ 604838 h 900113"/>
                <a:gd name="connsiteX21" fmla="*/ 395287 w 395287"/>
                <a:gd name="connsiteY21" fmla="*/ 550069 h 900113"/>
                <a:gd name="connsiteX22" fmla="*/ 395287 w 395287"/>
                <a:gd name="connsiteY22" fmla="*/ 511969 h 900113"/>
                <a:gd name="connsiteX23" fmla="*/ 381000 w 395287"/>
                <a:gd name="connsiteY23" fmla="*/ 476250 h 900113"/>
                <a:gd name="connsiteX24" fmla="*/ 319087 w 395287"/>
                <a:gd name="connsiteY24" fmla="*/ 464344 h 900113"/>
                <a:gd name="connsiteX25" fmla="*/ 292893 w 395287"/>
                <a:gd name="connsiteY25" fmla="*/ 440532 h 900113"/>
                <a:gd name="connsiteX26" fmla="*/ 285750 w 395287"/>
                <a:gd name="connsiteY26" fmla="*/ 414338 h 900113"/>
                <a:gd name="connsiteX27" fmla="*/ 300037 w 395287"/>
                <a:gd name="connsiteY27" fmla="*/ 376238 h 900113"/>
                <a:gd name="connsiteX28" fmla="*/ 295275 w 395287"/>
                <a:gd name="connsiteY28" fmla="*/ 321469 h 900113"/>
                <a:gd name="connsiteX29" fmla="*/ 288131 w 395287"/>
                <a:gd name="connsiteY29" fmla="*/ 288132 h 900113"/>
                <a:gd name="connsiteX30" fmla="*/ 257175 w 395287"/>
                <a:gd name="connsiteY30" fmla="*/ 211932 h 900113"/>
                <a:gd name="connsiteX31" fmla="*/ 180975 w 395287"/>
                <a:gd name="connsiteY31" fmla="*/ 183357 h 900113"/>
                <a:gd name="connsiteX32" fmla="*/ 147637 w 395287"/>
                <a:gd name="connsiteY32" fmla="*/ 142875 h 900113"/>
                <a:gd name="connsiteX33" fmla="*/ 121443 w 395287"/>
                <a:gd name="connsiteY33" fmla="*/ 104775 h 900113"/>
                <a:gd name="connsiteX34" fmla="*/ 45243 w 395287"/>
                <a:gd name="connsiteY34" fmla="*/ 66675 h 900113"/>
                <a:gd name="connsiteX35" fmla="*/ 0 w 395287"/>
                <a:gd name="connsiteY35" fmla="*/ 0 h 900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95287" h="900113">
                  <a:moveTo>
                    <a:pt x="0" y="0"/>
                  </a:moveTo>
                  <a:lnTo>
                    <a:pt x="0" y="107157"/>
                  </a:lnTo>
                  <a:lnTo>
                    <a:pt x="9525" y="135732"/>
                  </a:lnTo>
                  <a:lnTo>
                    <a:pt x="9525" y="171450"/>
                  </a:lnTo>
                  <a:lnTo>
                    <a:pt x="54768" y="226219"/>
                  </a:lnTo>
                  <a:lnTo>
                    <a:pt x="73818" y="247650"/>
                  </a:lnTo>
                  <a:lnTo>
                    <a:pt x="100012" y="302419"/>
                  </a:lnTo>
                  <a:cubicBezTo>
                    <a:pt x="99218" y="320675"/>
                    <a:pt x="98425" y="338932"/>
                    <a:pt x="97631" y="357188"/>
                  </a:cubicBezTo>
                  <a:lnTo>
                    <a:pt x="152400" y="423863"/>
                  </a:lnTo>
                  <a:lnTo>
                    <a:pt x="176212" y="600075"/>
                  </a:lnTo>
                  <a:lnTo>
                    <a:pt x="185737" y="633413"/>
                  </a:lnTo>
                  <a:lnTo>
                    <a:pt x="200025" y="726282"/>
                  </a:lnTo>
                  <a:lnTo>
                    <a:pt x="350043" y="895350"/>
                  </a:lnTo>
                  <a:lnTo>
                    <a:pt x="361950" y="900113"/>
                  </a:lnTo>
                  <a:lnTo>
                    <a:pt x="381000" y="838200"/>
                  </a:lnTo>
                  <a:lnTo>
                    <a:pt x="373856" y="823913"/>
                  </a:lnTo>
                  <a:lnTo>
                    <a:pt x="369093" y="754857"/>
                  </a:lnTo>
                  <a:lnTo>
                    <a:pt x="390525" y="731044"/>
                  </a:lnTo>
                  <a:lnTo>
                    <a:pt x="395287" y="688182"/>
                  </a:lnTo>
                  <a:lnTo>
                    <a:pt x="366712" y="647700"/>
                  </a:lnTo>
                  <a:lnTo>
                    <a:pt x="364331" y="604838"/>
                  </a:lnTo>
                  <a:lnTo>
                    <a:pt x="395287" y="550069"/>
                  </a:lnTo>
                  <a:lnTo>
                    <a:pt x="395287" y="511969"/>
                  </a:lnTo>
                  <a:lnTo>
                    <a:pt x="381000" y="476250"/>
                  </a:lnTo>
                  <a:lnTo>
                    <a:pt x="319087" y="464344"/>
                  </a:lnTo>
                  <a:lnTo>
                    <a:pt x="292893" y="440532"/>
                  </a:lnTo>
                  <a:lnTo>
                    <a:pt x="285750" y="414338"/>
                  </a:lnTo>
                  <a:lnTo>
                    <a:pt x="300037" y="376238"/>
                  </a:lnTo>
                  <a:lnTo>
                    <a:pt x="295275" y="321469"/>
                  </a:lnTo>
                  <a:lnTo>
                    <a:pt x="288131" y="288132"/>
                  </a:lnTo>
                  <a:lnTo>
                    <a:pt x="257175" y="211932"/>
                  </a:lnTo>
                  <a:lnTo>
                    <a:pt x="180975" y="183357"/>
                  </a:lnTo>
                  <a:lnTo>
                    <a:pt x="147637" y="142875"/>
                  </a:lnTo>
                  <a:lnTo>
                    <a:pt x="121443" y="104775"/>
                  </a:lnTo>
                  <a:lnTo>
                    <a:pt x="45243" y="66675"/>
                  </a:lnTo>
                  <a:lnTo>
                    <a:pt x="0" y="0"/>
                  </a:lnTo>
                  <a:close/>
                </a:path>
              </a:pathLst>
            </a:custGeom>
            <a:solidFill>
              <a:schemeClr val="bg1"/>
            </a:solidFill>
            <a:ln w="317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a:lstStyle/>
            <a:p>
              <a:pPr>
                <a:defRPr/>
              </a:pPr>
              <a:endParaRPr lang="en-GB"/>
            </a:p>
          </p:txBody>
        </p:sp>
        <p:sp>
          <p:nvSpPr>
            <p:cNvPr id="52" name="Freeform 51"/>
            <p:cNvSpPr/>
            <p:nvPr/>
          </p:nvSpPr>
          <p:spPr>
            <a:xfrm>
              <a:off x="4023122" y="5040859"/>
              <a:ext cx="708025" cy="1054100"/>
            </a:xfrm>
            <a:custGeom>
              <a:avLst/>
              <a:gdLst>
                <a:gd name="connsiteX0" fmla="*/ 85725 w 707231"/>
                <a:gd name="connsiteY0" fmla="*/ 1033462 h 1033462"/>
                <a:gd name="connsiteX1" fmla="*/ 154781 w 707231"/>
                <a:gd name="connsiteY1" fmla="*/ 1026319 h 1033462"/>
                <a:gd name="connsiteX2" fmla="*/ 200025 w 707231"/>
                <a:gd name="connsiteY2" fmla="*/ 1012031 h 1033462"/>
                <a:gd name="connsiteX3" fmla="*/ 247650 w 707231"/>
                <a:gd name="connsiteY3" fmla="*/ 969169 h 1033462"/>
                <a:gd name="connsiteX4" fmla="*/ 276225 w 707231"/>
                <a:gd name="connsiteY4" fmla="*/ 912019 h 1033462"/>
                <a:gd name="connsiteX5" fmla="*/ 350043 w 707231"/>
                <a:gd name="connsiteY5" fmla="*/ 871537 h 1033462"/>
                <a:gd name="connsiteX6" fmla="*/ 411956 w 707231"/>
                <a:gd name="connsiteY6" fmla="*/ 823912 h 1033462"/>
                <a:gd name="connsiteX7" fmla="*/ 411956 w 707231"/>
                <a:gd name="connsiteY7" fmla="*/ 781050 h 1033462"/>
                <a:gd name="connsiteX8" fmla="*/ 471487 w 707231"/>
                <a:gd name="connsiteY8" fmla="*/ 671512 h 1033462"/>
                <a:gd name="connsiteX9" fmla="*/ 547687 w 707231"/>
                <a:gd name="connsiteY9" fmla="*/ 642937 h 1033462"/>
                <a:gd name="connsiteX10" fmla="*/ 595312 w 707231"/>
                <a:gd name="connsiteY10" fmla="*/ 592931 h 1033462"/>
                <a:gd name="connsiteX11" fmla="*/ 597693 w 707231"/>
                <a:gd name="connsiteY11" fmla="*/ 438150 h 1033462"/>
                <a:gd name="connsiteX12" fmla="*/ 604837 w 707231"/>
                <a:gd name="connsiteY12" fmla="*/ 350044 h 1033462"/>
                <a:gd name="connsiteX13" fmla="*/ 614362 w 707231"/>
                <a:gd name="connsiteY13" fmla="*/ 295275 h 1033462"/>
                <a:gd name="connsiteX14" fmla="*/ 671512 w 707231"/>
                <a:gd name="connsiteY14" fmla="*/ 219075 h 1033462"/>
                <a:gd name="connsiteX15" fmla="*/ 707231 w 707231"/>
                <a:gd name="connsiteY15" fmla="*/ 147637 h 1033462"/>
                <a:gd name="connsiteX16" fmla="*/ 697706 w 707231"/>
                <a:gd name="connsiteY16" fmla="*/ 97631 h 1033462"/>
                <a:gd name="connsiteX17" fmla="*/ 702468 w 707231"/>
                <a:gd name="connsiteY17" fmla="*/ 35719 h 1033462"/>
                <a:gd name="connsiteX18" fmla="*/ 628650 w 707231"/>
                <a:gd name="connsiteY18" fmla="*/ 0 h 1033462"/>
                <a:gd name="connsiteX19" fmla="*/ 600075 w 707231"/>
                <a:gd name="connsiteY19" fmla="*/ 28575 h 1033462"/>
                <a:gd name="connsiteX20" fmla="*/ 597693 w 707231"/>
                <a:gd name="connsiteY20" fmla="*/ 69056 h 1033462"/>
                <a:gd name="connsiteX21" fmla="*/ 583406 w 707231"/>
                <a:gd name="connsiteY21" fmla="*/ 88106 h 1033462"/>
                <a:gd name="connsiteX22" fmla="*/ 523875 w 707231"/>
                <a:gd name="connsiteY22" fmla="*/ 95250 h 1033462"/>
                <a:gd name="connsiteX23" fmla="*/ 509587 w 707231"/>
                <a:gd name="connsiteY23" fmla="*/ 135731 h 1033462"/>
                <a:gd name="connsiteX24" fmla="*/ 478631 w 707231"/>
                <a:gd name="connsiteY24" fmla="*/ 128587 h 1033462"/>
                <a:gd name="connsiteX25" fmla="*/ 466725 w 707231"/>
                <a:gd name="connsiteY25" fmla="*/ 154781 h 1033462"/>
                <a:gd name="connsiteX26" fmla="*/ 431006 w 707231"/>
                <a:gd name="connsiteY26" fmla="*/ 147637 h 1033462"/>
                <a:gd name="connsiteX27" fmla="*/ 376237 w 707231"/>
                <a:gd name="connsiteY27" fmla="*/ 169069 h 1033462"/>
                <a:gd name="connsiteX28" fmla="*/ 319087 w 707231"/>
                <a:gd name="connsiteY28" fmla="*/ 166687 h 1033462"/>
                <a:gd name="connsiteX29" fmla="*/ 307181 w 707231"/>
                <a:gd name="connsiteY29" fmla="*/ 135731 h 1033462"/>
                <a:gd name="connsiteX30" fmla="*/ 273843 w 707231"/>
                <a:gd name="connsiteY30" fmla="*/ 147637 h 1033462"/>
                <a:gd name="connsiteX31" fmla="*/ 178593 w 707231"/>
                <a:gd name="connsiteY31" fmla="*/ 173831 h 1033462"/>
                <a:gd name="connsiteX32" fmla="*/ 188118 w 707231"/>
                <a:gd name="connsiteY32" fmla="*/ 202406 h 1033462"/>
                <a:gd name="connsiteX33" fmla="*/ 195262 w 707231"/>
                <a:gd name="connsiteY33" fmla="*/ 233362 h 1033462"/>
                <a:gd name="connsiteX34" fmla="*/ 142875 w 707231"/>
                <a:gd name="connsiteY34" fmla="*/ 338137 h 1033462"/>
                <a:gd name="connsiteX35" fmla="*/ 57150 w 707231"/>
                <a:gd name="connsiteY35" fmla="*/ 323850 h 1033462"/>
                <a:gd name="connsiteX36" fmla="*/ 11906 w 707231"/>
                <a:gd name="connsiteY36" fmla="*/ 347662 h 1033462"/>
                <a:gd name="connsiteX37" fmla="*/ 0 w 707231"/>
                <a:gd name="connsiteY37" fmla="*/ 400050 h 1033462"/>
                <a:gd name="connsiteX38" fmla="*/ 14287 w 707231"/>
                <a:gd name="connsiteY38" fmla="*/ 476250 h 1033462"/>
                <a:gd name="connsiteX39" fmla="*/ 11906 w 707231"/>
                <a:gd name="connsiteY39" fmla="*/ 519112 h 1033462"/>
                <a:gd name="connsiteX40" fmla="*/ 0 w 707231"/>
                <a:gd name="connsiteY40" fmla="*/ 550069 h 1033462"/>
                <a:gd name="connsiteX41" fmla="*/ 11906 w 707231"/>
                <a:gd name="connsiteY41" fmla="*/ 561975 h 1033462"/>
                <a:gd name="connsiteX42" fmla="*/ 30956 w 707231"/>
                <a:gd name="connsiteY42" fmla="*/ 592931 h 1033462"/>
                <a:gd name="connsiteX43" fmla="*/ 97631 w 707231"/>
                <a:gd name="connsiteY43" fmla="*/ 609600 h 1033462"/>
                <a:gd name="connsiteX44" fmla="*/ 104775 w 707231"/>
                <a:gd name="connsiteY44" fmla="*/ 676275 h 1033462"/>
                <a:gd name="connsiteX45" fmla="*/ 90487 w 707231"/>
                <a:gd name="connsiteY45" fmla="*/ 728662 h 1033462"/>
                <a:gd name="connsiteX46" fmla="*/ 80962 w 707231"/>
                <a:gd name="connsiteY46" fmla="*/ 747712 h 1033462"/>
                <a:gd name="connsiteX47" fmla="*/ 80962 w 707231"/>
                <a:gd name="connsiteY47" fmla="*/ 781050 h 1033462"/>
                <a:gd name="connsiteX48" fmla="*/ 109537 w 707231"/>
                <a:gd name="connsiteY48" fmla="*/ 819150 h 1033462"/>
                <a:gd name="connsiteX49" fmla="*/ 102393 w 707231"/>
                <a:gd name="connsiteY49" fmla="*/ 869156 h 1033462"/>
                <a:gd name="connsiteX50" fmla="*/ 83343 w 707231"/>
                <a:gd name="connsiteY50" fmla="*/ 890587 h 1033462"/>
                <a:gd name="connsiteX51" fmla="*/ 85725 w 707231"/>
                <a:gd name="connsiteY51" fmla="*/ 954881 h 1033462"/>
                <a:gd name="connsiteX52" fmla="*/ 92868 w 707231"/>
                <a:gd name="connsiteY52" fmla="*/ 966787 h 1033462"/>
                <a:gd name="connsiteX53" fmla="*/ 85725 w 707231"/>
                <a:gd name="connsiteY53" fmla="*/ 1033462 h 1033462"/>
                <a:gd name="connsiteX0" fmla="*/ 71437 w 707231"/>
                <a:gd name="connsiteY0" fmla="*/ 1031081 h 1031081"/>
                <a:gd name="connsiteX1" fmla="*/ 154781 w 707231"/>
                <a:gd name="connsiteY1" fmla="*/ 1026319 h 1031081"/>
                <a:gd name="connsiteX2" fmla="*/ 200025 w 707231"/>
                <a:gd name="connsiteY2" fmla="*/ 1012031 h 1031081"/>
                <a:gd name="connsiteX3" fmla="*/ 247650 w 707231"/>
                <a:gd name="connsiteY3" fmla="*/ 969169 h 1031081"/>
                <a:gd name="connsiteX4" fmla="*/ 276225 w 707231"/>
                <a:gd name="connsiteY4" fmla="*/ 912019 h 1031081"/>
                <a:gd name="connsiteX5" fmla="*/ 350043 w 707231"/>
                <a:gd name="connsiteY5" fmla="*/ 871537 h 1031081"/>
                <a:gd name="connsiteX6" fmla="*/ 411956 w 707231"/>
                <a:gd name="connsiteY6" fmla="*/ 823912 h 1031081"/>
                <a:gd name="connsiteX7" fmla="*/ 411956 w 707231"/>
                <a:gd name="connsiteY7" fmla="*/ 781050 h 1031081"/>
                <a:gd name="connsiteX8" fmla="*/ 471487 w 707231"/>
                <a:gd name="connsiteY8" fmla="*/ 671512 h 1031081"/>
                <a:gd name="connsiteX9" fmla="*/ 547687 w 707231"/>
                <a:gd name="connsiteY9" fmla="*/ 642937 h 1031081"/>
                <a:gd name="connsiteX10" fmla="*/ 595312 w 707231"/>
                <a:gd name="connsiteY10" fmla="*/ 592931 h 1031081"/>
                <a:gd name="connsiteX11" fmla="*/ 597693 w 707231"/>
                <a:gd name="connsiteY11" fmla="*/ 438150 h 1031081"/>
                <a:gd name="connsiteX12" fmla="*/ 604837 w 707231"/>
                <a:gd name="connsiteY12" fmla="*/ 350044 h 1031081"/>
                <a:gd name="connsiteX13" fmla="*/ 614362 w 707231"/>
                <a:gd name="connsiteY13" fmla="*/ 295275 h 1031081"/>
                <a:gd name="connsiteX14" fmla="*/ 671512 w 707231"/>
                <a:gd name="connsiteY14" fmla="*/ 219075 h 1031081"/>
                <a:gd name="connsiteX15" fmla="*/ 707231 w 707231"/>
                <a:gd name="connsiteY15" fmla="*/ 147637 h 1031081"/>
                <a:gd name="connsiteX16" fmla="*/ 697706 w 707231"/>
                <a:gd name="connsiteY16" fmla="*/ 97631 h 1031081"/>
                <a:gd name="connsiteX17" fmla="*/ 702468 w 707231"/>
                <a:gd name="connsiteY17" fmla="*/ 35719 h 1031081"/>
                <a:gd name="connsiteX18" fmla="*/ 628650 w 707231"/>
                <a:gd name="connsiteY18" fmla="*/ 0 h 1031081"/>
                <a:gd name="connsiteX19" fmla="*/ 600075 w 707231"/>
                <a:gd name="connsiteY19" fmla="*/ 28575 h 1031081"/>
                <a:gd name="connsiteX20" fmla="*/ 597693 w 707231"/>
                <a:gd name="connsiteY20" fmla="*/ 69056 h 1031081"/>
                <a:gd name="connsiteX21" fmla="*/ 583406 w 707231"/>
                <a:gd name="connsiteY21" fmla="*/ 88106 h 1031081"/>
                <a:gd name="connsiteX22" fmla="*/ 523875 w 707231"/>
                <a:gd name="connsiteY22" fmla="*/ 95250 h 1031081"/>
                <a:gd name="connsiteX23" fmla="*/ 509587 w 707231"/>
                <a:gd name="connsiteY23" fmla="*/ 135731 h 1031081"/>
                <a:gd name="connsiteX24" fmla="*/ 478631 w 707231"/>
                <a:gd name="connsiteY24" fmla="*/ 128587 h 1031081"/>
                <a:gd name="connsiteX25" fmla="*/ 466725 w 707231"/>
                <a:gd name="connsiteY25" fmla="*/ 154781 h 1031081"/>
                <a:gd name="connsiteX26" fmla="*/ 431006 w 707231"/>
                <a:gd name="connsiteY26" fmla="*/ 147637 h 1031081"/>
                <a:gd name="connsiteX27" fmla="*/ 376237 w 707231"/>
                <a:gd name="connsiteY27" fmla="*/ 169069 h 1031081"/>
                <a:gd name="connsiteX28" fmla="*/ 319087 w 707231"/>
                <a:gd name="connsiteY28" fmla="*/ 166687 h 1031081"/>
                <a:gd name="connsiteX29" fmla="*/ 307181 w 707231"/>
                <a:gd name="connsiteY29" fmla="*/ 135731 h 1031081"/>
                <a:gd name="connsiteX30" fmla="*/ 273843 w 707231"/>
                <a:gd name="connsiteY30" fmla="*/ 147637 h 1031081"/>
                <a:gd name="connsiteX31" fmla="*/ 178593 w 707231"/>
                <a:gd name="connsiteY31" fmla="*/ 173831 h 1031081"/>
                <a:gd name="connsiteX32" fmla="*/ 188118 w 707231"/>
                <a:gd name="connsiteY32" fmla="*/ 202406 h 1031081"/>
                <a:gd name="connsiteX33" fmla="*/ 195262 w 707231"/>
                <a:gd name="connsiteY33" fmla="*/ 233362 h 1031081"/>
                <a:gd name="connsiteX34" fmla="*/ 142875 w 707231"/>
                <a:gd name="connsiteY34" fmla="*/ 338137 h 1031081"/>
                <a:gd name="connsiteX35" fmla="*/ 57150 w 707231"/>
                <a:gd name="connsiteY35" fmla="*/ 323850 h 1031081"/>
                <a:gd name="connsiteX36" fmla="*/ 11906 w 707231"/>
                <a:gd name="connsiteY36" fmla="*/ 347662 h 1031081"/>
                <a:gd name="connsiteX37" fmla="*/ 0 w 707231"/>
                <a:gd name="connsiteY37" fmla="*/ 400050 h 1031081"/>
                <a:gd name="connsiteX38" fmla="*/ 14287 w 707231"/>
                <a:gd name="connsiteY38" fmla="*/ 476250 h 1031081"/>
                <a:gd name="connsiteX39" fmla="*/ 11906 w 707231"/>
                <a:gd name="connsiteY39" fmla="*/ 519112 h 1031081"/>
                <a:gd name="connsiteX40" fmla="*/ 0 w 707231"/>
                <a:gd name="connsiteY40" fmla="*/ 550069 h 1031081"/>
                <a:gd name="connsiteX41" fmla="*/ 11906 w 707231"/>
                <a:gd name="connsiteY41" fmla="*/ 561975 h 1031081"/>
                <a:gd name="connsiteX42" fmla="*/ 30956 w 707231"/>
                <a:gd name="connsiteY42" fmla="*/ 592931 h 1031081"/>
                <a:gd name="connsiteX43" fmla="*/ 97631 w 707231"/>
                <a:gd name="connsiteY43" fmla="*/ 609600 h 1031081"/>
                <a:gd name="connsiteX44" fmla="*/ 104775 w 707231"/>
                <a:gd name="connsiteY44" fmla="*/ 676275 h 1031081"/>
                <a:gd name="connsiteX45" fmla="*/ 90487 w 707231"/>
                <a:gd name="connsiteY45" fmla="*/ 728662 h 1031081"/>
                <a:gd name="connsiteX46" fmla="*/ 80962 w 707231"/>
                <a:gd name="connsiteY46" fmla="*/ 747712 h 1031081"/>
                <a:gd name="connsiteX47" fmla="*/ 80962 w 707231"/>
                <a:gd name="connsiteY47" fmla="*/ 781050 h 1031081"/>
                <a:gd name="connsiteX48" fmla="*/ 109537 w 707231"/>
                <a:gd name="connsiteY48" fmla="*/ 819150 h 1031081"/>
                <a:gd name="connsiteX49" fmla="*/ 102393 w 707231"/>
                <a:gd name="connsiteY49" fmla="*/ 869156 h 1031081"/>
                <a:gd name="connsiteX50" fmla="*/ 83343 w 707231"/>
                <a:gd name="connsiteY50" fmla="*/ 890587 h 1031081"/>
                <a:gd name="connsiteX51" fmla="*/ 85725 w 707231"/>
                <a:gd name="connsiteY51" fmla="*/ 954881 h 1031081"/>
                <a:gd name="connsiteX52" fmla="*/ 92868 w 707231"/>
                <a:gd name="connsiteY52" fmla="*/ 966787 h 1031081"/>
                <a:gd name="connsiteX53" fmla="*/ 71437 w 707231"/>
                <a:gd name="connsiteY53" fmla="*/ 1031081 h 1031081"/>
                <a:gd name="connsiteX0" fmla="*/ 71437 w 707231"/>
                <a:gd name="connsiteY0" fmla="*/ 1031081 h 1031082"/>
                <a:gd name="connsiteX1" fmla="*/ 119062 w 707231"/>
                <a:gd name="connsiteY1" fmla="*/ 1031082 h 1031082"/>
                <a:gd name="connsiteX2" fmla="*/ 154781 w 707231"/>
                <a:gd name="connsiteY2" fmla="*/ 1026319 h 1031082"/>
                <a:gd name="connsiteX3" fmla="*/ 200025 w 707231"/>
                <a:gd name="connsiteY3" fmla="*/ 1012031 h 1031082"/>
                <a:gd name="connsiteX4" fmla="*/ 247650 w 707231"/>
                <a:gd name="connsiteY4" fmla="*/ 969169 h 1031082"/>
                <a:gd name="connsiteX5" fmla="*/ 276225 w 707231"/>
                <a:gd name="connsiteY5" fmla="*/ 912019 h 1031082"/>
                <a:gd name="connsiteX6" fmla="*/ 350043 w 707231"/>
                <a:gd name="connsiteY6" fmla="*/ 871537 h 1031082"/>
                <a:gd name="connsiteX7" fmla="*/ 411956 w 707231"/>
                <a:gd name="connsiteY7" fmla="*/ 823912 h 1031082"/>
                <a:gd name="connsiteX8" fmla="*/ 411956 w 707231"/>
                <a:gd name="connsiteY8" fmla="*/ 781050 h 1031082"/>
                <a:gd name="connsiteX9" fmla="*/ 471487 w 707231"/>
                <a:gd name="connsiteY9" fmla="*/ 671512 h 1031082"/>
                <a:gd name="connsiteX10" fmla="*/ 547687 w 707231"/>
                <a:gd name="connsiteY10" fmla="*/ 642937 h 1031082"/>
                <a:gd name="connsiteX11" fmla="*/ 595312 w 707231"/>
                <a:gd name="connsiteY11" fmla="*/ 592931 h 1031082"/>
                <a:gd name="connsiteX12" fmla="*/ 597693 w 707231"/>
                <a:gd name="connsiteY12" fmla="*/ 438150 h 1031082"/>
                <a:gd name="connsiteX13" fmla="*/ 604837 w 707231"/>
                <a:gd name="connsiteY13" fmla="*/ 350044 h 1031082"/>
                <a:gd name="connsiteX14" fmla="*/ 614362 w 707231"/>
                <a:gd name="connsiteY14" fmla="*/ 295275 h 1031082"/>
                <a:gd name="connsiteX15" fmla="*/ 671512 w 707231"/>
                <a:gd name="connsiteY15" fmla="*/ 219075 h 1031082"/>
                <a:gd name="connsiteX16" fmla="*/ 707231 w 707231"/>
                <a:gd name="connsiteY16" fmla="*/ 147637 h 1031082"/>
                <a:gd name="connsiteX17" fmla="*/ 697706 w 707231"/>
                <a:gd name="connsiteY17" fmla="*/ 97631 h 1031082"/>
                <a:gd name="connsiteX18" fmla="*/ 702468 w 707231"/>
                <a:gd name="connsiteY18" fmla="*/ 35719 h 1031082"/>
                <a:gd name="connsiteX19" fmla="*/ 628650 w 707231"/>
                <a:gd name="connsiteY19" fmla="*/ 0 h 1031082"/>
                <a:gd name="connsiteX20" fmla="*/ 600075 w 707231"/>
                <a:gd name="connsiteY20" fmla="*/ 28575 h 1031082"/>
                <a:gd name="connsiteX21" fmla="*/ 597693 w 707231"/>
                <a:gd name="connsiteY21" fmla="*/ 69056 h 1031082"/>
                <a:gd name="connsiteX22" fmla="*/ 583406 w 707231"/>
                <a:gd name="connsiteY22" fmla="*/ 88106 h 1031082"/>
                <a:gd name="connsiteX23" fmla="*/ 523875 w 707231"/>
                <a:gd name="connsiteY23" fmla="*/ 95250 h 1031082"/>
                <a:gd name="connsiteX24" fmla="*/ 509587 w 707231"/>
                <a:gd name="connsiteY24" fmla="*/ 135731 h 1031082"/>
                <a:gd name="connsiteX25" fmla="*/ 478631 w 707231"/>
                <a:gd name="connsiteY25" fmla="*/ 128587 h 1031082"/>
                <a:gd name="connsiteX26" fmla="*/ 466725 w 707231"/>
                <a:gd name="connsiteY26" fmla="*/ 154781 h 1031082"/>
                <a:gd name="connsiteX27" fmla="*/ 431006 w 707231"/>
                <a:gd name="connsiteY27" fmla="*/ 147637 h 1031082"/>
                <a:gd name="connsiteX28" fmla="*/ 376237 w 707231"/>
                <a:gd name="connsiteY28" fmla="*/ 169069 h 1031082"/>
                <a:gd name="connsiteX29" fmla="*/ 319087 w 707231"/>
                <a:gd name="connsiteY29" fmla="*/ 166687 h 1031082"/>
                <a:gd name="connsiteX30" fmla="*/ 307181 w 707231"/>
                <a:gd name="connsiteY30" fmla="*/ 135731 h 1031082"/>
                <a:gd name="connsiteX31" fmla="*/ 273843 w 707231"/>
                <a:gd name="connsiteY31" fmla="*/ 147637 h 1031082"/>
                <a:gd name="connsiteX32" fmla="*/ 178593 w 707231"/>
                <a:gd name="connsiteY32" fmla="*/ 173831 h 1031082"/>
                <a:gd name="connsiteX33" fmla="*/ 188118 w 707231"/>
                <a:gd name="connsiteY33" fmla="*/ 202406 h 1031082"/>
                <a:gd name="connsiteX34" fmla="*/ 195262 w 707231"/>
                <a:gd name="connsiteY34" fmla="*/ 233362 h 1031082"/>
                <a:gd name="connsiteX35" fmla="*/ 142875 w 707231"/>
                <a:gd name="connsiteY35" fmla="*/ 338137 h 1031082"/>
                <a:gd name="connsiteX36" fmla="*/ 57150 w 707231"/>
                <a:gd name="connsiteY36" fmla="*/ 323850 h 1031082"/>
                <a:gd name="connsiteX37" fmla="*/ 11906 w 707231"/>
                <a:gd name="connsiteY37" fmla="*/ 347662 h 1031082"/>
                <a:gd name="connsiteX38" fmla="*/ 0 w 707231"/>
                <a:gd name="connsiteY38" fmla="*/ 400050 h 1031082"/>
                <a:gd name="connsiteX39" fmla="*/ 14287 w 707231"/>
                <a:gd name="connsiteY39" fmla="*/ 476250 h 1031082"/>
                <a:gd name="connsiteX40" fmla="*/ 11906 w 707231"/>
                <a:gd name="connsiteY40" fmla="*/ 519112 h 1031082"/>
                <a:gd name="connsiteX41" fmla="*/ 0 w 707231"/>
                <a:gd name="connsiteY41" fmla="*/ 550069 h 1031082"/>
                <a:gd name="connsiteX42" fmla="*/ 11906 w 707231"/>
                <a:gd name="connsiteY42" fmla="*/ 561975 h 1031082"/>
                <a:gd name="connsiteX43" fmla="*/ 30956 w 707231"/>
                <a:gd name="connsiteY43" fmla="*/ 592931 h 1031082"/>
                <a:gd name="connsiteX44" fmla="*/ 97631 w 707231"/>
                <a:gd name="connsiteY44" fmla="*/ 609600 h 1031082"/>
                <a:gd name="connsiteX45" fmla="*/ 104775 w 707231"/>
                <a:gd name="connsiteY45" fmla="*/ 676275 h 1031082"/>
                <a:gd name="connsiteX46" fmla="*/ 90487 w 707231"/>
                <a:gd name="connsiteY46" fmla="*/ 728662 h 1031082"/>
                <a:gd name="connsiteX47" fmla="*/ 80962 w 707231"/>
                <a:gd name="connsiteY47" fmla="*/ 747712 h 1031082"/>
                <a:gd name="connsiteX48" fmla="*/ 80962 w 707231"/>
                <a:gd name="connsiteY48" fmla="*/ 781050 h 1031082"/>
                <a:gd name="connsiteX49" fmla="*/ 109537 w 707231"/>
                <a:gd name="connsiteY49" fmla="*/ 819150 h 1031082"/>
                <a:gd name="connsiteX50" fmla="*/ 102393 w 707231"/>
                <a:gd name="connsiteY50" fmla="*/ 869156 h 1031082"/>
                <a:gd name="connsiteX51" fmla="*/ 83343 w 707231"/>
                <a:gd name="connsiteY51" fmla="*/ 890587 h 1031082"/>
                <a:gd name="connsiteX52" fmla="*/ 85725 w 707231"/>
                <a:gd name="connsiteY52" fmla="*/ 954881 h 1031082"/>
                <a:gd name="connsiteX53" fmla="*/ 92868 w 707231"/>
                <a:gd name="connsiteY53" fmla="*/ 966787 h 1031082"/>
                <a:gd name="connsiteX54" fmla="*/ 71437 w 707231"/>
                <a:gd name="connsiteY54" fmla="*/ 1031081 h 1031082"/>
                <a:gd name="connsiteX0" fmla="*/ 71437 w 707231"/>
                <a:gd name="connsiteY0" fmla="*/ 1031081 h 1059657"/>
                <a:gd name="connsiteX1" fmla="*/ 114299 w 707231"/>
                <a:gd name="connsiteY1" fmla="*/ 1059657 h 1059657"/>
                <a:gd name="connsiteX2" fmla="*/ 154781 w 707231"/>
                <a:gd name="connsiteY2" fmla="*/ 1026319 h 1059657"/>
                <a:gd name="connsiteX3" fmla="*/ 200025 w 707231"/>
                <a:gd name="connsiteY3" fmla="*/ 1012031 h 1059657"/>
                <a:gd name="connsiteX4" fmla="*/ 247650 w 707231"/>
                <a:gd name="connsiteY4" fmla="*/ 969169 h 1059657"/>
                <a:gd name="connsiteX5" fmla="*/ 276225 w 707231"/>
                <a:gd name="connsiteY5" fmla="*/ 912019 h 1059657"/>
                <a:gd name="connsiteX6" fmla="*/ 350043 w 707231"/>
                <a:gd name="connsiteY6" fmla="*/ 871537 h 1059657"/>
                <a:gd name="connsiteX7" fmla="*/ 411956 w 707231"/>
                <a:gd name="connsiteY7" fmla="*/ 823912 h 1059657"/>
                <a:gd name="connsiteX8" fmla="*/ 411956 w 707231"/>
                <a:gd name="connsiteY8" fmla="*/ 781050 h 1059657"/>
                <a:gd name="connsiteX9" fmla="*/ 471487 w 707231"/>
                <a:gd name="connsiteY9" fmla="*/ 671512 h 1059657"/>
                <a:gd name="connsiteX10" fmla="*/ 547687 w 707231"/>
                <a:gd name="connsiteY10" fmla="*/ 642937 h 1059657"/>
                <a:gd name="connsiteX11" fmla="*/ 595312 w 707231"/>
                <a:gd name="connsiteY11" fmla="*/ 592931 h 1059657"/>
                <a:gd name="connsiteX12" fmla="*/ 597693 w 707231"/>
                <a:gd name="connsiteY12" fmla="*/ 438150 h 1059657"/>
                <a:gd name="connsiteX13" fmla="*/ 604837 w 707231"/>
                <a:gd name="connsiteY13" fmla="*/ 350044 h 1059657"/>
                <a:gd name="connsiteX14" fmla="*/ 614362 w 707231"/>
                <a:gd name="connsiteY14" fmla="*/ 295275 h 1059657"/>
                <a:gd name="connsiteX15" fmla="*/ 671512 w 707231"/>
                <a:gd name="connsiteY15" fmla="*/ 219075 h 1059657"/>
                <a:gd name="connsiteX16" fmla="*/ 707231 w 707231"/>
                <a:gd name="connsiteY16" fmla="*/ 147637 h 1059657"/>
                <a:gd name="connsiteX17" fmla="*/ 697706 w 707231"/>
                <a:gd name="connsiteY17" fmla="*/ 97631 h 1059657"/>
                <a:gd name="connsiteX18" fmla="*/ 702468 w 707231"/>
                <a:gd name="connsiteY18" fmla="*/ 35719 h 1059657"/>
                <a:gd name="connsiteX19" fmla="*/ 628650 w 707231"/>
                <a:gd name="connsiteY19" fmla="*/ 0 h 1059657"/>
                <a:gd name="connsiteX20" fmla="*/ 600075 w 707231"/>
                <a:gd name="connsiteY20" fmla="*/ 28575 h 1059657"/>
                <a:gd name="connsiteX21" fmla="*/ 597693 w 707231"/>
                <a:gd name="connsiteY21" fmla="*/ 69056 h 1059657"/>
                <a:gd name="connsiteX22" fmla="*/ 583406 w 707231"/>
                <a:gd name="connsiteY22" fmla="*/ 88106 h 1059657"/>
                <a:gd name="connsiteX23" fmla="*/ 523875 w 707231"/>
                <a:gd name="connsiteY23" fmla="*/ 95250 h 1059657"/>
                <a:gd name="connsiteX24" fmla="*/ 509587 w 707231"/>
                <a:gd name="connsiteY24" fmla="*/ 135731 h 1059657"/>
                <a:gd name="connsiteX25" fmla="*/ 478631 w 707231"/>
                <a:gd name="connsiteY25" fmla="*/ 128587 h 1059657"/>
                <a:gd name="connsiteX26" fmla="*/ 466725 w 707231"/>
                <a:gd name="connsiteY26" fmla="*/ 154781 h 1059657"/>
                <a:gd name="connsiteX27" fmla="*/ 431006 w 707231"/>
                <a:gd name="connsiteY27" fmla="*/ 147637 h 1059657"/>
                <a:gd name="connsiteX28" fmla="*/ 376237 w 707231"/>
                <a:gd name="connsiteY28" fmla="*/ 169069 h 1059657"/>
                <a:gd name="connsiteX29" fmla="*/ 319087 w 707231"/>
                <a:gd name="connsiteY29" fmla="*/ 166687 h 1059657"/>
                <a:gd name="connsiteX30" fmla="*/ 307181 w 707231"/>
                <a:gd name="connsiteY30" fmla="*/ 135731 h 1059657"/>
                <a:gd name="connsiteX31" fmla="*/ 273843 w 707231"/>
                <a:gd name="connsiteY31" fmla="*/ 147637 h 1059657"/>
                <a:gd name="connsiteX32" fmla="*/ 178593 w 707231"/>
                <a:gd name="connsiteY32" fmla="*/ 173831 h 1059657"/>
                <a:gd name="connsiteX33" fmla="*/ 188118 w 707231"/>
                <a:gd name="connsiteY33" fmla="*/ 202406 h 1059657"/>
                <a:gd name="connsiteX34" fmla="*/ 195262 w 707231"/>
                <a:gd name="connsiteY34" fmla="*/ 233362 h 1059657"/>
                <a:gd name="connsiteX35" fmla="*/ 142875 w 707231"/>
                <a:gd name="connsiteY35" fmla="*/ 338137 h 1059657"/>
                <a:gd name="connsiteX36" fmla="*/ 57150 w 707231"/>
                <a:gd name="connsiteY36" fmla="*/ 323850 h 1059657"/>
                <a:gd name="connsiteX37" fmla="*/ 11906 w 707231"/>
                <a:gd name="connsiteY37" fmla="*/ 347662 h 1059657"/>
                <a:gd name="connsiteX38" fmla="*/ 0 w 707231"/>
                <a:gd name="connsiteY38" fmla="*/ 400050 h 1059657"/>
                <a:gd name="connsiteX39" fmla="*/ 14287 w 707231"/>
                <a:gd name="connsiteY39" fmla="*/ 476250 h 1059657"/>
                <a:gd name="connsiteX40" fmla="*/ 11906 w 707231"/>
                <a:gd name="connsiteY40" fmla="*/ 519112 h 1059657"/>
                <a:gd name="connsiteX41" fmla="*/ 0 w 707231"/>
                <a:gd name="connsiteY41" fmla="*/ 550069 h 1059657"/>
                <a:gd name="connsiteX42" fmla="*/ 11906 w 707231"/>
                <a:gd name="connsiteY42" fmla="*/ 561975 h 1059657"/>
                <a:gd name="connsiteX43" fmla="*/ 30956 w 707231"/>
                <a:gd name="connsiteY43" fmla="*/ 592931 h 1059657"/>
                <a:gd name="connsiteX44" fmla="*/ 97631 w 707231"/>
                <a:gd name="connsiteY44" fmla="*/ 609600 h 1059657"/>
                <a:gd name="connsiteX45" fmla="*/ 104775 w 707231"/>
                <a:gd name="connsiteY45" fmla="*/ 676275 h 1059657"/>
                <a:gd name="connsiteX46" fmla="*/ 90487 w 707231"/>
                <a:gd name="connsiteY46" fmla="*/ 728662 h 1059657"/>
                <a:gd name="connsiteX47" fmla="*/ 80962 w 707231"/>
                <a:gd name="connsiteY47" fmla="*/ 747712 h 1059657"/>
                <a:gd name="connsiteX48" fmla="*/ 80962 w 707231"/>
                <a:gd name="connsiteY48" fmla="*/ 781050 h 1059657"/>
                <a:gd name="connsiteX49" fmla="*/ 109537 w 707231"/>
                <a:gd name="connsiteY49" fmla="*/ 819150 h 1059657"/>
                <a:gd name="connsiteX50" fmla="*/ 102393 w 707231"/>
                <a:gd name="connsiteY50" fmla="*/ 869156 h 1059657"/>
                <a:gd name="connsiteX51" fmla="*/ 83343 w 707231"/>
                <a:gd name="connsiteY51" fmla="*/ 890587 h 1059657"/>
                <a:gd name="connsiteX52" fmla="*/ 85725 w 707231"/>
                <a:gd name="connsiteY52" fmla="*/ 954881 h 1059657"/>
                <a:gd name="connsiteX53" fmla="*/ 92868 w 707231"/>
                <a:gd name="connsiteY53" fmla="*/ 966787 h 1059657"/>
                <a:gd name="connsiteX54" fmla="*/ 71437 w 707231"/>
                <a:gd name="connsiteY54" fmla="*/ 1031081 h 1059657"/>
                <a:gd name="connsiteX0" fmla="*/ 71437 w 707231"/>
                <a:gd name="connsiteY0" fmla="*/ 1031081 h 1059657"/>
                <a:gd name="connsiteX1" fmla="*/ 114299 w 707231"/>
                <a:gd name="connsiteY1" fmla="*/ 1059657 h 1059657"/>
                <a:gd name="connsiteX2" fmla="*/ 164306 w 707231"/>
                <a:gd name="connsiteY2" fmla="*/ 1033462 h 1059657"/>
                <a:gd name="connsiteX3" fmla="*/ 200025 w 707231"/>
                <a:gd name="connsiteY3" fmla="*/ 1012031 h 1059657"/>
                <a:gd name="connsiteX4" fmla="*/ 247650 w 707231"/>
                <a:gd name="connsiteY4" fmla="*/ 969169 h 1059657"/>
                <a:gd name="connsiteX5" fmla="*/ 276225 w 707231"/>
                <a:gd name="connsiteY5" fmla="*/ 912019 h 1059657"/>
                <a:gd name="connsiteX6" fmla="*/ 350043 w 707231"/>
                <a:gd name="connsiteY6" fmla="*/ 871537 h 1059657"/>
                <a:gd name="connsiteX7" fmla="*/ 411956 w 707231"/>
                <a:gd name="connsiteY7" fmla="*/ 823912 h 1059657"/>
                <a:gd name="connsiteX8" fmla="*/ 411956 w 707231"/>
                <a:gd name="connsiteY8" fmla="*/ 781050 h 1059657"/>
                <a:gd name="connsiteX9" fmla="*/ 471487 w 707231"/>
                <a:gd name="connsiteY9" fmla="*/ 671512 h 1059657"/>
                <a:gd name="connsiteX10" fmla="*/ 547687 w 707231"/>
                <a:gd name="connsiteY10" fmla="*/ 642937 h 1059657"/>
                <a:gd name="connsiteX11" fmla="*/ 595312 w 707231"/>
                <a:gd name="connsiteY11" fmla="*/ 592931 h 1059657"/>
                <a:gd name="connsiteX12" fmla="*/ 597693 w 707231"/>
                <a:gd name="connsiteY12" fmla="*/ 438150 h 1059657"/>
                <a:gd name="connsiteX13" fmla="*/ 604837 w 707231"/>
                <a:gd name="connsiteY13" fmla="*/ 350044 h 1059657"/>
                <a:gd name="connsiteX14" fmla="*/ 614362 w 707231"/>
                <a:gd name="connsiteY14" fmla="*/ 295275 h 1059657"/>
                <a:gd name="connsiteX15" fmla="*/ 671512 w 707231"/>
                <a:gd name="connsiteY15" fmla="*/ 219075 h 1059657"/>
                <a:gd name="connsiteX16" fmla="*/ 707231 w 707231"/>
                <a:gd name="connsiteY16" fmla="*/ 147637 h 1059657"/>
                <a:gd name="connsiteX17" fmla="*/ 697706 w 707231"/>
                <a:gd name="connsiteY17" fmla="*/ 97631 h 1059657"/>
                <a:gd name="connsiteX18" fmla="*/ 702468 w 707231"/>
                <a:gd name="connsiteY18" fmla="*/ 35719 h 1059657"/>
                <a:gd name="connsiteX19" fmla="*/ 628650 w 707231"/>
                <a:gd name="connsiteY19" fmla="*/ 0 h 1059657"/>
                <a:gd name="connsiteX20" fmla="*/ 600075 w 707231"/>
                <a:gd name="connsiteY20" fmla="*/ 28575 h 1059657"/>
                <a:gd name="connsiteX21" fmla="*/ 597693 w 707231"/>
                <a:gd name="connsiteY21" fmla="*/ 69056 h 1059657"/>
                <a:gd name="connsiteX22" fmla="*/ 583406 w 707231"/>
                <a:gd name="connsiteY22" fmla="*/ 88106 h 1059657"/>
                <a:gd name="connsiteX23" fmla="*/ 523875 w 707231"/>
                <a:gd name="connsiteY23" fmla="*/ 95250 h 1059657"/>
                <a:gd name="connsiteX24" fmla="*/ 509587 w 707231"/>
                <a:gd name="connsiteY24" fmla="*/ 135731 h 1059657"/>
                <a:gd name="connsiteX25" fmla="*/ 478631 w 707231"/>
                <a:gd name="connsiteY25" fmla="*/ 128587 h 1059657"/>
                <a:gd name="connsiteX26" fmla="*/ 466725 w 707231"/>
                <a:gd name="connsiteY26" fmla="*/ 154781 h 1059657"/>
                <a:gd name="connsiteX27" fmla="*/ 431006 w 707231"/>
                <a:gd name="connsiteY27" fmla="*/ 147637 h 1059657"/>
                <a:gd name="connsiteX28" fmla="*/ 376237 w 707231"/>
                <a:gd name="connsiteY28" fmla="*/ 169069 h 1059657"/>
                <a:gd name="connsiteX29" fmla="*/ 319087 w 707231"/>
                <a:gd name="connsiteY29" fmla="*/ 166687 h 1059657"/>
                <a:gd name="connsiteX30" fmla="*/ 307181 w 707231"/>
                <a:gd name="connsiteY30" fmla="*/ 135731 h 1059657"/>
                <a:gd name="connsiteX31" fmla="*/ 273843 w 707231"/>
                <a:gd name="connsiteY31" fmla="*/ 147637 h 1059657"/>
                <a:gd name="connsiteX32" fmla="*/ 178593 w 707231"/>
                <a:gd name="connsiteY32" fmla="*/ 173831 h 1059657"/>
                <a:gd name="connsiteX33" fmla="*/ 188118 w 707231"/>
                <a:gd name="connsiteY33" fmla="*/ 202406 h 1059657"/>
                <a:gd name="connsiteX34" fmla="*/ 195262 w 707231"/>
                <a:gd name="connsiteY34" fmla="*/ 233362 h 1059657"/>
                <a:gd name="connsiteX35" fmla="*/ 142875 w 707231"/>
                <a:gd name="connsiteY35" fmla="*/ 338137 h 1059657"/>
                <a:gd name="connsiteX36" fmla="*/ 57150 w 707231"/>
                <a:gd name="connsiteY36" fmla="*/ 323850 h 1059657"/>
                <a:gd name="connsiteX37" fmla="*/ 11906 w 707231"/>
                <a:gd name="connsiteY37" fmla="*/ 347662 h 1059657"/>
                <a:gd name="connsiteX38" fmla="*/ 0 w 707231"/>
                <a:gd name="connsiteY38" fmla="*/ 400050 h 1059657"/>
                <a:gd name="connsiteX39" fmla="*/ 14287 w 707231"/>
                <a:gd name="connsiteY39" fmla="*/ 476250 h 1059657"/>
                <a:gd name="connsiteX40" fmla="*/ 11906 w 707231"/>
                <a:gd name="connsiteY40" fmla="*/ 519112 h 1059657"/>
                <a:gd name="connsiteX41" fmla="*/ 0 w 707231"/>
                <a:gd name="connsiteY41" fmla="*/ 550069 h 1059657"/>
                <a:gd name="connsiteX42" fmla="*/ 11906 w 707231"/>
                <a:gd name="connsiteY42" fmla="*/ 561975 h 1059657"/>
                <a:gd name="connsiteX43" fmla="*/ 30956 w 707231"/>
                <a:gd name="connsiteY43" fmla="*/ 592931 h 1059657"/>
                <a:gd name="connsiteX44" fmla="*/ 97631 w 707231"/>
                <a:gd name="connsiteY44" fmla="*/ 609600 h 1059657"/>
                <a:gd name="connsiteX45" fmla="*/ 104775 w 707231"/>
                <a:gd name="connsiteY45" fmla="*/ 676275 h 1059657"/>
                <a:gd name="connsiteX46" fmla="*/ 90487 w 707231"/>
                <a:gd name="connsiteY46" fmla="*/ 728662 h 1059657"/>
                <a:gd name="connsiteX47" fmla="*/ 80962 w 707231"/>
                <a:gd name="connsiteY47" fmla="*/ 747712 h 1059657"/>
                <a:gd name="connsiteX48" fmla="*/ 80962 w 707231"/>
                <a:gd name="connsiteY48" fmla="*/ 781050 h 1059657"/>
                <a:gd name="connsiteX49" fmla="*/ 109537 w 707231"/>
                <a:gd name="connsiteY49" fmla="*/ 819150 h 1059657"/>
                <a:gd name="connsiteX50" fmla="*/ 102393 w 707231"/>
                <a:gd name="connsiteY50" fmla="*/ 869156 h 1059657"/>
                <a:gd name="connsiteX51" fmla="*/ 83343 w 707231"/>
                <a:gd name="connsiteY51" fmla="*/ 890587 h 1059657"/>
                <a:gd name="connsiteX52" fmla="*/ 85725 w 707231"/>
                <a:gd name="connsiteY52" fmla="*/ 954881 h 1059657"/>
                <a:gd name="connsiteX53" fmla="*/ 92868 w 707231"/>
                <a:gd name="connsiteY53" fmla="*/ 966787 h 1059657"/>
                <a:gd name="connsiteX54" fmla="*/ 71437 w 707231"/>
                <a:gd name="connsiteY54" fmla="*/ 1031081 h 1059657"/>
                <a:gd name="connsiteX0" fmla="*/ 71437 w 707231"/>
                <a:gd name="connsiteY0" fmla="*/ 1031081 h 1054894"/>
                <a:gd name="connsiteX1" fmla="*/ 102393 w 707231"/>
                <a:gd name="connsiteY1" fmla="*/ 1054894 h 1054894"/>
                <a:gd name="connsiteX2" fmla="*/ 164306 w 707231"/>
                <a:gd name="connsiteY2" fmla="*/ 1033462 h 1054894"/>
                <a:gd name="connsiteX3" fmla="*/ 200025 w 707231"/>
                <a:gd name="connsiteY3" fmla="*/ 1012031 h 1054894"/>
                <a:gd name="connsiteX4" fmla="*/ 247650 w 707231"/>
                <a:gd name="connsiteY4" fmla="*/ 969169 h 1054894"/>
                <a:gd name="connsiteX5" fmla="*/ 276225 w 707231"/>
                <a:gd name="connsiteY5" fmla="*/ 912019 h 1054894"/>
                <a:gd name="connsiteX6" fmla="*/ 350043 w 707231"/>
                <a:gd name="connsiteY6" fmla="*/ 871537 h 1054894"/>
                <a:gd name="connsiteX7" fmla="*/ 411956 w 707231"/>
                <a:gd name="connsiteY7" fmla="*/ 823912 h 1054894"/>
                <a:gd name="connsiteX8" fmla="*/ 411956 w 707231"/>
                <a:gd name="connsiteY8" fmla="*/ 781050 h 1054894"/>
                <a:gd name="connsiteX9" fmla="*/ 471487 w 707231"/>
                <a:gd name="connsiteY9" fmla="*/ 671512 h 1054894"/>
                <a:gd name="connsiteX10" fmla="*/ 547687 w 707231"/>
                <a:gd name="connsiteY10" fmla="*/ 642937 h 1054894"/>
                <a:gd name="connsiteX11" fmla="*/ 595312 w 707231"/>
                <a:gd name="connsiteY11" fmla="*/ 592931 h 1054894"/>
                <a:gd name="connsiteX12" fmla="*/ 597693 w 707231"/>
                <a:gd name="connsiteY12" fmla="*/ 438150 h 1054894"/>
                <a:gd name="connsiteX13" fmla="*/ 604837 w 707231"/>
                <a:gd name="connsiteY13" fmla="*/ 350044 h 1054894"/>
                <a:gd name="connsiteX14" fmla="*/ 614362 w 707231"/>
                <a:gd name="connsiteY14" fmla="*/ 295275 h 1054894"/>
                <a:gd name="connsiteX15" fmla="*/ 671512 w 707231"/>
                <a:gd name="connsiteY15" fmla="*/ 219075 h 1054894"/>
                <a:gd name="connsiteX16" fmla="*/ 707231 w 707231"/>
                <a:gd name="connsiteY16" fmla="*/ 147637 h 1054894"/>
                <a:gd name="connsiteX17" fmla="*/ 697706 w 707231"/>
                <a:gd name="connsiteY17" fmla="*/ 97631 h 1054894"/>
                <a:gd name="connsiteX18" fmla="*/ 702468 w 707231"/>
                <a:gd name="connsiteY18" fmla="*/ 35719 h 1054894"/>
                <a:gd name="connsiteX19" fmla="*/ 628650 w 707231"/>
                <a:gd name="connsiteY19" fmla="*/ 0 h 1054894"/>
                <a:gd name="connsiteX20" fmla="*/ 600075 w 707231"/>
                <a:gd name="connsiteY20" fmla="*/ 28575 h 1054894"/>
                <a:gd name="connsiteX21" fmla="*/ 597693 w 707231"/>
                <a:gd name="connsiteY21" fmla="*/ 69056 h 1054894"/>
                <a:gd name="connsiteX22" fmla="*/ 583406 w 707231"/>
                <a:gd name="connsiteY22" fmla="*/ 88106 h 1054894"/>
                <a:gd name="connsiteX23" fmla="*/ 523875 w 707231"/>
                <a:gd name="connsiteY23" fmla="*/ 95250 h 1054894"/>
                <a:gd name="connsiteX24" fmla="*/ 509587 w 707231"/>
                <a:gd name="connsiteY24" fmla="*/ 135731 h 1054894"/>
                <a:gd name="connsiteX25" fmla="*/ 478631 w 707231"/>
                <a:gd name="connsiteY25" fmla="*/ 128587 h 1054894"/>
                <a:gd name="connsiteX26" fmla="*/ 466725 w 707231"/>
                <a:gd name="connsiteY26" fmla="*/ 154781 h 1054894"/>
                <a:gd name="connsiteX27" fmla="*/ 431006 w 707231"/>
                <a:gd name="connsiteY27" fmla="*/ 147637 h 1054894"/>
                <a:gd name="connsiteX28" fmla="*/ 376237 w 707231"/>
                <a:gd name="connsiteY28" fmla="*/ 169069 h 1054894"/>
                <a:gd name="connsiteX29" fmla="*/ 319087 w 707231"/>
                <a:gd name="connsiteY29" fmla="*/ 166687 h 1054894"/>
                <a:gd name="connsiteX30" fmla="*/ 307181 w 707231"/>
                <a:gd name="connsiteY30" fmla="*/ 135731 h 1054894"/>
                <a:gd name="connsiteX31" fmla="*/ 273843 w 707231"/>
                <a:gd name="connsiteY31" fmla="*/ 147637 h 1054894"/>
                <a:gd name="connsiteX32" fmla="*/ 178593 w 707231"/>
                <a:gd name="connsiteY32" fmla="*/ 173831 h 1054894"/>
                <a:gd name="connsiteX33" fmla="*/ 188118 w 707231"/>
                <a:gd name="connsiteY33" fmla="*/ 202406 h 1054894"/>
                <a:gd name="connsiteX34" fmla="*/ 195262 w 707231"/>
                <a:gd name="connsiteY34" fmla="*/ 233362 h 1054894"/>
                <a:gd name="connsiteX35" fmla="*/ 142875 w 707231"/>
                <a:gd name="connsiteY35" fmla="*/ 338137 h 1054894"/>
                <a:gd name="connsiteX36" fmla="*/ 57150 w 707231"/>
                <a:gd name="connsiteY36" fmla="*/ 323850 h 1054894"/>
                <a:gd name="connsiteX37" fmla="*/ 11906 w 707231"/>
                <a:gd name="connsiteY37" fmla="*/ 347662 h 1054894"/>
                <a:gd name="connsiteX38" fmla="*/ 0 w 707231"/>
                <a:gd name="connsiteY38" fmla="*/ 400050 h 1054894"/>
                <a:gd name="connsiteX39" fmla="*/ 14287 w 707231"/>
                <a:gd name="connsiteY39" fmla="*/ 476250 h 1054894"/>
                <a:gd name="connsiteX40" fmla="*/ 11906 w 707231"/>
                <a:gd name="connsiteY40" fmla="*/ 519112 h 1054894"/>
                <a:gd name="connsiteX41" fmla="*/ 0 w 707231"/>
                <a:gd name="connsiteY41" fmla="*/ 550069 h 1054894"/>
                <a:gd name="connsiteX42" fmla="*/ 11906 w 707231"/>
                <a:gd name="connsiteY42" fmla="*/ 561975 h 1054894"/>
                <a:gd name="connsiteX43" fmla="*/ 30956 w 707231"/>
                <a:gd name="connsiteY43" fmla="*/ 592931 h 1054894"/>
                <a:gd name="connsiteX44" fmla="*/ 97631 w 707231"/>
                <a:gd name="connsiteY44" fmla="*/ 609600 h 1054894"/>
                <a:gd name="connsiteX45" fmla="*/ 104775 w 707231"/>
                <a:gd name="connsiteY45" fmla="*/ 676275 h 1054894"/>
                <a:gd name="connsiteX46" fmla="*/ 90487 w 707231"/>
                <a:gd name="connsiteY46" fmla="*/ 728662 h 1054894"/>
                <a:gd name="connsiteX47" fmla="*/ 80962 w 707231"/>
                <a:gd name="connsiteY47" fmla="*/ 747712 h 1054894"/>
                <a:gd name="connsiteX48" fmla="*/ 80962 w 707231"/>
                <a:gd name="connsiteY48" fmla="*/ 781050 h 1054894"/>
                <a:gd name="connsiteX49" fmla="*/ 109537 w 707231"/>
                <a:gd name="connsiteY49" fmla="*/ 819150 h 1054894"/>
                <a:gd name="connsiteX50" fmla="*/ 102393 w 707231"/>
                <a:gd name="connsiteY50" fmla="*/ 869156 h 1054894"/>
                <a:gd name="connsiteX51" fmla="*/ 83343 w 707231"/>
                <a:gd name="connsiteY51" fmla="*/ 890587 h 1054894"/>
                <a:gd name="connsiteX52" fmla="*/ 85725 w 707231"/>
                <a:gd name="connsiteY52" fmla="*/ 954881 h 1054894"/>
                <a:gd name="connsiteX53" fmla="*/ 92868 w 707231"/>
                <a:gd name="connsiteY53" fmla="*/ 966787 h 1054894"/>
                <a:gd name="connsiteX54" fmla="*/ 71437 w 707231"/>
                <a:gd name="connsiteY54" fmla="*/ 1031081 h 1054894"/>
                <a:gd name="connsiteX0" fmla="*/ 71437 w 707231"/>
                <a:gd name="connsiteY0" fmla="*/ 1031081 h 1055124"/>
                <a:gd name="connsiteX1" fmla="*/ 102393 w 707231"/>
                <a:gd name="connsiteY1" fmla="*/ 1054894 h 1055124"/>
                <a:gd name="connsiteX2" fmla="*/ 164306 w 707231"/>
                <a:gd name="connsiteY2" fmla="*/ 1033462 h 1055124"/>
                <a:gd name="connsiteX3" fmla="*/ 200025 w 707231"/>
                <a:gd name="connsiteY3" fmla="*/ 1012031 h 1055124"/>
                <a:gd name="connsiteX4" fmla="*/ 247650 w 707231"/>
                <a:gd name="connsiteY4" fmla="*/ 969169 h 1055124"/>
                <a:gd name="connsiteX5" fmla="*/ 276225 w 707231"/>
                <a:gd name="connsiteY5" fmla="*/ 912019 h 1055124"/>
                <a:gd name="connsiteX6" fmla="*/ 350043 w 707231"/>
                <a:gd name="connsiteY6" fmla="*/ 871537 h 1055124"/>
                <a:gd name="connsiteX7" fmla="*/ 411956 w 707231"/>
                <a:gd name="connsiteY7" fmla="*/ 823912 h 1055124"/>
                <a:gd name="connsiteX8" fmla="*/ 411956 w 707231"/>
                <a:gd name="connsiteY8" fmla="*/ 781050 h 1055124"/>
                <a:gd name="connsiteX9" fmla="*/ 471487 w 707231"/>
                <a:gd name="connsiteY9" fmla="*/ 671512 h 1055124"/>
                <a:gd name="connsiteX10" fmla="*/ 547687 w 707231"/>
                <a:gd name="connsiteY10" fmla="*/ 642937 h 1055124"/>
                <a:gd name="connsiteX11" fmla="*/ 595312 w 707231"/>
                <a:gd name="connsiteY11" fmla="*/ 592931 h 1055124"/>
                <a:gd name="connsiteX12" fmla="*/ 597693 w 707231"/>
                <a:gd name="connsiteY12" fmla="*/ 438150 h 1055124"/>
                <a:gd name="connsiteX13" fmla="*/ 604837 w 707231"/>
                <a:gd name="connsiteY13" fmla="*/ 350044 h 1055124"/>
                <a:gd name="connsiteX14" fmla="*/ 614362 w 707231"/>
                <a:gd name="connsiteY14" fmla="*/ 295275 h 1055124"/>
                <a:gd name="connsiteX15" fmla="*/ 671512 w 707231"/>
                <a:gd name="connsiteY15" fmla="*/ 219075 h 1055124"/>
                <a:gd name="connsiteX16" fmla="*/ 707231 w 707231"/>
                <a:gd name="connsiteY16" fmla="*/ 147637 h 1055124"/>
                <a:gd name="connsiteX17" fmla="*/ 697706 w 707231"/>
                <a:gd name="connsiteY17" fmla="*/ 97631 h 1055124"/>
                <a:gd name="connsiteX18" fmla="*/ 702468 w 707231"/>
                <a:gd name="connsiteY18" fmla="*/ 35719 h 1055124"/>
                <a:gd name="connsiteX19" fmla="*/ 628650 w 707231"/>
                <a:gd name="connsiteY19" fmla="*/ 0 h 1055124"/>
                <a:gd name="connsiteX20" fmla="*/ 600075 w 707231"/>
                <a:gd name="connsiteY20" fmla="*/ 28575 h 1055124"/>
                <a:gd name="connsiteX21" fmla="*/ 597693 w 707231"/>
                <a:gd name="connsiteY21" fmla="*/ 69056 h 1055124"/>
                <a:gd name="connsiteX22" fmla="*/ 583406 w 707231"/>
                <a:gd name="connsiteY22" fmla="*/ 88106 h 1055124"/>
                <a:gd name="connsiteX23" fmla="*/ 523875 w 707231"/>
                <a:gd name="connsiteY23" fmla="*/ 95250 h 1055124"/>
                <a:gd name="connsiteX24" fmla="*/ 509587 w 707231"/>
                <a:gd name="connsiteY24" fmla="*/ 135731 h 1055124"/>
                <a:gd name="connsiteX25" fmla="*/ 478631 w 707231"/>
                <a:gd name="connsiteY25" fmla="*/ 128587 h 1055124"/>
                <a:gd name="connsiteX26" fmla="*/ 466725 w 707231"/>
                <a:gd name="connsiteY26" fmla="*/ 154781 h 1055124"/>
                <a:gd name="connsiteX27" fmla="*/ 431006 w 707231"/>
                <a:gd name="connsiteY27" fmla="*/ 147637 h 1055124"/>
                <a:gd name="connsiteX28" fmla="*/ 376237 w 707231"/>
                <a:gd name="connsiteY28" fmla="*/ 169069 h 1055124"/>
                <a:gd name="connsiteX29" fmla="*/ 319087 w 707231"/>
                <a:gd name="connsiteY29" fmla="*/ 166687 h 1055124"/>
                <a:gd name="connsiteX30" fmla="*/ 307181 w 707231"/>
                <a:gd name="connsiteY30" fmla="*/ 135731 h 1055124"/>
                <a:gd name="connsiteX31" fmla="*/ 273843 w 707231"/>
                <a:gd name="connsiteY31" fmla="*/ 147637 h 1055124"/>
                <a:gd name="connsiteX32" fmla="*/ 178593 w 707231"/>
                <a:gd name="connsiteY32" fmla="*/ 173831 h 1055124"/>
                <a:gd name="connsiteX33" fmla="*/ 188118 w 707231"/>
                <a:gd name="connsiteY33" fmla="*/ 202406 h 1055124"/>
                <a:gd name="connsiteX34" fmla="*/ 195262 w 707231"/>
                <a:gd name="connsiteY34" fmla="*/ 233362 h 1055124"/>
                <a:gd name="connsiteX35" fmla="*/ 142875 w 707231"/>
                <a:gd name="connsiteY35" fmla="*/ 338137 h 1055124"/>
                <a:gd name="connsiteX36" fmla="*/ 57150 w 707231"/>
                <a:gd name="connsiteY36" fmla="*/ 323850 h 1055124"/>
                <a:gd name="connsiteX37" fmla="*/ 11906 w 707231"/>
                <a:gd name="connsiteY37" fmla="*/ 347662 h 1055124"/>
                <a:gd name="connsiteX38" fmla="*/ 0 w 707231"/>
                <a:gd name="connsiteY38" fmla="*/ 400050 h 1055124"/>
                <a:gd name="connsiteX39" fmla="*/ 14287 w 707231"/>
                <a:gd name="connsiteY39" fmla="*/ 476250 h 1055124"/>
                <a:gd name="connsiteX40" fmla="*/ 11906 w 707231"/>
                <a:gd name="connsiteY40" fmla="*/ 519112 h 1055124"/>
                <a:gd name="connsiteX41" fmla="*/ 0 w 707231"/>
                <a:gd name="connsiteY41" fmla="*/ 550069 h 1055124"/>
                <a:gd name="connsiteX42" fmla="*/ 11906 w 707231"/>
                <a:gd name="connsiteY42" fmla="*/ 561975 h 1055124"/>
                <a:gd name="connsiteX43" fmla="*/ 30956 w 707231"/>
                <a:gd name="connsiteY43" fmla="*/ 592931 h 1055124"/>
                <a:gd name="connsiteX44" fmla="*/ 97631 w 707231"/>
                <a:gd name="connsiteY44" fmla="*/ 609600 h 1055124"/>
                <a:gd name="connsiteX45" fmla="*/ 104775 w 707231"/>
                <a:gd name="connsiteY45" fmla="*/ 676275 h 1055124"/>
                <a:gd name="connsiteX46" fmla="*/ 90487 w 707231"/>
                <a:gd name="connsiteY46" fmla="*/ 728662 h 1055124"/>
                <a:gd name="connsiteX47" fmla="*/ 80962 w 707231"/>
                <a:gd name="connsiteY47" fmla="*/ 747712 h 1055124"/>
                <a:gd name="connsiteX48" fmla="*/ 80962 w 707231"/>
                <a:gd name="connsiteY48" fmla="*/ 781050 h 1055124"/>
                <a:gd name="connsiteX49" fmla="*/ 109537 w 707231"/>
                <a:gd name="connsiteY49" fmla="*/ 819150 h 1055124"/>
                <a:gd name="connsiteX50" fmla="*/ 102393 w 707231"/>
                <a:gd name="connsiteY50" fmla="*/ 869156 h 1055124"/>
                <a:gd name="connsiteX51" fmla="*/ 83343 w 707231"/>
                <a:gd name="connsiteY51" fmla="*/ 890587 h 1055124"/>
                <a:gd name="connsiteX52" fmla="*/ 85725 w 707231"/>
                <a:gd name="connsiteY52" fmla="*/ 954881 h 1055124"/>
                <a:gd name="connsiteX53" fmla="*/ 92868 w 707231"/>
                <a:gd name="connsiteY53" fmla="*/ 966787 h 1055124"/>
                <a:gd name="connsiteX54" fmla="*/ 71437 w 707231"/>
                <a:gd name="connsiteY54" fmla="*/ 1031081 h 1055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707231" h="1055124">
                  <a:moveTo>
                    <a:pt x="71437" y="1031081"/>
                  </a:moveTo>
                  <a:lnTo>
                    <a:pt x="102393" y="1054894"/>
                  </a:lnTo>
                  <a:cubicBezTo>
                    <a:pt x="127794" y="1057275"/>
                    <a:pt x="143668" y="1040606"/>
                    <a:pt x="164306" y="1033462"/>
                  </a:cubicBezTo>
                  <a:lnTo>
                    <a:pt x="200025" y="1012031"/>
                  </a:lnTo>
                  <a:lnTo>
                    <a:pt x="247650" y="969169"/>
                  </a:lnTo>
                  <a:lnTo>
                    <a:pt x="276225" y="912019"/>
                  </a:lnTo>
                  <a:lnTo>
                    <a:pt x="350043" y="871537"/>
                  </a:lnTo>
                  <a:lnTo>
                    <a:pt x="411956" y="823912"/>
                  </a:lnTo>
                  <a:lnTo>
                    <a:pt x="411956" y="781050"/>
                  </a:lnTo>
                  <a:lnTo>
                    <a:pt x="471487" y="671512"/>
                  </a:lnTo>
                  <a:lnTo>
                    <a:pt x="547687" y="642937"/>
                  </a:lnTo>
                  <a:lnTo>
                    <a:pt x="595312" y="592931"/>
                  </a:lnTo>
                  <a:cubicBezTo>
                    <a:pt x="596106" y="541337"/>
                    <a:pt x="596899" y="489744"/>
                    <a:pt x="597693" y="438150"/>
                  </a:cubicBezTo>
                  <a:lnTo>
                    <a:pt x="604837" y="350044"/>
                  </a:lnTo>
                  <a:lnTo>
                    <a:pt x="614362" y="295275"/>
                  </a:lnTo>
                  <a:lnTo>
                    <a:pt x="671512" y="219075"/>
                  </a:lnTo>
                  <a:lnTo>
                    <a:pt x="707231" y="147637"/>
                  </a:lnTo>
                  <a:lnTo>
                    <a:pt x="697706" y="97631"/>
                  </a:lnTo>
                  <a:lnTo>
                    <a:pt x="702468" y="35719"/>
                  </a:lnTo>
                  <a:lnTo>
                    <a:pt x="628650" y="0"/>
                  </a:lnTo>
                  <a:lnTo>
                    <a:pt x="600075" y="28575"/>
                  </a:lnTo>
                  <a:lnTo>
                    <a:pt x="597693" y="69056"/>
                  </a:lnTo>
                  <a:lnTo>
                    <a:pt x="583406" y="88106"/>
                  </a:lnTo>
                  <a:lnTo>
                    <a:pt x="523875" y="95250"/>
                  </a:lnTo>
                  <a:lnTo>
                    <a:pt x="509587" y="135731"/>
                  </a:lnTo>
                  <a:lnTo>
                    <a:pt x="478631" y="128587"/>
                  </a:lnTo>
                  <a:lnTo>
                    <a:pt x="466725" y="154781"/>
                  </a:lnTo>
                  <a:lnTo>
                    <a:pt x="431006" y="147637"/>
                  </a:lnTo>
                  <a:lnTo>
                    <a:pt x="376237" y="169069"/>
                  </a:lnTo>
                  <a:lnTo>
                    <a:pt x="319087" y="166687"/>
                  </a:lnTo>
                  <a:lnTo>
                    <a:pt x="307181" y="135731"/>
                  </a:lnTo>
                  <a:lnTo>
                    <a:pt x="273843" y="147637"/>
                  </a:lnTo>
                  <a:lnTo>
                    <a:pt x="178593" y="173831"/>
                  </a:lnTo>
                  <a:lnTo>
                    <a:pt x="188118" y="202406"/>
                  </a:lnTo>
                  <a:lnTo>
                    <a:pt x="195262" y="233362"/>
                  </a:lnTo>
                  <a:lnTo>
                    <a:pt x="142875" y="338137"/>
                  </a:lnTo>
                  <a:lnTo>
                    <a:pt x="57150" y="323850"/>
                  </a:lnTo>
                  <a:lnTo>
                    <a:pt x="11906" y="347662"/>
                  </a:lnTo>
                  <a:lnTo>
                    <a:pt x="0" y="400050"/>
                  </a:lnTo>
                  <a:lnTo>
                    <a:pt x="14287" y="476250"/>
                  </a:lnTo>
                  <a:lnTo>
                    <a:pt x="11906" y="519112"/>
                  </a:lnTo>
                  <a:lnTo>
                    <a:pt x="0" y="550069"/>
                  </a:lnTo>
                  <a:lnTo>
                    <a:pt x="11906" y="561975"/>
                  </a:lnTo>
                  <a:lnTo>
                    <a:pt x="30956" y="592931"/>
                  </a:lnTo>
                  <a:lnTo>
                    <a:pt x="97631" y="609600"/>
                  </a:lnTo>
                  <a:lnTo>
                    <a:pt x="104775" y="676275"/>
                  </a:lnTo>
                  <a:lnTo>
                    <a:pt x="90487" y="728662"/>
                  </a:lnTo>
                  <a:lnTo>
                    <a:pt x="80962" y="747712"/>
                  </a:lnTo>
                  <a:lnTo>
                    <a:pt x="80962" y="781050"/>
                  </a:lnTo>
                  <a:lnTo>
                    <a:pt x="109537" y="819150"/>
                  </a:lnTo>
                  <a:lnTo>
                    <a:pt x="102393" y="869156"/>
                  </a:lnTo>
                  <a:lnTo>
                    <a:pt x="83343" y="890587"/>
                  </a:lnTo>
                  <a:lnTo>
                    <a:pt x="85725" y="954881"/>
                  </a:lnTo>
                  <a:lnTo>
                    <a:pt x="92868" y="966787"/>
                  </a:lnTo>
                  <a:lnTo>
                    <a:pt x="71437" y="1031081"/>
                  </a:lnTo>
                  <a:close/>
                </a:path>
              </a:pathLst>
            </a:custGeom>
            <a:solidFill>
              <a:schemeClr val="bg1"/>
            </a:solidFill>
            <a:ln w="317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a:lstStyle/>
            <a:p>
              <a:pPr>
                <a:defRPr/>
              </a:pPr>
              <a:endParaRPr lang="en-GB"/>
            </a:p>
          </p:txBody>
        </p:sp>
        <p:sp>
          <p:nvSpPr>
            <p:cNvPr id="53" name="Freeform 52"/>
            <p:cNvSpPr/>
            <p:nvPr/>
          </p:nvSpPr>
          <p:spPr>
            <a:xfrm>
              <a:off x="3445272" y="3459709"/>
              <a:ext cx="1466850" cy="1209675"/>
            </a:xfrm>
            <a:custGeom>
              <a:avLst/>
              <a:gdLst>
                <a:gd name="connsiteX0" fmla="*/ 30956 w 1466850"/>
                <a:gd name="connsiteY0" fmla="*/ 302419 h 1095375"/>
                <a:gd name="connsiteX1" fmla="*/ 19050 w 1466850"/>
                <a:gd name="connsiteY1" fmla="*/ 381000 h 1095375"/>
                <a:gd name="connsiteX2" fmla="*/ 19050 w 1466850"/>
                <a:gd name="connsiteY2" fmla="*/ 397669 h 1095375"/>
                <a:gd name="connsiteX3" fmla="*/ 0 w 1466850"/>
                <a:gd name="connsiteY3" fmla="*/ 459581 h 1095375"/>
                <a:gd name="connsiteX4" fmla="*/ 7144 w 1466850"/>
                <a:gd name="connsiteY4" fmla="*/ 497681 h 1095375"/>
                <a:gd name="connsiteX5" fmla="*/ 9525 w 1466850"/>
                <a:gd name="connsiteY5" fmla="*/ 535781 h 1095375"/>
                <a:gd name="connsiteX6" fmla="*/ 19050 w 1466850"/>
                <a:gd name="connsiteY6" fmla="*/ 583406 h 1095375"/>
                <a:gd name="connsiteX7" fmla="*/ 23812 w 1466850"/>
                <a:gd name="connsiteY7" fmla="*/ 688181 h 1095375"/>
                <a:gd name="connsiteX8" fmla="*/ 35719 w 1466850"/>
                <a:gd name="connsiteY8" fmla="*/ 747712 h 1095375"/>
                <a:gd name="connsiteX9" fmla="*/ 40481 w 1466850"/>
                <a:gd name="connsiteY9" fmla="*/ 778669 h 1095375"/>
                <a:gd name="connsiteX10" fmla="*/ 47625 w 1466850"/>
                <a:gd name="connsiteY10" fmla="*/ 831056 h 1095375"/>
                <a:gd name="connsiteX11" fmla="*/ 38100 w 1466850"/>
                <a:gd name="connsiteY11" fmla="*/ 919162 h 1095375"/>
                <a:gd name="connsiteX12" fmla="*/ 78581 w 1466850"/>
                <a:gd name="connsiteY12" fmla="*/ 1028700 h 1095375"/>
                <a:gd name="connsiteX13" fmla="*/ 71437 w 1466850"/>
                <a:gd name="connsiteY13" fmla="*/ 1095375 h 1095375"/>
                <a:gd name="connsiteX14" fmla="*/ 242887 w 1466850"/>
                <a:gd name="connsiteY14" fmla="*/ 1092994 h 1095375"/>
                <a:gd name="connsiteX15" fmla="*/ 238125 w 1466850"/>
                <a:gd name="connsiteY15" fmla="*/ 1045369 h 1095375"/>
                <a:gd name="connsiteX16" fmla="*/ 230981 w 1466850"/>
                <a:gd name="connsiteY16" fmla="*/ 1035844 h 1095375"/>
                <a:gd name="connsiteX17" fmla="*/ 252412 w 1466850"/>
                <a:gd name="connsiteY17" fmla="*/ 1019175 h 1095375"/>
                <a:gd name="connsiteX18" fmla="*/ 314325 w 1466850"/>
                <a:gd name="connsiteY18" fmla="*/ 995362 h 1095375"/>
                <a:gd name="connsiteX19" fmla="*/ 311944 w 1466850"/>
                <a:gd name="connsiteY19" fmla="*/ 959644 h 1095375"/>
                <a:gd name="connsiteX20" fmla="*/ 326231 w 1466850"/>
                <a:gd name="connsiteY20" fmla="*/ 942975 h 1095375"/>
                <a:gd name="connsiteX21" fmla="*/ 452437 w 1466850"/>
                <a:gd name="connsiteY21" fmla="*/ 950119 h 1095375"/>
                <a:gd name="connsiteX22" fmla="*/ 464344 w 1466850"/>
                <a:gd name="connsiteY22" fmla="*/ 933450 h 1095375"/>
                <a:gd name="connsiteX23" fmla="*/ 476250 w 1466850"/>
                <a:gd name="connsiteY23" fmla="*/ 883444 h 1095375"/>
                <a:gd name="connsiteX24" fmla="*/ 488156 w 1466850"/>
                <a:gd name="connsiteY24" fmla="*/ 857250 h 1095375"/>
                <a:gd name="connsiteX25" fmla="*/ 526256 w 1466850"/>
                <a:gd name="connsiteY25" fmla="*/ 862012 h 1095375"/>
                <a:gd name="connsiteX26" fmla="*/ 545306 w 1466850"/>
                <a:gd name="connsiteY26" fmla="*/ 909637 h 1095375"/>
                <a:gd name="connsiteX27" fmla="*/ 566737 w 1466850"/>
                <a:gd name="connsiteY27" fmla="*/ 881062 h 1095375"/>
                <a:gd name="connsiteX28" fmla="*/ 621506 w 1466850"/>
                <a:gd name="connsiteY28" fmla="*/ 845344 h 1095375"/>
                <a:gd name="connsiteX29" fmla="*/ 709612 w 1466850"/>
                <a:gd name="connsiteY29" fmla="*/ 814387 h 1095375"/>
                <a:gd name="connsiteX30" fmla="*/ 716756 w 1466850"/>
                <a:gd name="connsiteY30" fmla="*/ 769144 h 1095375"/>
                <a:gd name="connsiteX31" fmla="*/ 742950 w 1466850"/>
                <a:gd name="connsiteY31" fmla="*/ 750094 h 1095375"/>
                <a:gd name="connsiteX32" fmla="*/ 785812 w 1466850"/>
                <a:gd name="connsiteY32" fmla="*/ 726281 h 1095375"/>
                <a:gd name="connsiteX33" fmla="*/ 800100 w 1466850"/>
                <a:gd name="connsiteY33" fmla="*/ 716756 h 1095375"/>
                <a:gd name="connsiteX34" fmla="*/ 862012 w 1466850"/>
                <a:gd name="connsiteY34" fmla="*/ 721519 h 1095375"/>
                <a:gd name="connsiteX35" fmla="*/ 883444 w 1466850"/>
                <a:gd name="connsiteY35" fmla="*/ 721519 h 1095375"/>
                <a:gd name="connsiteX36" fmla="*/ 892969 w 1466850"/>
                <a:gd name="connsiteY36" fmla="*/ 697706 h 1095375"/>
                <a:gd name="connsiteX37" fmla="*/ 892969 w 1466850"/>
                <a:gd name="connsiteY37" fmla="*/ 697706 h 1095375"/>
                <a:gd name="connsiteX38" fmla="*/ 921544 w 1466850"/>
                <a:gd name="connsiteY38" fmla="*/ 609600 h 1095375"/>
                <a:gd name="connsiteX39" fmla="*/ 909637 w 1466850"/>
                <a:gd name="connsiteY39" fmla="*/ 552450 h 1095375"/>
                <a:gd name="connsiteX40" fmla="*/ 928687 w 1466850"/>
                <a:gd name="connsiteY40" fmla="*/ 540544 h 1095375"/>
                <a:gd name="connsiteX41" fmla="*/ 973931 w 1466850"/>
                <a:gd name="connsiteY41" fmla="*/ 535781 h 1095375"/>
                <a:gd name="connsiteX42" fmla="*/ 1014412 w 1466850"/>
                <a:gd name="connsiteY42" fmla="*/ 447675 h 1095375"/>
                <a:gd name="connsiteX43" fmla="*/ 1038225 w 1466850"/>
                <a:gd name="connsiteY43" fmla="*/ 445294 h 1095375"/>
                <a:gd name="connsiteX44" fmla="*/ 1073944 w 1466850"/>
                <a:gd name="connsiteY44" fmla="*/ 476250 h 1095375"/>
                <a:gd name="connsiteX45" fmla="*/ 1112044 w 1466850"/>
                <a:gd name="connsiteY45" fmla="*/ 514350 h 1095375"/>
                <a:gd name="connsiteX46" fmla="*/ 1171575 w 1466850"/>
                <a:gd name="connsiteY46" fmla="*/ 540544 h 1095375"/>
                <a:gd name="connsiteX47" fmla="*/ 1219200 w 1466850"/>
                <a:gd name="connsiteY47" fmla="*/ 521494 h 1095375"/>
                <a:gd name="connsiteX48" fmla="*/ 1245394 w 1466850"/>
                <a:gd name="connsiteY48" fmla="*/ 502444 h 1095375"/>
                <a:gd name="connsiteX49" fmla="*/ 1278731 w 1466850"/>
                <a:gd name="connsiteY49" fmla="*/ 511969 h 1095375"/>
                <a:gd name="connsiteX50" fmla="*/ 1295400 w 1466850"/>
                <a:gd name="connsiteY50" fmla="*/ 531019 h 1095375"/>
                <a:gd name="connsiteX51" fmla="*/ 1273969 w 1466850"/>
                <a:gd name="connsiteY51" fmla="*/ 573881 h 1095375"/>
                <a:gd name="connsiteX52" fmla="*/ 1271587 w 1466850"/>
                <a:gd name="connsiteY52" fmla="*/ 602456 h 1095375"/>
                <a:gd name="connsiteX53" fmla="*/ 1285875 w 1466850"/>
                <a:gd name="connsiteY53" fmla="*/ 611981 h 1095375"/>
                <a:gd name="connsiteX54" fmla="*/ 1300162 w 1466850"/>
                <a:gd name="connsiteY54" fmla="*/ 628650 h 1095375"/>
                <a:gd name="connsiteX55" fmla="*/ 1321594 w 1466850"/>
                <a:gd name="connsiteY55" fmla="*/ 666750 h 1095375"/>
                <a:gd name="connsiteX56" fmla="*/ 1347787 w 1466850"/>
                <a:gd name="connsiteY56" fmla="*/ 681037 h 1095375"/>
                <a:gd name="connsiteX57" fmla="*/ 1371600 w 1466850"/>
                <a:gd name="connsiteY57" fmla="*/ 681037 h 1095375"/>
                <a:gd name="connsiteX58" fmla="*/ 1376362 w 1466850"/>
                <a:gd name="connsiteY58" fmla="*/ 628650 h 1095375"/>
                <a:gd name="connsiteX59" fmla="*/ 1395412 w 1466850"/>
                <a:gd name="connsiteY59" fmla="*/ 578644 h 1095375"/>
                <a:gd name="connsiteX60" fmla="*/ 1426369 w 1466850"/>
                <a:gd name="connsiteY60" fmla="*/ 571500 h 1095375"/>
                <a:gd name="connsiteX61" fmla="*/ 1466850 w 1466850"/>
                <a:gd name="connsiteY61" fmla="*/ 552450 h 1095375"/>
                <a:gd name="connsiteX62" fmla="*/ 1443037 w 1466850"/>
                <a:gd name="connsiteY62" fmla="*/ 509587 h 1095375"/>
                <a:gd name="connsiteX63" fmla="*/ 1414462 w 1466850"/>
                <a:gd name="connsiteY63" fmla="*/ 464344 h 1095375"/>
                <a:gd name="connsiteX64" fmla="*/ 1388269 w 1466850"/>
                <a:gd name="connsiteY64" fmla="*/ 438150 h 1095375"/>
                <a:gd name="connsiteX65" fmla="*/ 1404937 w 1466850"/>
                <a:gd name="connsiteY65" fmla="*/ 400050 h 1095375"/>
                <a:gd name="connsiteX66" fmla="*/ 1404937 w 1466850"/>
                <a:gd name="connsiteY66" fmla="*/ 383381 h 1095375"/>
                <a:gd name="connsiteX67" fmla="*/ 1431131 w 1466850"/>
                <a:gd name="connsiteY67" fmla="*/ 338137 h 1095375"/>
                <a:gd name="connsiteX68" fmla="*/ 1419225 w 1466850"/>
                <a:gd name="connsiteY68" fmla="*/ 264319 h 1095375"/>
                <a:gd name="connsiteX69" fmla="*/ 1438275 w 1466850"/>
                <a:gd name="connsiteY69" fmla="*/ 202406 h 1095375"/>
                <a:gd name="connsiteX70" fmla="*/ 1435894 w 1466850"/>
                <a:gd name="connsiteY70" fmla="*/ 173831 h 1095375"/>
                <a:gd name="connsiteX71" fmla="*/ 1404937 w 1466850"/>
                <a:gd name="connsiteY71" fmla="*/ 164306 h 1095375"/>
                <a:gd name="connsiteX72" fmla="*/ 1364456 w 1466850"/>
                <a:gd name="connsiteY72" fmla="*/ 154781 h 1095375"/>
                <a:gd name="connsiteX73" fmla="*/ 1293019 w 1466850"/>
                <a:gd name="connsiteY73" fmla="*/ 154781 h 1095375"/>
                <a:gd name="connsiteX74" fmla="*/ 1233487 w 1466850"/>
                <a:gd name="connsiteY74" fmla="*/ 121444 h 1095375"/>
                <a:gd name="connsiteX75" fmla="*/ 1207294 w 1466850"/>
                <a:gd name="connsiteY75" fmla="*/ 114300 h 1095375"/>
                <a:gd name="connsiteX76" fmla="*/ 1188244 w 1466850"/>
                <a:gd name="connsiteY76" fmla="*/ 126206 h 1095375"/>
                <a:gd name="connsiteX77" fmla="*/ 1133475 w 1466850"/>
                <a:gd name="connsiteY77" fmla="*/ 188119 h 1095375"/>
                <a:gd name="connsiteX78" fmla="*/ 1116806 w 1466850"/>
                <a:gd name="connsiteY78" fmla="*/ 188119 h 1095375"/>
                <a:gd name="connsiteX79" fmla="*/ 1078706 w 1466850"/>
                <a:gd name="connsiteY79" fmla="*/ 142875 h 1095375"/>
                <a:gd name="connsiteX80" fmla="*/ 1054894 w 1466850"/>
                <a:gd name="connsiteY80" fmla="*/ 138112 h 1095375"/>
                <a:gd name="connsiteX81" fmla="*/ 997744 w 1466850"/>
                <a:gd name="connsiteY81" fmla="*/ 157162 h 1095375"/>
                <a:gd name="connsiteX82" fmla="*/ 973931 w 1466850"/>
                <a:gd name="connsiteY82" fmla="*/ 178594 h 1095375"/>
                <a:gd name="connsiteX83" fmla="*/ 928687 w 1466850"/>
                <a:gd name="connsiteY83" fmla="*/ 173831 h 1095375"/>
                <a:gd name="connsiteX84" fmla="*/ 878681 w 1466850"/>
                <a:gd name="connsiteY84" fmla="*/ 164306 h 1095375"/>
                <a:gd name="connsiteX85" fmla="*/ 864394 w 1466850"/>
                <a:gd name="connsiteY85" fmla="*/ 83344 h 1095375"/>
                <a:gd name="connsiteX86" fmla="*/ 845344 w 1466850"/>
                <a:gd name="connsiteY86" fmla="*/ 69056 h 1095375"/>
                <a:gd name="connsiteX87" fmla="*/ 747712 w 1466850"/>
                <a:gd name="connsiteY87" fmla="*/ 119062 h 1095375"/>
                <a:gd name="connsiteX88" fmla="*/ 721519 w 1466850"/>
                <a:gd name="connsiteY88" fmla="*/ 140494 h 1095375"/>
                <a:gd name="connsiteX89" fmla="*/ 709612 w 1466850"/>
                <a:gd name="connsiteY89" fmla="*/ 190500 h 1095375"/>
                <a:gd name="connsiteX90" fmla="*/ 707231 w 1466850"/>
                <a:gd name="connsiteY90" fmla="*/ 195262 h 1095375"/>
                <a:gd name="connsiteX91" fmla="*/ 654844 w 1466850"/>
                <a:gd name="connsiteY91" fmla="*/ 190500 h 1095375"/>
                <a:gd name="connsiteX92" fmla="*/ 633412 w 1466850"/>
                <a:gd name="connsiteY92" fmla="*/ 180975 h 1095375"/>
                <a:gd name="connsiteX93" fmla="*/ 614362 w 1466850"/>
                <a:gd name="connsiteY93" fmla="*/ 142875 h 1095375"/>
                <a:gd name="connsiteX94" fmla="*/ 590550 w 1466850"/>
                <a:gd name="connsiteY94" fmla="*/ 130969 h 1095375"/>
                <a:gd name="connsiteX95" fmla="*/ 540544 w 1466850"/>
                <a:gd name="connsiteY95" fmla="*/ 161925 h 1095375"/>
                <a:gd name="connsiteX96" fmla="*/ 507206 w 1466850"/>
                <a:gd name="connsiteY96" fmla="*/ 154781 h 1095375"/>
                <a:gd name="connsiteX97" fmla="*/ 495300 w 1466850"/>
                <a:gd name="connsiteY97" fmla="*/ 123825 h 1095375"/>
                <a:gd name="connsiteX98" fmla="*/ 490537 w 1466850"/>
                <a:gd name="connsiteY98" fmla="*/ 114300 h 1095375"/>
                <a:gd name="connsiteX99" fmla="*/ 431006 w 1466850"/>
                <a:gd name="connsiteY99" fmla="*/ 97631 h 1095375"/>
                <a:gd name="connsiteX100" fmla="*/ 442912 w 1466850"/>
                <a:gd name="connsiteY100" fmla="*/ 33337 h 1095375"/>
                <a:gd name="connsiteX101" fmla="*/ 423862 w 1466850"/>
                <a:gd name="connsiteY101" fmla="*/ 19050 h 1095375"/>
                <a:gd name="connsiteX102" fmla="*/ 335756 w 1466850"/>
                <a:gd name="connsiteY102" fmla="*/ 0 h 1095375"/>
                <a:gd name="connsiteX103" fmla="*/ 302419 w 1466850"/>
                <a:gd name="connsiteY103" fmla="*/ 35719 h 1095375"/>
                <a:gd name="connsiteX104" fmla="*/ 266700 w 1466850"/>
                <a:gd name="connsiteY104" fmla="*/ 50006 h 1095375"/>
                <a:gd name="connsiteX105" fmla="*/ 271462 w 1466850"/>
                <a:gd name="connsiteY105" fmla="*/ 95250 h 1095375"/>
                <a:gd name="connsiteX106" fmla="*/ 316706 w 1466850"/>
                <a:gd name="connsiteY106" fmla="*/ 121444 h 1095375"/>
                <a:gd name="connsiteX107" fmla="*/ 302419 w 1466850"/>
                <a:gd name="connsiteY107" fmla="*/ 145256 h 1095375"/>
                <a:gd name="connsiteX108" fmla="*/ 247650 w 1466850"/>
                <a:gd name="connsiteY108" fmla="*/ 159544 h 1095375"/>
                <a:gd name="connsiteX109" fmla="*/ 214312 w 1466850"/>
                <a:gd name="connsiteY109" fmla="*/ 216694 h 1095375"/>
                <a:gd name="connsiteX110" fmla="*/ 183356 w 1466850"/>
                <a:gd name="connsiteY110" fmla="*/ 221456 h 1095375"/>
                <a:gd name="connsiteX111" fmla="*/ 183356 w 1466850"/>
                <a:gd name="connsiteY111" fmla="*/ 254794 h 1095375"/>
                <a:gd name="connsiteX112" fmla="*/ 161925 w 1466850"/>
                <a:gd name="connsiteY112" fmla="*/ 304800 h 1095375"/>
                <a:gd name="connsiteX113" fmla="*/ 140494 w 1466850"/>
                <a:gd name="connsiteY113" fmla="*/ 323850 h 1095375"/>
                <a:gd name="connsiteX114" fmla="*/ 30956 w 1466850"/>
                <a:gd name="connsiteY114" fmla="*/ 302419 h 1095375"/>
                <a:gd name="connsiteX0" fmla="*/ 30956 w 1466850"/>
                <a:gd name="connsiteY0" fmla="*/ 302419 h 1095375"/>
                <a:gd name="connsiteX1" fmla="*/ 19050 w 1466850"/>
                <a:gd name="connsiteY1" fmla="*/ 381000 h 1095375"/>
                <a:gd name="connsiteX2" fmla="*/ 19050 w 1466850"/>
                <a:gd name="connsiteY2" fmla="*/ 397669 h 1095375"/>
                <a:gd name="connsiteX3" fmla="*/ 0 w 1466850"/>
                <a:gd name="connsiteY3" fmla="*/ 459581 h 1095375"/>
                <a:gd name="connsiteX4" fmla="*/ 7144 w 1466850"/>
                <a:gd name="connsiteY4" fmla="*/ 497681 h 1095375"/>
                <a:gd name="connsiteX5" fmla="*/ 9525 w 1466850"/>
                <a:gd name="connsiteY5" fmla="*/ 535781 h 1095375"/>
                <a:gd name="connsiteX6" fmla="*/ 19050 w 1466850"/>
                <a:gd name="connsiteY6" fmla="*/ 583406 h 1095375"/>
                <a:gd name="connsiteX7" fmla="*/ 23812 w 1466850"/>
                <a:gd name="connsiteY7" fmla="*/ 688181 h 1095375"/>
                <a:gd name="connsiteX8" fmla="*/ 35719 w 1466850"/>
                <a:gd name="connsiteY8" fmla="*/ 747712 h 1095375"/>
                <a:gd name="connsiteX9" fmla="*/ 40481 w 1466850"/>
                <a:gd name="connsiteY9" fmla="*/ 778669 h 1095375"/>
                <a:gd name="connsiteX10" fmla="*/ 47625 w 1466850"/>
                <a:gd name="connsiteY10" fmla="*/ 831056 h 1095375"/>
                <a:gd name="connsiteX11" fmla="*/ 38100 w 1466850"/>
                <a:gd name="connsiteY11" fmla="*/ 919162 h 1095375"/>
                <a:gd name="connsiteX12" fmla="*/ 78581 w 1466850"/>
                <a:gd name="connsiteY12" fmla="*/ 1028700 h 1095375"/>
                <a:gd name="connsiteX13" fmla="*/ 71437 w 1466850"/>
                <a:gd name="connsiteY13" fmla="*/ 1095375 h 1095375"/>
                <a:gd name="connsiteX14" fmla="*/ 242887 w 1466850"/>
                <a:gd name="connsiteY14" fmla="*/ 1092994 h 1095375"/>
                <a:gd name="connsiteX15" fmla="*/ 238125 w 1466850"/>
                <a:gd name="connsiteY15" fmla="*/ 1045369 h 1095375"/>
                <a:gd name="connsiteX16" fmla="*/ 230981 w 1466850"/>
                <a:gd name="connsiteY16" fmla="*/ 1035844 h 1095375"/>
                <a:gd name="connsiteX17" fmla="*/ 252412 w 1466850"/>
                <a:gd name="connsiteY17" fmla="*/ 1019175 h 1095375"/>
                <a:gd name="connsiteX18" fmla="*/ 314325 w 1466850"/>
                <a:gd name="connsiteY18" fmla="*/ 995362 h 1095375"/>
                <a:gd name="connsiteX19" fmla="*/ 311944 w 1466850"/>
                <a:gd name="connsiteY19" fmla="*/ 959644 h 1095375"/>
                <a:gd name="connsiteX20" fmla="*/ 326231 w 1466850"/>
                <a:gd name="connsiteY20" fmla="*/ 942975 h 1095375"/>
                <a:gd name="connsiteX21" fmla="*/ 452437 w 1466850"/>
                <a:gd name="connsiteY21" fmla="*/ 950119 h 1095375"/>
                <a:gd name="connsiteX22" fmla="*/ 464344 w 1466850"/>
                <a:gd name="connsiteY22" fmla="*/ 933450 h 1095375"/>
                <a:gd name="connsiteX23" fmla="*/ 476250 w 1466850"/>
                <a:gd name="connsiteY23" fmla="*/ 883444 h 1095375"/>
                <a:gd name="connsiteX24" fmla="*/ 488156 w 1466850"/>
                <a:gd name="connsiteY24" fmla="*/ 857250 h 1095375"/>
                <a:gd name="connsiteX25" fmla="*/ 526256 w 1466850"/>
                <a:gd name="connsiteY25" fmla="*/ 862012 h 1095375"/>
                <a:gd name="connsiteX26" fmla="*/ 545306 w 1466850"/>
                <a:gd name="connsiteY26" fmla="*/ 909637 h 1095375"/>
                <a:gd name="connsiteX27" fmla="*/ 566737 w 1466850"/>
                <a:gd name="connsiteY27" fmla="*/ 881062 h 1095375"/>
                <a:gd name="connsiteX28" fmla="*/ 621506 w 1466850"/>
                <a:gd name="connsiteY28" fmla="*/ 845344 h 1095375"/>
                <a:gd name="connsiteX29" fmla="*/ 709612 w 1466850"/>
                <a:gd name="connsiteY29" fmla="*/ 814387 h 1095375"/>
                <a:gd name="connsiteX30" fmla="*/ 716756 w 1466850"/>
                <a:gd name="connsiteY30" fmla="*/ 769144 h 1095375"/>
                <a:gd name="connsiteX31" fmla="*/ 742950 w 1466850"/>
                <a:gd name="connsiteY31" fmla="*/ 750094 h 1095375"/>
                <a:gd name="connsiteX32" fmla="*/ 785812 w 1466850"/>
                <a:gd name="connsiteY32" fmla="*/ 726281 h 1095375"/>
                <a:gd name="connsiteX33" fmla="*/ 800100 w 1466850"/>
                <a:gd name="connsiteY33" fmla="*/ 716756 h 1095375"/>
                <a:gd name="connsiteX34" fmla="*/ 862012 w 1466850"/>
                <a:gd name="connsiteY34" fmla="*/ 721519 h 1095375"/>
                <a:gd name="connsiteX35" fmla="*/ 883444 w 1466850"/>
                <a:gd name="connsiteY35" fmla="*/ 721519 h 1095375"/>
                <a:gd name="connsiteX36" fmla="*/ 892969 w 1466850"/>
                <a:gd name="connsiteY36" fmla="*/ 697706 h 1095375"/>
                <a:gd name="connsiteX37" fmla="*/ 892969 w 1466850"/>
                <a:gd name="connsiteY37" fmla="*/ 697706 h 1095375"/>
                <a:gd name="connsiteX38" fmla="*/ 921544 w 1466850"/>
                <a:gd name="connsiteY38" fmla="*/ 609600 h 1095375"/>
                <a:gd name="connsiteX39" fmla="*/ 909637 w 1466850"/>
                <a:gd name="connsiteY39" fmla="*/ 552450 h 1095375"/>
                <a:gd name="connsiteX40" fmla="*/ 928687 w 1466850"/>
                <a:gd name="connsiteY40" fmla="*/ 540544 h 1095375"/>
                <a:gd name="connsiteX41" fmla="*/ 973931 w 1466850"/>
                <a:gd name="connsiteY41" fmla="*/ 535781 h 1095375"/>
                <a:gd name="connsiteX42" fmla="*/ 1014412 w 1466850"/>
                <a:gd name="connsiteY42" fmla="*/ 447675 h 1095375"/>
                <a:gd name="connsiteX43" fmla="*/ 1038225 w 1466850"/>
                <a:gd name="connsiteY43" fmla="*/ 445294 h 1095375"/>
                <a:gd name="connsiteX44" fmla="*/ 1073944 w 1466850"/>
                <a:gd name="connsiteY44" fmla="*/ 476250 h 1095375"/>
                <a:gd name="connsiteX45" fmla="*/ 1112044 w 1466850"/>
                <a:gd name="connsiteY45" fmla="*/ 514350 h 1095375"/>
                <a:gd name="connsiteX46" fmla="*/ 1171575 w 1466850"/>
                <a:gd name="connsiteY46" fmla="*/ 540544 h 1095375"/>
                <a:gd name="connsiteX47" fmla="*/ 1219200 w 1466850"/>
                <a:gd name="connsiteY47" fmla="*/ 521494 h 1095375"/>
                <a:gd name="connsiteX48" fmla="*/ 1245394 w 1466850"/>
                <a:gd name="connsiteY48" fmla="*/ 502444 h 1095375"/>
                <a:gd name="connsiteX49" fmla="*/ 1278731 w 1466850"/>
                <a:gd name="connsiteY49" fmla="*/ 511969 h 1095375"/>
                <a:gd name="connsiteX50" fmla="*/ 1295400 w 1466850"/>
                <a:gd name="connsiteY50" fmla="*/ 531019 h 1095375"/>
                <a:gd name="connsiteX51" fmla="*/ 1273969 w 1466850"/>
                <a:gd name="connsiteY51" fmla="*/ 573881 h 1095375"/>
                <a:gd name="connsiteX52" fmla="*/ 1271587 w 1466850"/>
                <a:gd name="connsiteY52" fmla="*/ 602456 h 1095375"/>
                <a:gd name="connsiteX53" fmla="*/ 1285875 w 1466850"/>
                <a:gd name="connsiteY53" fmla="*/ 611981 h 1095375"/>
                <a:gd name="connsiteX54" fmla="*/ 1300162 w 1466850"/>
                <a:gd name="connsiteY54" fmla="*/ 628650 h 1095375"/>
                <a:gd name="connsiteX55" fmla="*/ 1321594 w 1466850"/>
                <a:gd name="connsiteY55" fmla="*/ 666750 h 1095375"/>
                <a:gd name="connsiteX56" fmla="*/ 1347787 w 1466850"/>
                <a:gd name="connsiteY56" fmla="*/ 681037 h 1095375"/>
                <a:gd name="connsiteX57" fmla="*/ 1371600 w 1466850"/>
                <a:gd name="connsiteY57" fmla="*/ 681037 h 1095375"/>
                <a:gd name="connsiteX58" fmla="*/ 1376362 w 1466850"/>
                <a:gd name="connsiteY58" fmla="*/ 628650 h 1095375"/>
                <a:gd name="connsiteX59" fmla="*/ 1395412 w 1466850"/>
                <a:gd name="connsiteY59" fmla="*/ 578644 h 1095375"/>
                <a:gd name="connsiteX60" fmla="*/ 1426369 w 1466850"/>
                <a:gd name="connsiteY60" fmla="*/ 571500 h 1095375"/>
                <a:gd name="connsiteX61" fmla="*/ 1466850 w 1466850"/>
                <a:gd name="connsiteY61" fmla="*/ 552450 h 1095375"/>
                <a:gd name="connsiteX62" fmla="*/ 1443037 w 1466850"/>
                <a:gd name="connsiteY62" fmla="*/ 509587 h 1095375"/>
                <a:gd name="connsiteX63" fmla="*/ 1414462 w 1466850"/>
                <a:gd name="connsiteY63" fmla="*/ 464344 h 1095375"/>
                <a:gd name="connsiteX64" fmla="*/ 1388269 w 1466850"/>
                <a:gd name="connsiteY64" fmla="*/ 438150 h 1095375"/>
                <a:gd name="connsiteX65" fmla="*/ 1404937 w 1466850"/>
                <a:gd name="connsiteY65" fmla="*/ 400050 h 1095375"/>
                <a:gd name="connsiteX66" fmla="*/ 1404937 w 1466850"/>
                <a:gd name="connsiteY66" fmla="*/ 383381 h 1095375"/>
                <a:gd name="connsiteX67" fmla="*/ 1431131 w 1466850"/>
                <a:gd name="connsiteY67" fmla="*/ 338137 h 1095375"/>
                <a:gd name="connsiteX68" fmla="*/ 1419225 w 1466850"/>
                <a:gd name="connsiteY68" fmla="*/ 264319 h 1095375"/>
                <a:gd name="connsiteX69" fmla="*/ 1438275 w 1466850"/>
                <a:gd name="connsiteY69" fmla="*/ 202406 h 1095375"/>
                <a:gd name="connsiteX70" fmla="*/ 1435894 w 1466850"/>
                <a:gd name="connsiteY70" fmla="*/ 173831 h 1095375"/>
                <a:gd name="connsiteX71" fmla="*/ 1404937 w 1466850"/>
                <a:gd name="connsiteY71" fmla="*/ 164306 h 1095375"/>
                <a:gd name="connsiteX72" fmla="*/ 1364456 w 1466850"/>
                <a:gd name="connsiteY72" fmla="*/ 154781 h 1095375"/>
                <a:gd name="connsiteX73" fmla="*/ 1293019 w 1466850"/>
                <a:gd name="connsiteY73" fmla="*/ 154781 h 1095375"/>
                <a:gd name="connsiteX74" fmla="*/ 1233487 w 1466850"/>
                <a:gd name="connsiteY74" fmla="*/ 121444 h 1095375"/>
                <a:gd name="connsiteX75" fmla="*/ 1207294 w 1466850"/>
                <a:gd name="connsiteY75" fmla="*/ 114300 h 1095375"/>
                <a:gd name="connsiteX76" fmla="*/ 1188244 w 1466850"/>
                <a:gd name="connsiteY76" fmla="*/ 126206 h 1095375"/>
                <a:gd name="connsiteX77" fmla="*/ 1133475 w 1466850"/>
                <a:gd name="connsiteY77" fmla="*/ 188119 h 1095375"/>
                <a:gd name="connsiteX78" fmla="*/ 1116806 w 1466850"/>
                <a:gd name="connsiteY78" fmla="*/ 188119 h 1095375"/>
                <a:gd name="connsiteX79" fmla="*/ 1078706 w 1466850"/>
                <a:gd name="connsiteY79" fmla="*/ 142875 h 1095375"/>
                <a:gd name="connsiteX80" fmla="*/ 1054894 w 1466850"/>
                <a:gd name="connsiteY80" fmla="*/ 138112 h 1095375"/>
                <a:gd name="connsiteX81" fmla="*/ 997744 w 1466850"/>
                <a:gd name="connsiteY81" fmla="*/ 157162 h 1095375"/>
                <a:gd name="connsiteX82" fmla="*/ 973931 w 1466850"/>
                <a:gd name="connsiteY82" fmla="*/ 178594 h 1095375"/>
                <a:gd name="connsiteX83" fmla="*/ 928687 w 1466850"/>
                <a:gd name="connsiteY83" fmla="*/ 173831 h 1095375"/>
                <a:gd name="connsiteX84" fmla="*/ 878681 w 1466850"/>
                <a:gd name="connsiteY84" fmla="*/ 164306 h 1095375"/>
                <a:gd name="connsiteX85" fmla="*/ 864394 w 1466850"/>
                <a:gd name="connsiteY85" fmla="*/ 83344 h 1095375"/>
                <a:gd name="connsiteX86" fmla="*/ 845344 w 1466850"/>
                <a:gd name="connsiteY86" fmla="*/ 69056 h 1095375"/>
                <a:gd name="connsiteX87" fmla="*/ 747712 w 1466850"/>
                <a:gd name="connsiteY87" fmla="*/ 119062 h 1095375"/>
                <a:gd name="connsiteX88" fmla="*/ 721519 w 1466850"/>
                <a:gd name="connsiteY88" fmla="*/ 140494 h 1095375"/>
                <a:gd name="connsiteX89" fmla="*/ 709612 w 1466850"/>
                <a:gd name="connsiteY89" fmla="*/ 190500 h 1095375"/>
                <a:gd name="connsiteX90" fmla="*/ 707231 w 1466850"/>
                <a:gd name="connsiteY90" fmla="*/ 195262 h 1095375"/>
                <a:gd name="connsiteX91" fmla="*/ 654844 w 1466850"/>
                <a:gd name="connsiteY91" fmla="*/ 190500 h 1095375"/>
                <a:gd name="connsiteX92" fmla="*/ 633412 w 1466850"/>
                <a:gd name="connsiteY92" fmla="*/ 180975 h 1095375"/>
                <a:gd name="connsiteX93" fmla="*/ 614362 w 1466850"/>
                <a:gd name="connsiteY93" fmla="*/ 142875 h 1095375"/>
                <a:gd name="connsiteX94" fmla="*/ 590550 w 1466850"/>
                <a:gd name="connsiteY94" fmla="*/ 130969 h 1095375"/>
                <a:gd name="connsiteX95" fmla="*/ 540544 w 1466850"/>
                <a:gd name="connsiteY95" fmla="*/ 161925 h 1095375"/>
                <a:gd name="connsiteX96" fmla="*/ 507206 w 1466850"/>
                <a:gd name="connsiteY96" fmla="*/ 154781 h 1095375"/>
                <a:gd name="connsiteX97" fmla="*/ 495300 w 1466850"/>
                <a:gd name="connsiteY97" fmla="*/ 123825 h 1095375"/>
                <a:gd name="connsiteX98" fmla="*/ 490537 w 1466850"/>
                <a:gd name="connsiteY98" fmla="*/ 114300 h 1095375"/>
                <a:gd name="connsiteX99" fmla="*/ 431006 w 1466850"/>
                <a:gd name="connsiteY99" fmla="*/ 97631 h 1095375"/>
                <a:gd name="connsiteX100" fmla="*/ 442912 w 1466850"/>
                <a:gd name="connsiteY100" fmla="*/ 33337 h 1095375"/>
                <a:gd name="connsiteX101" fmla="*/ 423862 w 1466850"/>
                <a:gd name="connsiteY101" fmla="*/ 19050 h 1095375"/>
                <a:gd name="connsiteX102" fmla="*/ 335756 w 1466850"/>
                <a:gd name="connsiteY102" fmla="*/ 0 h 1095375"/>
                <a:gd name="connsiteX103" fmla="*/ 302419 w 1466850"/>
                <a:gd name="connsiteY103" fmla="*/ 35719 h 1095375"/>
                <a:gd name="connsiteX104" fmla="*/ 266700 w 1466850"/>
                <a:gd name="connsiteY104" fmla="*/ 50006 h 1095375"/>
                <a:gd name="connsiteX105" fmla="*/ 271462 w 1466850"/>
                <a:gd name="connsiteY105" fmla="*/ 95250 h 1095375"/>
                <a:gd name="connsiteX106" fmla="*/ 316706 w 1466850"/>
                <a:gd name="connsiteY106" fmla="*/ 121444 h 1095375"/>
                <a:gd name="connsiteX107" fmla="*/ 302419 w 1466850"/>
                <a:gd name="connsiteY107" fmla="*/ 145256 h 1095375"/>
                <a:gd name="connsiteX108" fmla="*/ 247650 w 1466850"/>
                <a:gd name="connsiteY108" fmla="*/ 159544 h 1095375"/>
                <a:gd name="connsiteX109" fmla="*/ 214312 w 1466850"/>
                <a:gd name="connsiteY109" fmla="*/ 216694 h 1095375"/>
                <a:gd name="connsiteX110" fmla="*/ 183356 w 1466850"/>
                <a:gd name="connsiteY110" fmla="*/ 221456 h 1095375"/>
                <a:gd name="connsiteX111" fmla="*/ 183356 w 1466850"/>
                <a:gd name="connsiteY111" fmla="*/ 254794 h 1095375"/>
                <a:gd name="connsiteX112" fmla="*/ 161925 w 1466850"/>
                <a:gd name="connsiteY112" fmla="*/ 304800 h 1095375"/>
                <a:gd name="connsiteX113" fmla="*/ 140494 w 1466850"/>
                <a:gd name="connsiteY113" fmla="*/ 323850 h 1095375"/>
                <a:gd name="connsiteX114" fmla="*/ 83344 w 1466850"/>
                <a:gd name="connsiteY114" fmla="*/ 311944 h 1095375"/>
                <a:gd name="connsiteX115" fmla="*/ 30956 w 1466850"/>
                <a:gd name="connsiteY115" fmla="*/ 302419 h 1095375"/>
                <a:gd name="connsiteX0" fmla="*/ 30956 w 1466850"/>
                <a:gd name="connsiteY0" fmla="*/ 302419 h 1095375"/>
                <a:gd name="connsiteX1" fmla="*/ 19050 w 1466850"/>
                <a:gd name="connsiteY1" fmla="*/ 381000 h 1095375"/>
                <a:gd name="connsiteX2" fmla="*/ 19050 w 1466850"/>
                <a:gd name="connsiteY2" fmla="*/ 397669 h 1095375"/>
                <a:gd name="connsiteX3" fmla="*/ 0 w 1466850"/>
                <a:gd name="connsiteY3" fmla="*/ 459581 h 1095375"/>
                <a:gd name="connsiteX4" fmla="*/ 7144 w 1466850"/>
                <a:gd name="connsiteY4" fmla="*/ 497681 h 1095375"/>
                <a:gd name="connsiteX5" fmla="*/ 9525 w 1466850"/>
                <a:gd name="connsiteY5" fmla="*/ 535781 h 1095375"/>
                <a:gd name="connsiteX6" fmla="*/ 19050 w 1466850"/>
                <a:gd name="connsiteY6" fmla="*/ 583406 h 1095375"/>
                <a:gd name="connsiteX7" fmla="*/ 23812 w 1466850"/>
                <a:gd name="connsiteY7" fmla="*/ 688181 h 1095375"/>
                <a:gd name="connsiteX8" fmla="*/ 35719 w 1466850"/>
                <a:gd name="connsiteY8" fmla="*/ 747712 h 1095375"/>
                <a:gd name="connsiteX9" fmla="*/ 40481 w 1466850"/>
                <a:gd name="connsiteY9" fmla="*/ 778669 h 1095375"/>
                <a:gd name="connsiteX10" fmla="*/ 47625 w 1466850"/>
                <a:gd name="connsiteY10" fmla="*/ 831056 h 1095375"/>
                <a:gd name="connsiteX11" fmla="*/ 38100 w 1466850"/>
                <a:gd name="connsiteY11" fmla="*/ 919162 h 1095375"/>
                <a:gd name="connsiteX12" fmla="*/ 78581 w 1466850"/>
                <a:gd name="connsiteY12" fmla="*/ 1028700 h 1095375"/>
                <a:gd name="connsiteX13" fmla="*/ 71437 w 1466850"/>
                <a:gd name="connsiteY13" fmla="*/ 1095375 h 1095375"/>
                <a:gd name="connsiteX14" fmla="*/ 242887 w 1466850"/>
                <a:gd name="connsiteY14" fmla="*/ 1092994 h 1095375"/>
                <a:gd name="connsiteX15" fmla="*/ 238125 w 1466850"/>
                <a:gd name="connsiteY15" fmla="*/ 1045369 h 1095375"/>
                <a:gd name="connsiteX16" fmla="*/ 230981 w 1466850"/>
                <a:gd name="connsiteY16" fmla="*/ 1035844 h 1095375"/>
                <a:gd name="connsiteX17" fmla="*/ 252412 w 1466850"/>
                <a:gd name="connsiteY17" fmla="*/ 1019175 h 1095375"/>
                <a:gd name="connsiteX18" fmla="*/ 314325 w 1466850"/>
                <a:gd name="connsiteY18" fmla="*/ 995362 h 1095375"/>
                <a:gd name="connsiteX19" fmla="*/ 311944 w 1466850"/>
                <a:gd name="connsiteY19" fmla="*/ 959644 h 1095375"/>
                <a:gd name="connsiteX20" fmla="*/ 326231 w 1466850"/>
                <a:gd name="connsiteY20" fmla="*/ 942975 h 1095375"/>
                <a:gd name="connsiteX21" fmla="*/ 452437 w 1466850"/>
                <a:gd name="connsiteY21" fmla="*/ 950119 h 1095375"/>
                <a:gd name="connsiteX22" fmla="*/ 464344 w 1466850"/>
                <a:gd name="connsiteY22" fmla="*/ 933450 h 1095375"/>
                <a:gd name="connsiteX23" fmla="*/ 476250 w 1466850"/>
                <a:gd name="connsiteY23" fmla="*/ 883444 h 1095375"/>
                <a:gd name="connsiteX24" fmla="*/ 488156 w 1466850"/>
                <a:gd name="connsiteY24" fmla="*/ 857250 h 1095375"/>
                <a:gd name="connsiteX25" fmla="*/ 526256 w 1466850"/>
                <a:gd name="connsiteY25" fmla="*/ 862012 h 1095375"/>
                <a:gd name="connsiteX26" fmla="*/ 545306 w 1466850"/>
                <a:gd name="connsiteY26" fmla="*/ 909637 h 1095375"/>
                <a:gd name="connsiteX27" fmla="*/ 566737 w 1466850"/>
                <a:gd name="connsiteY27" fmla="*/ 881062 h 1095375"/>
                <a:gd name="connsiteX28" fmla="*/ 621506 w 1466850"/>
                <a:gd name="connsiteY28" fmla="*/ 845344 h 1095375"/>
                <a:gd name="connsiteX29" fmla="*/ 709612 w 1466850"/>
                <a:gd name="connsiteY29" fmla="*/ 814387 h 1095375"/>
                <a:gd name="connsiteX30" fmla="*/ 716756 w 1466850"/>
                <a:gd name="connsiteY30" fmla="*/ 769144 h 1095375"/>
                <a:gd name="connsiteX31" fmla="*/ 742950 w 1466850"/>
                <a:gd name="connsiteY31" fmla="*/ 750094 h 1095375"/>
                <a:gd name="connsiteX32" fmla="*/ 785812 w 1466850"/>
                <a:gd name="connsiteY32" fmla="*/ 726281 h 1095375"/>
                <a:gd name="connsiteX33" fmla="*/ 800100 w 1466850"/>
                <a:gd name="connsiteY33" fmla="*/ 716756 h 1095375"/>
                <a:gd name="connsiteX34" fmla="*/ 862012 w 1466850"/>
                <a:gd name="connsiteY34" fmla="*/ 721519 h 1095375"/>
                <a:gd name="connsiteX35" fmla="*/ 883444 w 1466850"/>
                <a:gd name="connsiteY35" fmla="*/ 721519 h 1095375"/>
                <a:gd name="connsiteX36" fmla="*/ 892969 w 1466850"/>
                <a:gd name="connsiteY36" fmla="*/ 697706 h 1095375"/>
                <a:gd name="connsiteX37" fmla="*/ 892969 w 1466850"/>
                <a:gd name="connsiteY37" fmla="*/ 697706 h 1095375"/>
                <a:gd name="connsiteX38" fmla="*/ 921544 w 1466850"/>
                <a:gd name="connsiteY38" fmla="*/ 609600 h 1095375"/>
                <a:gd name="connsiteX39" fmla="*/ 909637 w 1466850"/>
                <a:gd name="connsiteY39" fmla="*/ 552450 h 1095375"/>
                <a:gd name="connsiteX40" fmla="*/ 928687 w 1466850"/>
                <a:gd name="connsiteY40" fmla="*/ 540544 h 1095375"/>
                <a:gd name="connsiteX41" fmla="*/ 973931 w 1466850"/>
                <a:gd name="connsiteY41" fmla="*/ 535781 h 1095375"/>
                <a:gd name="connsiteX42" fmla="*/ 1014412 w 1466850"/>
                <a:gd name="connsiteY42" fmla="*/ 447675 h 1095375"/>
                <a:gd name="connsiteX43" fmla="*/ 1038225 w 1466850"/>
                <a:gd name="connsiteY43" fmla="*/ 445294 h 1095375"/>
                <a:gd name="connsiteX44" fmla="*/ 1073944 w 1466850"/>
                <a:gd name="connsiteY44" fmla="*/ 476250 h 1095375"/>
                <a:gd name="connsiteX45" fmla="*/ 1112044 w 1466850"/>
                <a:gd name="connsiteY45" fmla="*/ 514350 h 1095375"/>
                <a:gd name="connsiteX46" fmla="*/ 1171575 w 1466850"/>
                <a:gd name="connsiteY46" fmla="*/ 540544 h 1095375"/>
                <a:gd name="connsiteX47" fmla="*/ 1219200 w 1466850"/>
                <a:gd name="connsiteY47" fmla="*/ 521494 h 1095375"/>
                <a:gd name="connsiteX48" fmla="*/ 1245394 w 1466850"/>
                <a:gd name="connsiteY48" fmla="*/ 502444 h 1095375"/>
                <a:gd name="connsiteX49" fmla="*/ 1278731 w 1466850"/>
                <a:gd name="connsiteY49" fmla="*/ 511969 h 1095375"/>
                <a:gd name="connsiteX50" fmla="*/ 1295400 w 1466850"/>
                <a:gd name="connsiteY50" fmla="*/ 531019 h 1095375"/>
                <a:gd name="connsiteX51" fmla="*/ 1273969 w 1466850"/>
                <a:gd name="connsiteY51" fmla="*/ 573881 h 1095375"/>
                <a:gd name="connsiteX52" fmla="*/ 1271587 w 1466850"/>
                <a:gd name="connsiteY52" fmla="*/ 602456 h 1095375"/>
                <a:gd name="connsiteX53" fmla="*/ 1285875 w 1466850"/>
                <a:gd name="connsiteY53" fmla="*/ 611981 h 1095375"/>
                <a:gd name="connsiteX54" fmla="*/ 1300162 w 1466850"/>
                <a:gd name="connsiteY54" fmla="*/ 628650 h 1095375"/>
                <a:gd name="connsiteX55" fmla="*/ 1321594 w 1466850"/>
                <a:gd name="connsiteY55" fmla="*/ 666750 h 1095375"/>
                <a:gd name="connsiteX56" fmla="*/ 1347787 w 1466850"/>
                <a:gd name="connsiteY56" fmla="*/ 681037 h 1095375"/>
                <a:gd name="connsiteX57" fmla="*/ 1371600 w 1466850"/>
                <a:gd name="connsiteY57" fmla="*/ 681037 h 1095375"/>
                <a:gd name="connsiteX58" fmla="*/ 1376362 w 1466850"/>
                <a:gd name="connsiteY58" fmla="*/ 628650 h 1095375"/>
                <a:gd name="connsiteX59" fmla="*/ 1395412 w 1466850"/>
                <a:gd name="connsiteY59" fmla="*/ 578644 h 1095375"/>
                <a:gd name="connsiteX60" fmla="*/ 1426369 w 1466850"/>
                <a:gd name="connsiteY60" fmla="*/ 571500 h 1095375"/>
                <a:gd name="connsiteX61" fmla="*/ 1466850 w 1466850"/>
                <a:gd name="connsiteY61" fmla="*/ 552450 h 1095375"/>
                <a:gd name="connsiteX62" fmla="*/ 1443037 w 1466850"/>
                <a:gd name="connsiteY62" fmla="*/ 509587 h 1095375"/>
                <a:gd name="connsiteX63" fmla="*/ 1414462 w 1466850"/>
                <a:gd name="connsiteY63" fmla="*/ 464344 h 1095375"/>
                <a:gd name="connsiteX64" fmla="*/ 1388269 w 1466850"/>
                <a:gd name="connsiteY64" fmla="*/ 438150 h 1095375"/>
                <a:gd name="connsiteX65" fmla="*/ 1404937 w 1466850"/>
                <a:gd name="connsiteY65" fmla="*/ 400050 h 1095375"/>
                <a:gd name="connsiteX66" fmla="*/ 1404937 w 1466850"/>
                <a:gd name="connsiteY66" fmla="*/ 383381 h 1095375"/>
                <a:gd name="connsiteX67" fmla="*/ 1431131 w 1466850"/>
                <a:gd name="connsiteY67" fmla="*/ 338137 h 1095375"/>
                <a:gd name="connsiteX68" fmla="*/ 1419225 w 1466850"/>
                <a:gd name="connsiteY68" fmla="*/ 264319 h 1095375"/>
                <a:gd name="connsiteX69" fmla="*/ 1438275 w 1466850"/>
                <a:gd name="connsiteY69" fmla="*/ 202406 h 1095375"/>
                <a:gd name="connsiteX70" fmla="*/ 1435894 w 1466850"/>
                <a:gd name="connsiteY70" fmla="*/ 173831 h 1095375"/>
                <a:gd name="connsiteX71" fmla="*/ 1404937 w 1466850"/>
                <a:gd name="connsiteY71" fmla="*/ 164306 h 1095375"/>
                <a:gd name="connsiteX72" fmla="*/ 1364456 w 1466850"/>
                <a:gd name="connsiteY72" fmla="*/ 154781 h 1095375"/>
                <a:gd name="connsiteX73" fmla="*/ 1293019 w 1466850"/>
                <a:gd name="connsiteY73" fmla="*/ 154781 h 1095375"/>
                <a:gd name="connsiteX74" fmla="*/ 1233487 w 1466850"/>
                <a:gd name="connsiteY74" fmla="*/ 121444 h 1095375"/>
                <a:gd name="connsiteX75" fmla="*/ 1207294 w 1466850"/>
                <a:gd name="connsiteY75" fmla="*/ 114300 h 1095375"/>
                <a:gd name="connsiteX76" fmla="*/ 1188244 w 1466850"/>
                <a:gd name="connsiteY76" fmla="*/ 126206 h 1095375"/>
                <a:gd name="connsiteX77" fmla="*/ 1133475 w 1466850"/>
                <a:gd name="connsiteY77" fmla="*/ 188119 h 1095375"/>
                <a:gd name="connsiteX78" fmla="*/ 1116806 w 1466850"/>
                <a:gd name="connsiteY78" fmla="*/ 188119 h 1095375"/>
                <a:gd name="connsiteX79" fmla="*/ 1078706 w 1466850"/>
                <a:gd name="connsiteY79" fmla="*/ 142875 h 1095375"/>
                <a:gd name="connsiteX80" fmla="*/ 1054894 w 1466850"/>
                <a:gd name="connsiteY80" fmla="*/ 138112 h 1095375"/>
                <a:gd name="connsiteX81" fmla="*/ 997744 w 1466850"/>
                <a:gd name="connsiteY81" fmla="*/ 157162 h 1095375"/>
                <a:gd name="connsiteX82" fmla="*/ 973931 w 1466850"/>
                <a:gd name="connsiteY82" fmla="*/ 178594 h 1095375"/>
                <a:gd name="connsiteX83" fmla="*/ 928687 w 1466850"/>
                <a:gd name="connsiteY83" fmla="*/ 173831 h 1095375"/>
                <a:gd name="connsiteX84" fmla="*/ 878681 w 1466850"/>
                <a:gd name="connsiteY84" fmla="*/ 164306 h 1095375"/>
                <a:gd name="connsiteX85" fmla="*/ 864394 w 1466850"/>
                <a:gd name="connsiteY85" fmla="*/ 83344 h 1095375"/>
                <a:gd name="connsiteX86" fmla="*/ 845344 w 1466850"/>
                <a:gd name="connsiteY86" fmla="*/ 69056 h 1095375"/>
                <a:gd name="connsiteX87" fmla="*/ 747712 w 1466850"/>
                <a:gd name="connsiteY87" fmla="*/ 119062 h 1095375"/>
                <a:gd name="connsiteX88" fmla="*/ 721519 w 1466850"/>
                <a:gd name="connsiteY88" fmla="*/ 140494 h 1095375"/>
                <a:gd name="connsiteX89" fmla="*/ 709612 w 1466850"/>
                <a:gd name="connsiteY89" fmla="*/ 190500 h 1095375"/>
                <a:gd name="connsiteX90" fmla="*/ 707231 w 1466850"/>
                <a:gd name="connsiteY90" fmla="*/ 195262 h 1095375"/>
                <a:gd name="connsiteX91" fmla="*/ 654844 w 1466850"/>
                <a:gd name="connsiteY91" fmla="*/ 190500 h 1095375"/>
                <a:gd name="connsiteX92" fmla="*/ 633412 w 1466850"/>
                <a:gd name="connsiteY92" fmla="*/ 180975 h 1095375"/>
                <a:gd name="connsiteX93" fmla="*/ 614362 w 1466850"/>
                <a:gd name="connsiteY93" fmla="*/ 142875 h 1095375"/>
                <a:gd name="connsiteX94" fmla="*/ 590550 w 1466850"/>
                <a:gd name="connsiteY94" fmla="*/ 130969 h 1095375"/>
                <a:gd name="connsiteX95" fmla="*/ 540544 w 1466850"/>
                <a:gd name="connsiteY95" fmla="*/ 161925 h 1095375"/>
                <a:gd name="connsiteX96" fmla="*/ 507206 w 1466850"/>
                <a:gd name="connsiteY96" fmla="*/ 154781 h 1095375"/>
                <a:gd name="connsiteX97" fmla="*/ 495300 w 1466850"/>
                <a:gd name="connsiteY97" fmla="*/ 123825 h 1095375"/>
                <a:gd name="connsiteX98" fmla="*/ 490537 w 1466850"/>
                <a:gd name="connsiteY98" fmla="*/ 114300 h 1095375"/>
                <a:gd name="connsiteX99" fmla="*/ 431006 w 1466850"/>
                <a:gd name="connsiteY99" fmla="*/ 97631 h 1095375"/>
                <a:gd name="connsiteX100" fmla="*/ 442912 w 1466850"/>
                <a:gd name="connsiteY100" fmla="*/ 33337 h 1095375"/>
                <a:gd name="connsiteX101" fmla="*/ 423862 w 1466850"/>
                <a:gd name="connsiteY101" fmla="*/ 19050 h 1095375"/>
                <a:gd name="connsiteX102" fmla="*/ 335756 w 1466850"/>
                <a:gd name="connsiteY102" fmla="*/ 0 h 1095375"/>
                <a:gd name="connsiteX103" fmla="*/ 302419 w 1466850"/>
                <a:gd name="connsiteY103" fmla="*/ 35719 h 1095375"/>
                <a:gd name="connsiteX104" fmla="*/ 266700 w 1466850"/>
                <a:gd name="connsiteY104" fmla="*/ 50006 h 1095375"/>
                <a:gd name="connsiteX105" fmla="*/ 271462 w 1466850"/>
                <a:gd name="connsiteY105" fmla="*/ 95250 h 1095375"/>
                <a:gd name="connsiteX106" fmla="*/ 316706 w 1466850"/>
                <a:gd name="connsiteY106" fmla="*/ 121444 h 1095375"/>
                <a:gd name="connsiteX107" fmla="*/ 302419 w 1466850"/>
                <a:gd name="connsiteY107" fmla="*/ 145256 h 1095375"/>
                <a:gd name="connsiteX108" fmla="*/ 247650 w 1466850"/>
                <a:gd name="connsiteY108" fmla="*/ 159544 h 1095375"/>
                <a:gd name="connsiteX109" fmla="*/ 214312 w 1466850"/>
                <a:gd name="connsiteY109" fmla="*/ 216694 h 1095375"/>
                <a:gd name="connsiteX110" fmla="*/ 183356 w 1466850"/>
                <a:gd name="connsiteY110" fmla="*/ 221456 h 1095375"/>
                <a:gd name="connsiteX111" fmla="*/ 183356 w 1466850"/>
                <a:gd name="connsiteY111" fmla="*/ 254794 h 1095375"/>
                <a:gd name="connsiteX112" fmla="*/ 161925 w 1466850"/>
                <a:gd name="connsiteY112" fmla="*/ 304800 h 1095375"/>
                <a:gd name="connsiteX113" fmla="*/ 140494 w 1466850"/>
                <a:gd name="connsiteY113" fmla="*/ 323850 h 1095375"/>
                <a:gd name="connsiteX114" fmla="*/ 78581 w 1466850"/>
                <a:gd name="connsiteY114" fmla="*/ 326232 h 1095375"/>
                <a:gd name="connsiteX115" fmla="*/ 30956 w 1466850"/>
                <a:gd name="connsiteY115" fmla="*/ 302419 h 1095375"/>
                <a:gd name="connsiteX0" fmla="*/ 30956 w 1466850"/>
                <a:gd name="connsiteY0" fmla="*/ 316706 h 1095375"/>
                <a:gd name="connsiteX1" fmla="*/ 19050 w 1466850"/>
                <a:gd name="connsiteY1" fmla="*/ 381000 h 1095375"/>
                <a:gd name="connsiteX2" fmla="*/ 19050 w 1466850"/>
                <a:gd name="connsiteY2" fmla="*/ 397669 h 1095375"/>
                <a:gd name="connsiteX3" fmla="*/ 0 w 1466850"/>
                <a:gd name="connsiteY3" fmla="*/ 459581 h 1095375"/>
                <a:gd name="connsiteX4" fmla="*/ 7144 w 1466850"/>
                <a:gd name="connsiteY4" fmla="*/ 497681 h 1095375"/>
                <a:gd name="connsiteX5" fmla="*/ 9525 w 1466850"/>
                <a:gd name="connsiteY5" fmla="*/ 535781 h 1095375"/>
                <a:gd name="connsiteX6" fmla="*/ 19050 w 1466850"/>
                <a:gd name="connsiteY6" fmla="*/ 583406 h 1095375"/>
                <a:gd name="connsiteX7" fmla="*/ 23812 w 1466850"/>
                <a:gd name="connsiteY7" fmla="*/ 688181 h 1095375"/>
                <a:gd name="connsiteX8" fmla="*/ 35719 w 1466850"/>
                <a:gd name="connsiteY8" fmla="*/ 747712 h 1095375"/>
                <a:gd name="connsiteX9" fmla="*/ 40481 w 1466850"/>
                <a:gd name="connsiteY9" fmla="*/ 778669 h 1095375"/>
                <a:gd name="connsiteX10" fmla="*/ 47625 w 1466850"/>
                <a:gd name="connsiteY10" fmla="*/ 831056 h 1095375"/>
                <a:gd name="connsiteX11" fmla="*/ 38100 w 1466850"/>
                <a:gd name="connsiteY11" fmla="*/ 919162 h 1095375"/>
                <a:gd name="connsiteX12" fmla="*/ 78581 w 1466850"/>
                <a:gd name="connsiteY12" fmla="*/ 1028700 h 1095375"/>
                <a:gd name="connsiteX13" fmla="*/ 71437 w 1466850"/>
                <a:gd name="connsiteY13" fmla="*/ 1095375 h 1095375"/>
                <a:gd name="connsiteX14" fmla="*/ 242887 w 1466850"/>
                <a:gd name="connsiteY14" fmla="*/ 1092994 h 1095375"/>
                <a:gd name="connsiteX15" fmla="*/ 238125 w 1466850"/>
                <a:gd name="connsiteY15" fmla="*/ 1045369 h 1095375"/>
                <a:gd name="connsiteX16" fmla="*/ 230981 w 1466850"/>
                <a:gd name="connsiteY16" fmla="*/ 1035844 h 1095375"/>
                <a:gd name="connsiteX17" fmla="*/ 252412 w 1466850"/>
                <a:gd name="connsiteY17" fmla="*/ 1019175 h 1095375"/>
                <a:gd name="connsiteX18" fmla="*/ 314325 w 1466850"/>
                <a:gd name="connsiteY18" fmla="*/ 995362 h 1095375"/>
                <a:gd name="connsiteX19" fmla="*/ 311944 w 1466850"/>
                <a:gd name="connsiteY19" fmla="*/ 959644 h 1095375"/>
                <a:gd name="connsiteX20" fmla="*/ 326231 w 1466850"/>
                <a:gd name="connsiteY20" fmla="*/ 942975 h 1095375"/>
                <a:gd name="connsiteX21" fmla="*/ 452437 w 1466850"/>
                <a:gd name="connsiteY21" fmla="*/ 950119 h 1095375"/>
                <a:gd name="connsiteX22" fmla="*/ 464344 w 1466850"/>
                <a:gd name="connsiteY22" fmla="*/ 933450 h 1095375"/>
                <a:gd name="connsiteX23" fmla="*/ 476250 w 1466850"/>
                <a:gd name="connsiteY23" fmla="*/ 883444 h 1095375"/>
                <a:gd name="connsiteX24" fmla="*/ 488156 w 1466850"/>
                <a:gd name="connsiteY24" fmla="*/ 857250 h 1095375"/>
                <a:gd name="connsiteX25" fmla="*/ 526256 w 1466850"/>
                <a:gd name="connsiteY25" fmla="*/ 862012 h 1095375"/>
                <a:gd name="connsiteX26" fmla="*/ 545306 w 1466850"/>
                <a:gd name="connsiteY26" fmla="*/ 909637 h 1095375"/>
                <a:gd name="connsiteX27" fmla="*/ 566737 w 1466850"/>
                <a:gd name="connsiteY27" fmla="*/ 881062 h 1095375"/>
                <a:gd name="connsiteX28" fmla="*/ 621506 w 1466850"/>
                <a:gd name="connsiteY28" fmla="*/ 845344 h 1095375"/>
                <a:gd name="connsiteX29" fmla="*/ 709612 w 1466850"/>
                <a:gd name="connsiteY29" fmla="*/ 814387 h 1095375"/>
                <a:gd name="connsiteX30" fmla="*/ 716756 w 1466850"/>
                <a:gd name="connsiteY30" fmla="*/ 769144 h 1095375"/>
                <a:gd name="connsiteX31" fmla="*/ 742950 w 1466850"/>
                <a:gd name="connsiteY31" fmla="*/ 750094 h 1095375"/>
                <a:gd name="connsiteX32" fmla="*/ 785812 w 1466850"/>
                <a:gd name="connsiteY32" fmla="*/ 726281 h 1095375"/>
                <a:gd name="connsiteX33" fmla="*/ 800100 w 1466850"/>
                <a:gd name="connsiteY33" fmla="*/ 716756 h 1095375"/>
                <a:gd name="connsiteX34" fmla="*/ 862012 w 1466850"/>
                <a:gd name="connsiteY34" fmla="*/ 721519 h 1095375"/>
                <a:gd name="connsiteX35" fmla="*/ 883444 w 1466850"/>
                <a:gd name="connsiteY35" fmla="*/ 721519 h 1095375"/>
                <a:gd name="connsiteX36" fmla="*/ 892969 w 1466850"/>
                <a:gd name="connsiteY36" fmla="*/ 697706 h 1095375"/>
                <a:gd name="connsiteX37" fmla="*/ 892969 w 1466850"/>
                <a:gd name="connsiteY37" fmla="*/ 697706 h 1095375"/>
                <a:gd name="connsiteX38" fmla="*/ 921544 w 1466850"/>
                <a:gd name="connsiteY38" fmla="*/ 609600 h 1095375"/>
                <a:gd name="connsiteX39" fmla="*/ 909637 w 1466850"/>
                <a:gd name="connsiteY39" fmla="*/ 552450 h 1095375"/>
                <a:gd name="connsiteX40" fmla="*/ 928687 w 1466850"/>
                <a:gd name="connsiteY40" fmla="*/ 540544 h 1095375"/>
                <a:gd name="connsiteX41" fmla="*/ 973931 w 1466850"/>
                <a:gd name="connsiteY41" fmla="*/ 535781 h 1095375"/>
                <a:gd name="connsiteX42" fmla="*/ 1014412 w 1466850"/>
                <a:gd name="connsiteY42" fmla="*/ 447675 h 1095375"/>
                <a:gd name="connsiteX43" fmla="*/ 1038225 w 1466850"/>
                <a:gd name="connsiteY43" fmla="*/ 445294 h 1095375"/>
                <a:gd name="connsiteX44" fmla="*/ 1073944 w 1466850"/>
                <a:gd name="connsiteY44" fmla="*/ 476250 h 1095375"/>
                <a:gd name="connsiteX45" fmla="*/ 1112044 w 1466850"/>
                <a:gd name="connsiteY45" fmla="*/ 514350 h 1095375"/>
                <a:gd name="connsiteX46" fmla="*/ 1171575 w 1466850"/>
                <a:gd name="connsiteY46" fmla="*/ 540544 h 1095375"/>
                <a:gd name="connsiteX47" fmla="*/ 1219200 w 1466850"/>
                <a:gd name="connsiteY47" fmla="*/ 521494 h 1095375"/>
                <a:gd name="connsiteX48" fmla="*/ 1245394 w 1466850"/>
                <a:gd name="connsiteY48" fmla="*/ 502444 h 1095375"/>
                <a:gd name="connsiteX49" fmla="*/ 1278731 w 1466850"/>
                <a:gd name="connsiteY49" fmla="*/ 511969 h 1095375"/>
                <a:gd name="connsiteX50" fmla="*/ 1295400 w 1466850"/>
                <a:gd name="connsiteY50" fmla="*/ 531019 h 1095375"/>
                <a:gd name="connsiteX51" fmla="*/ 1273969 w 1466850"/>
                <a:gd name="connsiteY51" fmla="*/ 573881 h 1095375"/>
                <a:gd name="connsiteX52" fmla="*/ 1271587 w 1466850"/>
                <a:gd name="connsiteY52" fmla="*/ 602456 h 1095375"/>
                <a:gd name="connsiteX53" fmla="*/ 1285875 w 1466850"/>
                <a:gd name="connsiteY53" fmla="*/ 611981 h 1095375"/>
                <a:gd name="connsiteX54" fmla="*/ 1300162 w 1466850"/>
                <a:gd name="connsiteY54" fmla="*/ 628650 h 1095375"/>
                <a:gd name="connsiteX55" fmla="*/ 1321594 w 1466850"/>
                <a:gd name="connsiteY55" fmla="*/ 666750 h 1095375"/>
                <a:gd name="connsiteX56" fmla="*/ 1347787 w 1466850"/>
                <a:gd name="connsiteY56" fmla="*/ 681037 h 1095375"/>
                <a:gd name="connsiteX57" fmla="*/ 1371600 w 1466850"/>
                <a:gd name="connsiteY57" fmla="*/ 681037 h 1095375"/>
                <a:gd name="connsiteX58" fmla="*/ 1376362 w 1466850"/>
                <a:gd name="connsiteY58" fmla="*/ 628650 h 1095375"/>
                <a:gd name="connsiteX59" fmla="*/ 1395412 w 1466850"/>
                <a:gd name="connsiteY59" fmla="*/ 578644 h 1095375"/>
                <a:gd name="connsiteX60" fmla="*/ 1426369 w 1466850"/>
                <a:gd name="connsiteY60" fmla="*/ 571500 h 1095375"/>
                <a:gd name="connsiteX61" fmla="*/ 1466850 w 1466850"/>
                <a:gd name="connsiteY61" fmla="*/ 552450 h 1095375"/>
                <a:gd name="connsiteX62" fmla="*/ 1443037 w 1466850"/>
                <a:gd name="connsiteY62" fmla="*/ 509587 h 1095375"/>
                <a:gd name="connsiteX63" fmla="*/ 1414462 w 1466850"/>
                <a:gd name="connsiteY63" fmla="*/ 464344 h 1095375"/>
                <a:gd name="connsiteX64" fmla="*/ 1388269 w 1466850"/>
                <a:gd name="connsiteY64" fmla="*/ 438150 h 1095375"/>
                <a:gd name="connsiteX65" fmla="*/ 1404937 w 1466850"/>
                <a:gd name="connsiteY65" fmla="*/ 400050 h 1095375"/>
                <a:gd name="connsiteX66" fmla="*/ 1404937 w 1466850"/>
                <a:gd name="connsiteY66" fmla="*/ 383381 h 1095375"/>
                <a:gd name="connsiteX67" fmla="*/ 1431131 w 1466850"/>
                <a:gd name="connsiteY67" fmla="*/ 338137 h 1095375"/>
                <a:gd name="connsiteX68" fmla="*/ 1419225 w 1466850"/>
                <a:gd name="connsiteY68" fmla="*/ 264319 h 1095375"/>
                <a:gd name="connsiteX69" fmla="*/ 1438275 w 1466850"/>
                <a:gd name="connsiteY69" fmla="*/ 202406 h 1095375"/>
                <a:gd name="connsiteX70" fmla="*/ 1435894 w 1466850"/>
                <a:gd name="connsiteY70" fmla="*/ 173831 h 1095375"/>
                <a:gd name="connsiteX71" fmla="*/ 1404937 w 1466850"/>
                <a:gd name="connsiteY71" fmla="*/ 164306 h 1095375"/>
                <a:gd name="connsiteX72" fmla="*/ 1364456 w 1466850"/>
                <a:gd name="connsiteY72" fmla="*/ 154781 h 1095375"/>
                <a:gd name="connsiteX73" fmla="*/ 1293019 w 1466850"/>
                <a:gd name="connsiteY73" fmla="*/ 154781 h 1095375"/>
                <a:gd name="connsiteX74" fmla="*/ 1233487 w 1466850"/>
                <a:gd name="connsiteY74" fmla="*/ 121444 h 1095375"/>
                <a:gd name="connsiteX75" fmla="*/ 1207294 w 1466850"/>
                <a:gd name="connsiteY75" fmla="*/ 114300 h 1095375"/>
                <a:gd name="connsiteX76" fmla="*/ 1188244 w 1466850"/>
                <a:gd name="connsiteY76" fmla="*/ 126206 h 1095375"/>
                <a:gd name="connsiteX77" fmla="*/ 1133475 w 1466850"/>
                <a:gd name="connsiteY77" fmla="*/ 188119 h 1095375"/>
                <a:gd name="connsiteX78" fmla="*/ 1116806 w 1466850"/>
                <a:gd name="connsiteY78" fmla="*/ 188119 h 1095375"/>
                <a:gd name="connsiteX79" fmla="*/ 1078706 w 1466850"/>
                <a:gd name="connsiteY79" fmla="*/ 142875 h 1095375"/>
                <a:gd name="connsiteX80" fmla="*/ 1054894 w 1466850"/>
                <a:gd name="connsiteY80" fmla="*/ 138112 h 1095375"/>
                <a:gd name="connsiteX81" fmla="*/ 997744 w 1466850"/>
                <a:gd name="connsiteY81" fmla="*/ 157162 h 1095375"/>
                <a:gd name="connsiteX82" fmla="*/ 973931 w 1466850"/>
                <a:gd name="connsiteY82" fmla="*/ 178594 h 1095375"/>
                <a:gd name="connsiteX83" fmla="*/ 928687 w 1466850"/>
                <a:gd name="connsiteY83" fmla="*/ 173831 h 1095375"/>
                <a:gd name="connsiteX84" fmla="*/ 878681 w 1466850"/>
                <a:gd name="connsiteY84" fmla="*/ 164306 h 1095375"/>
                <a:gd name="connsiteX85" fmla="*/ 864394 w 1466850"/>
                <a:gd name="connsiteY85" fmla="*/ 83344 h 1095375"/>
                <a:gd name="connsiteX86" fmla="*/ 845344 w 1466850"/>
                <a:gd name="connsiteY86" fmla="*/ 69056 h 1095375"/>
                <a:gd name="connsiteX87" fmla="*/ 747712 w 1466850"/>
                <a:gd name="connsiteY87" fmla="*/ 119062 h 1095375"/>
                <a:gd name="connsiteX88" fmla="*/ 721519 w 1466850"/>
                <a:gd name="connsiteY88" fmla="*/ 140494 h 1095375"/>
                <a:gd name="connsiteX89" fmla="*/ 709612 w 1466850"/>
                <a:gd name="connsiteY89" fmla="*/ 190500 h 1095375"/>
                <a:gd name="connsiteX90" fmla="*/ 707231 w 1466850"/>
                <a:gd name="connsiteY90" fmla="*/ 195262 h 1095375"/>
                <a:gd name="connsiteX91" fmla="*/ 654844 w 1466850"/>
                <a:gd name="connsiteY91" fmla="*/ 190500 h 1095375"/>
                <a:gd name="connsiteX92" fmla="*/ 633412 w 1466850"/>
                <a:gd name="connsiteY92" fmla="*/ 180975 h 1095375"/>
                <a:gd name="connsiteX93" fmla="*/ 614362 w 1466850"/>
                <a:gd name="connsiteY93" fmla="*/ 142875 h 1095375"/>
                <a:gd name="connsiteX94" fmla="*/ 590550 w 1466850"/>
                <a:gd name="connsiteY94" fmla="*/ 130969 h 1095375"/>
                <a:gd name="connsiteX95" fmla="*/ 540544 w 1466850"/>
                <a:gd name="connsiteY95" fmla="*/ 161925 h 1095375"/>
                <a:gd name="connsiteX96" fmla="*/ 507206 w 1466850"/>
                <a:gd name="connsiteY96" fmla="*/ 154781 h 1095375"/>
                <a:gd name="connsiteX97" fmla="*/ 495300 w 1466850"/>
                <a:gd name="connsiteY97" fmla="*/ 123825 h 1095375"/>
                <a:gd name="connsiteX98" fmla="*/ 490537 w 1466850"/>
                <a:gd name="connsiteY98" fmla="*/ 114300 h 1095375"/>
                <a:gd name="connsiteX99" fmla="*/ 431006 w 1466850"/>
                <a:gd name="connsiteY99" fmla="*/ 97631 h 1095375"/>
                <a:gd name="connsiteX100" fmla="*/ 442912 w 1466850"/>
                <a:gd name="connsiteY100" fmla="*/ 33337 h 1095375"/>
                <a:gd name="connsiteX101" fmla="*/ 423862 w 1466850"/>
                <a:gd name="connsiteY101" fmla="*/ 19050 h 1095375"/>
                <a:gd name="connsiteX102" fmla="*/ 335756 w 1466850"/>
                <a:gd name="connsiteY102" fmla="*/ 0 h 1095375"/>
                <a:gd name="connsiteX103" fmla="*/ 302419 w 1466850"/>
                <a:gd name="connsiteY103" fmla="*/ 35719 h 1095375"/>
                <a:gd name="connsiteX104" fmla="*/ 266700 w 1466850"/>
                <a:gd name="connsiteY104" fmla="*/ 50006 h 1095375"/>
                <a:gd name="connsiteX105" fmla="*/ 271462 w 1466850"/>
                <a:gd name="connsiteY105" fmla="*/ 95250 h 1095375"/>
                <a:gd name="connsiteX106" fmla="*/ 316706 w 1466850"/>
                <a:gd name="connsiteY106" fmla="*/ 121444 h 1095375"/>
                <a:gd name="connsiteX107" fmla="*/ 302419 w 1466850"/>
                <a:gd name="connsiteY107" fmla="*/ 145256 h 1095375"/>
                <a:gd name="connsiteX108" fmla="*/ 247650 w 1466850"/>
                <a:gd name="connsiteY108" fmla="*/ 159544 h 1095375"/>
                <a:gd name="connsiteX109" fmla="*/ 214312 w 1466850"/>
                <a:gd name="connsiteY109" fmla="*/ 216694 h 1095375"/>
                <a:gd name="connsiteX110" fmla="*/ 183356 w 1466850"/>
                <a:gd name="connsiteY110" fmla="*/ 221456 h 1095375"/>
                <a:gd name="connsiteX111" fmla="*/ 183356 w 1466850"/>
                <a:gd name="connsiteY111" fmla="*/ 254794 h 1095375"/>
                <a:gd name="connsiteX112" fmla="*/ 161925 w 1466850"/>
                <a:gd name="connsiteY112" fmla="*/ 304800 h 1095375"/>
                <a:gd name="connsiteX113" fmla="*/ 140494 w 1466850"/>
                <a:gd name="connsiteY113" fmla="*/ 323850 h 1095375"/>
                <a:gd name="connsiteX114" fmla="*/ 78581 w 1466850"/>
                <a:gd name="connsiteY114" fmla="*/ 326232 h 1095375"/>
                <a:gd name="connsiteX115" fmla="*/ 30956 w 1466850"/>
                <a:gd name="connsiteY115" fmla="*/ 316706 h 1095375"/>
                <a:gd name="connsiteX0" fmla="*/ 30956 w 1466850"/>
                <a:gd name="connsiteY0" fmla="*/ 295274 h 1095375"/>
                <a:gd name="connsiteX1" fmla="*/ 19050 w 1466850"/>
                <a:gd name="connsiteY1" fmla="*/ 381000 h 1095375"/>
                <a:gd name="connsiteX2" fmla="*/ 19050 w 1466850"/>
                <a:gd name="connsiteY2" fmla="*/ 397669 h 1095375"/>
                <a:gd name="connsiteX3" fmla="*/ 0 w 1466850"/>
                <a:gd name="connsiteY3" fmla="*/ 459581 h 1095375"/>
                <a:gd name="connsiteX4" fmla="*/ 7144 w 1466850"/>
                <a:gd name="connsiteY4" fmla="*/ 497681 h 1095375"/>
                <a:gd name="connsiteX5" fmla="*/ 9525 w 1466850"/>
                <a:gd name="connsiteY5" fmla="*/ 535781 h 1095375"/>
                <a:gd name="connsiteX6" fmla="*/ 19050 w 1466850"/>
                <a:gd name="connsiteY6" fmla="*/ 583406 h 1095375"/>
                <a:gd name="connsiteX7" fmla="*/ 23812 w 1466850"/>
                <a:gd name="connsiteY7" fmla="*/ 688181 h 1095375"/>
                <a:gd name="connsiteX8" fmla="*/ 35719 w 1466850"/>
                <a:gd name="connsiteY8" fmla="*/ 747712 h 1095375"/>
                <a:gd name="connsiteX9" fmla="*/ 40481 w 1466850"/>
                <a:gd name="connsiteY9" fmla="*/ 778669 h 1095375"/>
                <a:gd name="connsiteX10" fmla="*/ 47625 w 1466850"/>
                <a:gd name="connsiteY10" fmla="*/ 831056 h 1095375"/>
                <a:gd name="connsiteX11" fmla="*/ 38100 w 1466850"/>
                <a:gd name="connsiteY11" fmla="*/ 919162 h 1095375"/>
                <a:gd name="connsiteX12" fmla="*/ 78581 w 1466850"/>
                <a:gd name="connsiteY12" fmla="*/ 1028700 h 1095375"/>
                <a:gd name="connsiteX13" fmla="*/ 71437 w 1466850"/>
                <a:gd name="connsiteY13" fmla="*/ 1095375 h 1095375"/>
                <a:gd name="connsiteX14" fmla="*/ 242887 w 1466850"/>
                <a:gd name="connsiteY14" fmla="*/ 1092994 h 1095375"/>
                <a:gd name="connsiteX15" fmla="*/ 238125 w 1466850"/>
                <a:gd name="connsiteY15" fmla="*/ 1045369 h 1095375"/>
                <a:gd name="connsiteX16" fmla="*/ 230981 w 1466850"/>
                <a:gd name="connsiteY16" fmla="*/ 1035844 h 1095375"/>
                <a:gd name="connsiteX17" fmla="*/ 252412 w 1466850"/>
                <a:gd name="connsiteY17" fmla="*/ 1019175 h 1095375"/>
                <a:gd name="connsiteX18" fmla="*/ 314325 w 1466850"/>
                <a:gd name="connsiteY18" fmla="*/ 995362 h 1095375"/>
                <a:gd name="connsiteX19" fmla="*/ 311944 w 1466850"/>
                <a:gd name="connsiteY19" fmla="*/ 959644 h 1095375"/>
                <a:gd name="connsiteX20" fmla="*/ 326231 w 1466850"/>
                <a:gd name="connsiteY20" fmla="*/ 942975 h 1095375"/>
                <a:gd name="connsiteX21" fmla="*/ 452437 w 1466850"/>
                <a:gd name="connsiteY21" fmla="*/ 950119 h 1095375"/>
                <a:gd name="connsiteX22" fmla="*/ 464344 w 1466850"/>
                <a:gd name="connsiteY22" fmla="*/ 933450 h 1095375"/>
                <a:gd name="connsiteX23" fmla="*/ 476250 w 1466850"/>
                <a:gd name="connsiteY23" fmla="*/ 883444 h 1095375"/>
                <a:gd name="connsiteX24" fmla="*/ 488156 w 1466850"/>
                <a:gd name="connsiteY24" fmla="*/ 857250 h 1095375"/>
                <a:gd name="connsiteX25" fmla="*/ 526256 w 1466850"/>
                <a:gd name="connsiteY25" fmla="*/ 862012 h 1095375"/>
                <a:gd name="connsiteX26" fmla="*/ 545306 w 1466850"/>
                <a:gd name="connsiteY26" fmla="*/ 909637 h 1095375"/>
                <a:gd name="connsiteX27" fmla="*/ 566737 w 1466850"/>
                <a:gd name="connsiteY27" fmla="*/ 881062 h 1095375"/>
                <a:gd name="connsiteX28" fmla="*/ 621506 w 1466850"/>
                <a:gd name="connsiteY28" fmla="*/ 845344 h 1095375"/>
                <a:gd name="connsiteX29" fmla="*/ 709612 w 1466850"/>
                <a:gd name="connsiteY29" fmla="*/ 814387 h 1095375"/>
                <a:gd name="connsiteX30" fmla="*/ 716756 w 1466850"/>
                <a:gd name="connsiteY30" fmla="*/ 769144 h 1095375"/>
                <a:gd name="connsiteX31" fmla="*/ 742950 w 1466850"/>
                <a:gd name="connsiteY31" fmla="*/ 750094 h 1095375"/>
                <a:gd name="connsiteX32" fmla="*/ 785812 w 1466850"/>
                <a:gd name="connsiteY32" fmla="*/ 726281 h 1095375"/>
                <a:gd name="connsiteX33" fmla="*/ 800100 w 1466850"/>
                <a:gd name="connsiteY33" fmla="*/ 716756 h 1095375"/>
                <a:gd name="connsiteX34" fmla="*/ 862012 w 1466850"/>
                <a:gd name="connsiteY34" fmla="*/ 721519 h 1095375"/>
                <a:gd name="connsiteX35" fmla="*/ 883444 w 1466850"/>
                <a:gd name="connsiteY35" fmla="*/ 721519 h 1095375"/>
                <a:gd name="connsiteX36" fmla="*/ 892969 w 1466850"/>
                <a:gd name="connsiteY36" fmla="*/ 697706 h 1095375"/>
                <a:gd name="connsiteX37" fmla="*/ 892969 w 1466850"/>
                <a:gd name="connsiteY37" fmla="*/ 697706 h 1095375"/>
                <a:gd name="connsiteX38" fmla="*/ 921544 w 1466850"/>
                <a:gd name="connsiteY38" fmla="*/ 609600 h 1095375"/>
                <a:gd name="connsiteX39" fmla="*/ 909637 w 1466850"/>
                <a:gd name="connsiteY39" fmla="*/ 552450 h 1095375"/>
                <a:gd name="connsiteX40" fmla="*/ 928687 w 1466850"/>
                <a:gd name="connsiteY40" fmla="*/ 540544 h 1095375"/>
                <a:gd name="connsiteX41" fmla="*/ 973931 w 1466850"/>
                <a:gd name="connsiteY41" fmla="*/ 535781 h 1095375"/>
                <a:gd name="connsiteX42" fmla="*/ 1014412 w 1466850"/>
                <a:gd name="connsiteY42" fmla="*/ 447675 h 1095375"/>
                <a:gd name="connsiteX43" fmla="*/ 1038225 w 1466850"/>
                <a:gd name="connsiteY43" fmla="*/ 445294 h 1095375"/>
                <a:gd name="connsiteX44" fmla="*/ 1073944 w 1466850"/>
                <a:gd name="connsiteY44" fmla="*/ 476250 h 1095375"/>
                <a:gd name="connsiteX45" fmla="*/ 1112044 w 1466850"/>
                <a:gd name="connsiteY45" fmla="*/ 514350 h 1095375"/>
                <a:gd name="connsiteX46" fmla="*/ 1171575 w 1466850"/>
                <a:gd name="connsiteY46" fmla="*/ 540544 h 1095375"/>
                <a:gd name="connsiteX47" fmla="*/ 1219200 w 1466850"/>
                <a:gd name="connsiteY47" fmla="*/ 521494 h 1095375"/>
                <a:gd name="connsiteX48" fmla="*/ 1245394 w 1466850"/>
                <a:gd name="connsiteY48" fmla="*/ 502444 h 1095375"/>
                <a:gd name="connsiteX49" fmla="*/ 1278731 w 1466850"/>
                <a:gd name="connsiteY49" fmla="*/ 511969 h 1095375"/>
                <a:gd name="connsiteX50" fmla="*/ 1295400 w 1466850"/>
                <a:gd name="connsiteY50" fmla="*/ 531019 h 1095375"/>
                <a:gd name="connsiteX51" fmla="*/ 1273969 w 1466850"/>
                <a:gd name="connsiteY51" fmla="*/ 573881 h 1095375"/>
                <a:gd name="connsiteX52" fmla="*/ 1271587 w 1466850"/>
                <a:gd name="connsiteY52" fmla="*/ 602456 h 1095375"/>
                <a:gd name="connsiteX53" fmla="*/ 1285875 w 1466850"/>
                <a:gd name="connsiteY53" fmla="*/ 611981 h 1095375"/>
                <a:gd name="connsiteX54" fmla="*/ 1300162 w 1466850"/>
                <a:gd name="connsiteY54" fmla="*/ 628650 h 1095375"/>
                <a:gd name="connsiteX55" fmla="*/ 1321594 w 1466850"/>
                <a:gd name="connsiteY55" fmla="*/ 666750 h 1095375"/>
                <a:gd name="connsiteX56" fmla="*/ 1347787 w 1466850"/>
                <a:gd name="connsiteY56" fmla="*/ 681037 h 1095375"/>
                <a:gd name="connsiteX57" fmla="*/ 1371600 w 1466850"/>
                <a:gd name="connsiteY57" fmla="*/ 681037 h 1095375"/>
                <a:gd name="connsiteX58" fmla="*/ 1376362 w 1466850"/>
                <a:gd name="connsiteY58" fmla="*/ 628650 h 1095375"/>
                <a:gd name="connsiteX59" fmla="*/ 1395412 w 1466850"/>
                <a:gd name="connsiteY59" fmla="*/ 578644 h 1095375"/>
                <a:gd name="connsiteX60" fmla="*/ 1426369 w 1466850"/>
                <a:gd name="connsiteY60" fmla="*/ 571500 h 1095375"/>
                <a:gd name="connsiteX61" fmla="*/ 1466850 w 1466850"/>
                <a:gd name="connsiteY61" fmla="*/ 552450 h 1095375"/>
                <a:gd name="connsiteX62" fmla="*/ 1443037 w 1466850"/>
                <a:gd name="connsiteY62" fmla="*/ 509587 h 1095375"/>
                <a:gd name="connsiteX63" fmla="*/ 1414462 w 1466850"/>
                <a:gd name="connsiteY63" fmla="*/ 464344 h 1095375"/>
                <a:gd name="connsiteX64" fmla="*/ 1388269 w 1466850"/>
                <a:gd name="connsiteY64" fmla="*/ 438150 h 1095375"/>
                <a:gd name="connsiteX65" fmla="*/ 1404937 w 1466850"/>
                <a:gd name="connsiteY65" fmla="*/ 400050 h 1095375"/>
                <a:gd name="connsiteX66" fmla="*/ 1404937 w 1466850"/>
                <a:gd name="connsiteY66" fmla="*/ 383381 h 1095375"/>
                <a:gd name="connsiteX67" fmla="*/ 1431131 w 1466850"/>
                <a:gd name="connsiteY67" fmla="*/ 338137 h 1095375"/>
                <a:gd name="connsiteX68" fmla="*/ 1419225 w 1466850"/>
                <a:gd name="connsiteY68" fmla="*/ 264319 h 1095375"/>
                <a:gd name="connsiteX69" fmla="*/ 1438275 w 1466850"/>
                <a:gd name="connsiteY69" fmla="*/ 202406 h 1095375"/>
                <a:gd name="connsiteX70" fmla="*/ 1435894 w 1466850"/>
                <a:gd name="connsiteY70" fmla="*/ 173831 h 1095375"/>
                <a:gd name="connsiteX71" fmla="*/ 1404937 w 1466850"/>
                <a:gd name="connsiteY71" fmla="*/ 164306 h 1095375"/>
                <a:gd name="connsiteX72" fmla="*/ 1364456 w 1466850"/>
                <a:gd name="connsiteY72" fmla="*/ 154781 h 1095375"/>
                <a:gd name="connsiteX73" fmla="*/ 1293019 w 1466850"/>
                <a:gd name="connsiteY73" fmla="*/ 154781 h 1095375"/>
                <a:gd name="connsiteX74" fmla="*/ 1233487 w 1466850"/>
                <a:gd name="connsiteY74" fmla="*/ 121444 h 1095375"/>
                <a:gd name="connsiteX75" fmla="*/ 1207294 w 1466850"/>
                <a:gd name="connsiteY75" fmla="*/ 114300 h 1095375"/>
                <a:gd name="connsiteX76" fmla="*/ 1188244 w 1466850"/>
                <a:gd name="connsiteY76" fmla="*/ 126206 h 1095375"/>
                <a:gd name="connsiteX77" fmla="*/ 1133475 w 1466850"/>
                <a:gd name="connsiteY77" fmla="*/ 188119 h 1095375"/>
                <a:gd name="connsiteX78" fmla="*/ 1116806 w 1466850"/>
                <a:gd name="connsiteY78" fmla="*/ 188119 h 1095375"/>
                <a:gd name="connsiteX79" fmla="*/ 1078706 w 1466850"/>
                <a:gd name="connsiteY79" fmla="*/ 142875 h 1095375"/>
                <a:gd name="connsiteX80" fmla="*/ 1054894 w 1466850"/>
                <a:gd name="connsiteY80" fmla="*/ 138112 h 1095375"/>
                <a:gd name="connsiteX81" fmla="*/ 997744 w 1466850"/>
                <a:gd name="connsiteY81" fmla="*/ 157162 h 1095375"/>
                <a:gd name="connsiteX82" fmla="*/ 973931 w 1466850"/>
                <a:gd name="connsiteY82" fmla="*/ 178594 h 1095375"/>
                <a:gd name="connsiteX83" fmla="*/ 928687 w 1466850"/>
                <a:gd name="connsiteY83" fmla="*/ 173831 h 1095375"/>
                <a:gd name="connsiteX84" fmla="*/ 878681 w 1466850"/>
                <a:gd name="connsiteY84" fmla="*/ 164306 h 1095375"/>
                <a:gd name="connsiteX85" fmla="*/ 864394 w 1466850"/>
                <a:gd name="connsiteY85" fmla="*/ 83344 h 1095375"/>
                <a:gd name="connsiteX86" fmla="*/ 845344 w 1466850"/>
                <a:gd name="connsiteY86" fmla="*/ 69056 h 1095375"/>
                <a:gd name="connsiteX87" fmla="*/ 747712 w 1466850"/>
                <a:gd name="connsiteY87" fmla="*/ 119062 h 1095375"/>
                <a:gd name="connsiteX88" fmla="*/ 721519 w 1466850"/>
                <a:gd name="connsiteY88" fmla="*/ 140494 h 1095375"/>
                <a:gd name="connsiteX89" fmla="*/ 709612 w 1466850"/>
                <a:gd name="connsiteY89" fmla="*/ 190500 h 1095375"/>
                <a:gd name="connsiteX90" fmla="*/ 707231 w 1466850"/>
                <a:gd name="connsiteY90" fmla="*/ 195262 h 1095375"/>
                <a:gd name="connsiteX91" fmla="*/ 654844 w 1466850"/>
                <a:gd name="connsiteY91" fmla="*/ 190500 h 1095375"/>
                <a:gd name="connsiteX92" fmla="*/ 633412 w 1466850"/>
                <a:gd name="connsiteY92" fmla="*/ 180975 h 1095375"/>
                <a:gd name="connsiteX93" fmla="*/ 614362 w 1466850"/>
                <a:gd name="connsiteY93" fmla="*/ 142875 h 1095375"/>
                <a:gd name="connsiteX94" fmla="*/ 590550 w 1466850"/>
                <a:gd name="connsiteY94" fmla="*/ 130969 h 1095375"/>
                <a:gd name="connsiteX95" fmla="*/ 540544 w 1466850"/>
                <a:gd name="connsiteY95" fmla="*/ 161925 h 1095375"/>
                <a:gd name="connsiteX96" fmla="*/ 507206 w 1466850"/>
                <a:gd name="connsiteY96" fmla="*/ 154781 h 1095375"/>
                <a:gd name="connsiteX97" fmla="*/ 495300 w 1466850"/>
                <a:gd name="connsiteY97" fmla="*/ 123825 h 1095375"/>
                <a:gd name="connsiteX98" fmla="*/ 490537 w 1466850"/>
                <a:gd name="connsiteY98" fmla="*/ 114300 h 1095375"/>
                <a:gd name="connsiteX99" fmla="*/ 431006 w 1466850"/>
                <a:gd name="connsiteY99" fmla="*/ 97631 h 1095375"/>
                <a:gd name="connsiteX100" fmla="*/ 442912 w 1466850"/>
                <a:gd name="connsiteY100" fmla="*/ 33337 h 1095375"/>
                <a:gd name="connsiteX101" fmla="*/ 423862 w 1466850"/>
                <a:gd name="connsiteY101" fmla="*/ 19050 h 1095375"/>
                <a:gd name="connsiteX102" fmla="*/ 335756 w 1466850"/>
                <a:gd name="connsiteY102" fmla="*/ 0 h 1095375"/>
                <a:gd name="connsiteX103" fmla="*/ 302419 w 1466850"/>
                <a:gd name="connsiteY103" fmla="*/ 35719 h 1095375"/>
                <a:gd name="connsiteX104" fmla="*/ 266700 w 1466850"/>
                <a:gd name="connsiteY104" fmla="*/ 50006 h 1095375"/>
                <a:gd name="connsiteX105" fmla="*/ 271462 w 1466850"/>
                <a:gd name="connsiteY105" fmla="*/ 95250 h 1095375"/>
                <a:gd name="connsiteX106" fmla="*/ 316706 w 1466850"/>
                <a:gd name="connsiteY106" fmla="*/ 121444 h 1095375"/>
                <a:gd name="connsiteX107" fmla="*/ 302419 w 1466850"/>
                <a:gd name="connsiteY107" fmla="*/ 145256 h 1095375"/>
                <a:gd name="connsiteX108" fmla="*/ 247650 w 1466850"/>
                <a:gd name="connsiteY108" fmla="*/ 159544 h 1095375"/>
                <a:gd name="connsiteX109" fmla="*/ 214312 w 1466850"/>
                <a:gd name="connsiteY109" fmla="*/ 216694 h 1095375"/>
                <a:gd name="connsiteX110" fmla="*/ 183356 w 1466850"/>
                <a:gd name="connsiteY110" fmla="*/ 221456 h 1095375"/>
                <a:gd name="connsiteX111" fmla="*/ 183356 w 1466850"/>
                <a:gd name="connsiteY111" fmla="*/ 254794 h 1095375"/>
                <a:gd name="connsiteX112" fmla="*/ 161925 w 1466850"/>
                <a:gd name="connsiteY112" fmla="*/ 304800 h 1095375"/>
                <a:gd name="connsiteX113" fmla="*/ 140494 w 1466850"/>
                <a:gd name="connsiteY113" fmla="*/ 323850 h 1095375"/>
                <a:gd name="connsiteX114" fmla="*/ 78581 w 1466850"/>
                <a:gd name="connsiteY114" fmla="*/ 326232 h 1095375"/>
                <a:gd name="connsiteX115" fmla="*/ 30956 w 1466850"/>
                <a:gd name="connsiteY115" fmla="*/ 295274 h 1095375"/>
                <a:gd name="connsiteX0" fmla="*/ 30956 w 1466850"/>
                <a:gd name="connsiteY0" fmla="*/ 295274 h 1095375"/>
                <a:gd name="connsiteX1" fmla="*/ 19050 w 1466850"/>
                <a:gd name="connsiteY1" fmla="*/ 381000 h 1095375"/>
                <a:gd name="connsiteX2" fmla="*/ 19050 w 1466850"/>
                <a:gd name="connsiteY2" fmla="*/ 397669 h 1095375"/>
                <a:gd name="connsiteX3" fmla="*/ 0 w 1466850"/>
                <a:gd name="connsiteY3" fmla="*/ 459581 h 1095375"/>
                <a:gd name="connsiteX4" fmla="*/ 7144 w 1466850"/>
                <a:gd name="connsiteY4" fmla="*/ 497681 h 1095375"/>
                <a:gd name="connsiteX5" fmla="*/ 9525 w 1466850"/>
                <a:gd name="connsiteY5" fmla="*/ 535781 h 1095375"/>
                <a:gd name="connsiteX6" fmla="*/ 19050 w 1466850"/>
                <a:gd name="connsiteY6" fmla="*/ 583406 h 1095375"/>
                <a:gd name="connsiteX7" fmla="*/ 23812 w 1466850"/>
                <a:gd name="connsiteY7" fmla="*/ 688181 h 1095375"/>
                <a:gd name="connsiteX8" fmla="*/ 35719 w 1466850"/>
                <a:gd name="connsiteY8" fmla="*/ 747712 h 1095375"/>
                <a:gd name="connsiteX9" fmla="*/ 40481 w 1466850"/>
                <a:gd name="connsiteY9" fmla="*/ 778669 h 1095375"/>
                <a:gd name="connsiteX10" fmla="*/ 47625 w 1466850"/>
                <a:gd name="connsiteY10" fmla="*/ 831056 h 1095375"/>
                <a:gd name="connsiteX11" fmla="*/ 38100 w 1466850"/>
                <a:gd name="connsiteY11" fmla="*/ 919162 h 1095375"/>
                <a:gd name="connsiteX12" fmla="*/ 78581 w 1466850"/>
                <a:gd name="connsiteY12" fmla="*/ 1028700 h 1095375"/>
                <a:gd name="connsiteX13" fmla="*/ 71437 w 1466850"/>
                <a:gd name="connsiteY13" fmla="*/ 1095375 h 1095375"/>
                <a:gd name="connsiteX14" fmla="*/ 242887 w 1466850"/>
                <a:gd name="connsiteY14" fmla="*/ 1092994 h 1095375"/>
                <a:gd name="connsiteX15" fmla="*/ 238125 w 1466850"/>
                <a:gd name="connsiteY15" fmla="*/ 1045369 h 1095375"/>
                <a:gd name="connsiteX16" fmla="*/ 230981 w 1466850"/>
                <a:gd name="connsiteY16" fmla="*/ 1035844 h 1095375"/>
                <a:gd name="connsiteX17" fmla="*/ 252412 w 1466850"/>
                <a:gd name="connsiteY17" fmla="*/ 1019175 h 1095375"/>
                <a:gd name="connsiteX18" fmla="*/ 314325 w 1466850"/>
                <a:gd name="connsiteY18" fmla="*/ 995362 h 1095375"/>
                <a:gd name="connsiteX19" fmla="*/ 311944 w 1466850"/>
                <a:gd name="connsiteY19" fmla="*/ 959644 h 1095375"/>
                <a:gd name="connsiteX20" fmla="*/ 326231 w 1466850"/>
                <a:gd name="connsiteY20" fmla="*/ 942975 h 1095375"/>
                <a:gd name="connsiteX21" fmla="*/ 452437 w 1466850"/>
                <a:gd name="connsiteY21" fmla="*/ 950119 h 1095375"/>
                <a:gd name="connsiteX22" fmla="*/ 464344 w 1466850"/>
                <a:gd name="connsiteY22" fmla="*/ 933450 h 1095375"/>
                <a:gd name="connsiteX23" fmla="*/ 476250 w 1466850"/>
                <a:gd name="connsiteY23" fmla="*/ 883444 h 1095375"/>
                <a:gd name="connsiteX24" fmla="*/ 488156 w 1466850"/>
                <a:gd name="connsiteY24" fmla="*/ 857250 h 1095375"/>
                <a:gd name="connsiteX25" fmla="*/ 526256 w 1466850"/>
                <a:gd name="connsiteY25" fmla="*/ 862012 h 1095375"/>
                <a:gd name="connsiteX26" fmla="*/ 545306 w 1466850"/>
                <a:gd name="connsiteY26" fmla="*/ 909637 h 1095375"/>
                <a:gd name="connsiteX27" fmla="*/ 566737 w 1466850"/>
                <a:gd name="connsiteY27" fmla="*/ 881062 h 1095375"/>
                <a:gd name="connsiteX28" fmla="*/ 621506 w 1466850"/>
                <a:gd name="connsiteY28" fmla="*/ 845344 h 1095375"/>
                <a:gd name="connsiteX29" fmla="*/ 709612 w 1466850"/>
                <a:gd name="connsiteY29" fmla="*/ 814387 h 1095375"/>
                <a:gd name="connsiteX30" fmla="*/ 716756 w 1466850"/>
                <a:gd name="connsiteY30" fmla="*/ 769144 h 1095375"/>
                <a:gd name="connsiteX31" fmla="*/ 742950 w 1466850"/>
                <a:gd name="connsiteY31" fmla="*/ 750094 h 1095375"/>
                <a:gd name="connsiteX32" fmla="*/ 785812 w 1466850"/>
                <a:gd name="connsiteY32" fmla="*/ 726281 h 1095375"/>
                <a:gd name="connsiteX33" fmla="*/ 800100 w 1466850"/>
                <a:gd name="connsiteY33" fmla="*/ 716756 h 1095375"/>
                <a:gd name="connsiteX34" fmla="*/ 862012 w 1466850"/>
                <a:gd name="connsiteY34" fmla="*/ 721519 h 1095375"/>
                <a:gd name="connsiteX35" fmla="*/ 883444 w 1466850"/>
                <a:gd name="connsiteY35" fmla="*/ 721519 h 1095375"/>
                <a:gd name="connsiteX36" fmla="*/ 892969 w 1466850"/>
                <a:gd name="connsiteY36" fmla="*/ 697706 h 1095375"/>
                <a:gd name="connsiteX37" fmla="*/ 892969 w 1466850"/>
                <a:gd name="connsiteY37" fmla="*/ 697706 h 1095375"/>
                <a:gd name="connsiteX38" fmla="*/ 921544 w 1466850"/>
                <a:gd name="connsiteY38" fmla="*/ 609600 h 1095375"/>
                <a:gd name="connsiteX39" fmla="*/ 909637 w 1466850"/>
                <a:gd name="connsiteY39" fmla="*/ 552450 h 1095375"/>
                <a:gd name="connsiteX40" fmla="*/ 928687 w 1466850"/>
                <a:gd name="connsiteY40" fmla="*/ 540544 h 1095375"/>
                <a:gd name="connsiteX41" fmla="*/ 973931 w 1466850"/>
                <a:gd name="connsiteY41" fmla="*/ 535781 h 1095375"/>
                <a:gd name="connsiteX42" fmla="*/ 1014412 w 1466850"/>
                <a:gd name="connsiteY42" fmla="*/ 447675 h 1095375"/>
                <a:gd name="connsiteX43" fmla="*/ 1038225 w 1466850"/>
                <a:gd name="connsiteY43" fmla="*/ 445294 h 1095375"/>
                <a:gd name="connsiteX44" fmla="*/ 1073944 w 1466850"/>
                <a:gd name="connsiteY44" fmla="*/ 476250 h 1095375"/>
                <a:gd name="connsiteX45" fmla="*/ 1112044 w 1466850"/>
                <a:gd name="connsiteY45" fmla="*/ 514350 h 1095375"/>
                <a:gd name="connsiteX46" fmla="*/ 1171575 w 1466850"/>
                <a:gd name="connsiteY46" fmla="*/ 540544 h 1095375"/>
                <a:gd name="connsiteX47" fmla="*/ 1219200 w 1466850"/>
                <a:gd name="connsiteY47" fmla="*/ 521494 h 1095375"/>
                <a:gd name="connsiteX48" fmla="*/ 1245394 w 1466850"/>
                <a:gd name="connsiteY48" fmla="*/ 502444 h 1095375"/>
                <a:gd name="connsiteX49" fmla="*/ 1278731 w 1466850"/>
                <a:gd name="connsiteY49" fmla="*/ 511969 h 1095375"/>
                <a:gd name="connsiteX50" fmla="*/ 1295400 w 1466850"/>
                <a:gd name="connsiteY50" fmla="*/ 531019 h 1095375"/>
                <a:gd name="connsiteX51" fmla="*/ 1273969 w 1466850"/>
                <a:gd name="connsiteY51" fmla="*/ 573881 h 1095375"/>
                <a:gd name="connsiteX52" fmla="*/ 1271587 w 1466850"/>
                <a:gd name="connsiteY52" fmla="*/ 602456 h 1095375"/>
                <a:gd name="connsiteX53" fmla="*/ 1285875 w 1466850"/>
                <a:gd name="connsiteY53" fmla="*/ 611981 h 1095375"/>
                <a:gd name="connsiteX54" fmla="*/ 1300162 w 1466850"/>
                <a:gd name="connsiteY54" fmla="*/ 628650 h 1095375"/>
                <a:gd name="connsiteX55" fmla="*/ 1321594 w 1466850"/>
                <a:gd name="connsiteY55" fmla="*/ 666750 h 1095375"/>
                <a:gd name="connsiteX56" fmla="*/ 1347787 w 1466850"/>
                <a:gd name="connsiteY56" fmla="*/ 681037 h 1095375"/>
                <a:gd name="connsiteX57" fmla="*/ 1371600 w 1466850"/>
                <a:gd name="connsiteY57" fmla="*/ 681037 h 1095375"/>
                <a:gd name="connsiteX58" fmla="*/ 1376362 w 1466850"/>
                <a:gd name="connsiteY58" fmla="*/ 628650 h 1095375"/>
                <a:gd name="connsiteX59" fmla="*/ 1395412 w 1466850"/>
                <a:gd name="connsiteY59" fmla="*/ 578644 h 1095375"/>
                <a:gd name="connsiteX60" fmla="*/ 1426369 w 1466850"/>
                <a:gd name="connsiteY60" fmla="*/ 571500 h 1095375"/>
                <a:gd name="connsiteX61" fmla="*/ 1466850 w 1466850"/>
                <a:gd name="connsiteY61" fmla="*/ 552450 h 1095375"/>
                <a:gd name="connsiteX62" fmla="*/ 1443037 w 1466850"/>
                <a:gd name="connsiteY62" fmla="*/ 509587 h 1095375"/>
                <a:gd name="connsiteX63" fmla="*/ 1414462 w 1466850"/>
                <a:gd name="connsiteY63" fmla="*/ 464344 h 1095375"/>
                <a:gd name="connsiteX64" fmla="*/ 1388269 w 1466850"/>
                <a:gd name="connsiteY64" fmla="*/ 438150 h 1095375"/>
                <a:gd name="connsiteX65" fmla="*/ 1404937 w 1466850"/>
                <a:gd name="connsiteY65" fmla="*/ 400050 h 1095375"/>
                <a:gd name="connsiteX66" fmla="*/ 1404937 w 1466850"/>
                <a:gd name="connsiteY66" fmla="*/ 383381 h 1095375"/>
                <a:gd name="connsiteX67" fmla="*/ 1431131 w 1466850"/>
                <a:gd name="connsiteY67" fmla="*/ 338137 h 1095375"/>
                <a:gd name="connsiteX68" fmla="*/ 1419225 w 1466850"/>
                <a:gd name="connsiteY68" fmla="*/ 264319 h 1095375"/>
                <a:gd name="connsiteX69" fmla="*/ 1438275 w 1466850"/>
                <a:gd name="connsiteY69" fmla="*/ 202406 h 1095375"/>
                <a:gd name="connsiteX70" fmla="*/ 1435894 w 1466850"/>
                <a:gd name="connsiteY70" fmla="*/ 173831 h 1095375"/>
                <a:gd name="connsiteX71" fmla="*/ 1404937 w 1466850"/>
                <a:gd name="connsiteY71" fmla="*/ 164306 h 1095375"/>
                <a:gd name="connsiteX72" fmla="*/ 1364456 w 1466850"/>
                <a:gd name="connsiteY72" fmla="*/ 154781 h 1095375"/>
                <a:gd name="connsiteX73" fmla="*/ 1293019 w 1466850"/>
                <a:gd name="connsiteY73" fmla="*/ 154781 h 1095375"/>
                <a:gd name="connsiteX74" fmla="*/ 1233487 w 1466850"/>
                <a:gd name="connsiteY74" fmla="*/ 121444 h 1095375"/>
                <a:gd name="connsiteX75" fmla="*/ 1207294 w 1466850"/>
                <a:gd name="connsiteY75" fmla="*/ 114300 h 1095375"/>
                <a:gd name="connsiteX76" fmla="*/ 1188244 w 1466850"/>
                <a:gd name="connsiteY76" fmla="*/ 126206 h 1095375"/>
                <a:gd name="connsiteX77" fmla="*/ 1133475 w 1466850"/>
                <a:gd name="connsiteY77" fmla="*/ 188119 h 1095375"/>
                <a:gd name="connsiteX78" fmla="*/ 1116806 w 1466850"/>
                <a:gd name="connsiteY78" fmla="*/ 188119 h 1095375"/>
                <a:gd name="connsiteX79" fmla="*/ 1078706 w 1466850"/>
                <a:gd name="connsiteY79" fmla="*/ 142875 h 1095375"/>
                <a:gd name="connsiteX80" fmla="*/ 1054894 w 1466850"/>
                <a:gd name="connsiteY80" fmla="*/ 138112 h 1095375"/>
                <a:gd name="connsiteX81" fmla="*/ 997744 w 1466850"/>
                <a:gd name="connsiteY81" fmla="*/ 157162 h 1095375"/>
                <a:gd name="connsiteX82" fmla="*/ 973931 w 1466850"/>
                <a:gd name="connsiteY82" fmla="*/ 178594 h 1095375"/>
                <a:gd name="connsiteX83" fmla="*/ 928687 w 1466850"/>
                <a:gd name="connsiteY83" fmla="*/ 173831 h 1095375"/>
                <a:gd name="connsiteX84" fmla="*/ 878681 w 1466850"/>
                <a:gd name="connsiteY84" fmla="*/ 164306 h 1095375"/>
                <a:gd name="connsiteX85" fmla="*/ 864394 w 1466850"/>
                <a:gd name="connsiteY85" fmla="*/ 83344 h 1095375"/>
                <a:gd name="connsiteX86" fmla="*/ 845344 w 1466850"/>
                <a:gd name="connsiteY86" fmla="*/ 69056 h 1095375"/>
                <a:gd name="connsiteX87" fmla="*/ 747712 w 1466850"/>
                <a:gd name="connsiteY87" fmla="*/ 119062 h 1095375"/>
                <a:gd name="connsiteX88" fmla="*/ 721519 w 1466850"/>
                <a:gd name="connsiteY88" fmla="*/ 140494 h 1095375"/>
                <a:gd name="connsiteX89" fmla="*/ 709612 w 1466850"/>
                <a:gd name="connsiteY89" fmla="*/ 190500 h 1095375"/>
                <a:gd name="connsiteX90" fmla="*/ 707231 w 1466850"/>
                <a:gd name="connsiteY90" fmla="*/ 195262 h 1095375"/>
                <a:gd name="connsiteX91" fmla="*/ 654844 w 1466850"/>
                <a:gd name="connsiteY91" fmla="*/ 190500 h 1095375"/>
                <a:gd name="connsiteX92" fmla="*/ 633412 w 1466850"/>
                <a:gd name="connsiteY92" fmla="*/ 180975 h 1095375"/>
                <a:gd name="connsiteX93" fmla="*/ 614362 w 1466850"/>
                <a:gd name="connsiteY93" fmla="*/ 142875 h 1095375"/>
                <a:gd name="connsiteX94" fmla="*/ 590550 w 1466850"/>
                <a:gd name="connsiteY94" fmla="*/ 130969 h 1095375"/>
                <a:gd name="connsiteX95" fmla="*/ 540544 w 1466850"/>
                <a:gd name="connsiteY95" fmla="*/ 161925 h 1095375"/>
                <a:gd name="connsiteX96" fmla="*/ 507206 w 1466850"/>
                <a:gd name="connsiteY96" fmla="*/ 154781 h 1095375"/>
                <a:gd name="connsiteX97" fmla="*/ 495300 w 1466850"/>
                <a:gd name="connsiteY97" fmla="*/ 123825 h 1095375"/>
                <a:gd name="connsiteX98" fmla="*/ 490537 w 1466850"/>
                <a:gd name="connsiteY98" fmla="*/ 114300 h 1095375"/>
                <a:gd name="connsiteX99" fmla="*/ 431006 w 1466850"/>
                <a:gd name="connsiteY99" fmla="*/ 97631 h 1095375"/>
                <a:gd name="connsiteX100" fmla="*/ 442912 w 1466850"/>
                <a:gd name="connsiteY100" fmla="*/ 33337 h 1095375"/>
                <a:gd name="connsiteX101" fmla="*/ 423862 w 1466850"/>
                <a:gd name="connsiteY101" fmla="*/ 19050 h 1095375"/>
                <a:gd name="connsiteX102" fmla="*/ 335756 w 1466850"/>
                <a:gd name="connsiteY102" fmla="*/ 0 h 1095375"/>
                <a:gd name="connsiteX103" fmla="*/ 302419 w 1466850"/>
                <a:gd name="connsiteY103" fmla="*/ 35719 h 1095375"/>
                <a:gd name="connsiteX104" fmla="*/ 266700 w 1466850"/>
                <a:gd name="connsiteY104" fmla="*/ 50006 h 1095375"/>
                <a:gd name="connsiteX105" fmla="*/ 271462 w 1466850"/>
                <a:gd name="connsiteY105" fmla="*/ 95250 h 1095375"/>
                <a:gd name="connsiteX106" fmla="*/ 316706 w 1466850"/>
                <a:gd name="connsiteY106" fmla="*/ 121444 h 1095375"/>
                <a:gd name="connsiteX107" fmla="*/ 302419 w 1466850"/>
                <a:gd name="connsiteY107" fmla="*/ 145256 h 1095375"/>
                <a:gd name="connsiteX108" fmla="*/ 247650 w 1466850"/>
                <a:gd name="connsiteY108" fmla="*/ 159544 h 1095375"/>
                <a:gd name="connsiteX109" fmla="*/ 214312 w 1466850"/>
                <a:gd name="connsiteY109" fmla="*/ 216694 h 1095375"/>
                <a:gd name="connsiteX110" fmla="*/ 183356 w 1466850"/>
                <a:gd name="connsiteY110" fmla="*/ 221456 h 1095375"/>
                <a:gd name="connsiteX111" fmla="*/ 183356 w 1466850"/>
                <a:gd name="connsiteY111" fmla="*/ 254794 h 1095375"/>
                <a:gd name="connsiteX112" fmla="*/ 161925 w 1466850"/>
                <a:gd name="connsiteY112" fmla="*/ 304800 h 1095375"/>
                <a:gd name="connsiteX113" fmla="*/ 140494 w 1466850"/>
                <a:gd name="connsiteY113" fmla="*/ 323850 h 1095375"/>
                <a:gd name="connsiteX114" fmla="*/ 54769 w 1466850"/>
                <a:gd name="connsiteY114" fmla="*/ 311945 h 1095375"/>
                <a:gd name="connsiteX115" fmla="*/ 30956 w 1466850"/>
                <a:gd name="connsiteY115" fmla="*/ 295274 h 1095375"/>
                <a:gd name="connsiteX0" fmla="*/ 30956 w 1466850"/>
                <a:gd name="connsiteY0" fmla="*/ 295274 h 1095375"/>
                <a:gd name="connsiteX1" fmla="*/ 19050 w 1466850"/>
                <a:gd name="connsiteY1" fmla="*/ 381000 h 1095375"/>
                <a:gd name="connsiteX2" fmla="*/ 19050 w 1466850"/>
                <a:gd name="connsiteY2" fmla="*/ 397669 h 1095375"/>
                <a:gd name="connsiteX3" fmla="*/ 0 w 1466850"/>
                <a:gd name="connsiteY3" fmla="*/ 459581 h 1095375"/>
                <a:gd name="connsiteX4" fmla="*/ 7144 w 1466850"/>
                <a:gd name="connsiteY4" fmla="*/ 497681 h 1095375"/>
                <a:gd name="connsiteX5" fmla="*/ 9525 w 1466850"/>
                <a:gd name="connsiteY5" fmla="*/ 535781 h 1095375"/>
                <a:gd name="connsiteX6" fmla="*/ 19050 w 1466850"/>
                <a:gd name="connsiteY6" fmla="*/ 583406 h 1095375"/>
                <a:gd name="connsiteX7" fmla="*/ 23812 w 1466850"/>
                <a:gd name="connsiteY7" fmla="*/ 688181 h 1095375"/>
                <a:gd name="connsiteX8" fmla="*/ 35719 w 1466850"/>
                <a:gd name="connsiteY8" fmla="*/ 747712 h 1095375"/>
                <a:gd name="connsiteX9" fmla="*/ 40481 w 1466850"/>
                <a:gd name="connsiteY9" fmla="*/ 778669 h 1095375"/>
                <a:gd name="connsiteX10" fmla="*/ 47625 w 1466850"/>
                <a:gd name="connsiteY10" fmla="*/ 831056 h 1095375"/>
                <a:gd name="connsiteX11" fmla="*/ 38100 w 1466850"/>
                <a:gd name="connsiteY11" fmla="*/ 919162 h 1095375"/>
                <a:gd name="connsiteX12" fmla="*/ 78581 w 1466850"/>
                <a:gd name="connsiteY12" fmla="*/ 1028700 h 1095375"/>
                <a:gd name="connsiteX13" fmla="*/ 71437 w 1466850"/>
                <a:gd name="connsiteY13" fmla="*/ 1095375 h 1095375"/>
                <a:gd name="connsiteX14" fmla="*/ 242887 w 1466850"/>
                <a:gd name="connsiteY14" fmla="*/ 1092994 h 1095375"/>
                <a:gd name="connsiteX15" fmla="*/ 238125 w 1466850"/>
                <a:gd name="connsiteY15" fmla="*/ 1045369 h 1095375"/>
                <a:gd name="connsiteX16" fmla="*/ 230981 w 1466850"/>
                <a:gd name="connsiteY16" fmla="*/ 1035844 h 1095375"/>
                <a:gd name="connsiteX17" fmla="*/ 252412 w 1466850"/>
                <a:gd name="connsiteY17" fmla="*/ 1019175 h 1095375"/>
                <a:gd name="connsiteX18" fmla="*/ 314325 w 1466850"/>
                <a:gd name="connsiteY18" fmla="*/ 995362 h 1095375"/>
                <a:gd name="connsiteX19" fmla="*/ 311944 w 1466850"/>
                <a:gd name="connsiteY19" fmla="*/ 959644 h 1095375"/>
                <a:gd name="connsiteX20" fmla="*/ 326231 w 1466850"/>
                <a:gd name="connsiteY20" fmla="*/ 942975 h 1095375"/>
                <a:gd name="connsiteX21" fmla="*/ 452437 w 1466850"/>
                <a:gd name="connsiteY21" fmla="*/ 950119 h 1095375"/>
                <a:gd name="connsiteX22" fmla="*/ 464344 w 1466850"/>
                <a:gd name="connsiteY22" fmla="*/ 933450 h 1095375"/>
                <a:gd name="connsiteX23" fmla="*/ 476250 w 1466850"/>
                <a:gd name="connsiteY23" fmla="*/ 883444 h 1095375"/>
                <a:gd name="connsiteX24" fmla="*/ 488156 w 1466850"/>
                <a:gd name="connsiteY24" fmla="*/ 857250 h 1095375"/>
                <a:gd name="connsiteX25" fmla="*/ 526256 w 1466850"/>
                <a:gd name="connsiteY25" fmla="*/ 862012 h 1095375"/>
                <a:gd name="connsiteX26" fmla="*/ 545306 w 1466850"/>
                <a:gd name="connsiteY26" fmla="*/ 909637 h 1095375"/>
                <a:gd name="connsiteX27" fmla="*/ 566737 w 1466850"/>
                <a:gd name="connsiteY27" fmla="*/ 881062 h 1095375"/>
                <a:gd name="connsiteX28" fmla="*/ 621506 w 1466850"/>
                <a:gd name="connsiteY28" fmla="*/ 845344 h 1095375"/>
                <a:gd name="connsiteX29" fmla="*/ 709612 w 1466850"/>
                <a:gd name="connsiteY29" fmla="*/ 814387 h 1095375"/>
                <a:gd name="connsiteX30" fmla="*/ 716756 w 1466850"/>
                <a:gd name="connsiteY30" fmla="*/ 769144 h 1095375"/>
                <a:gd name="connsiteX31" fmla="*/ 742950 w 1466850"/>
                <a:gd name="connsiteY31" fmla="*/ 750094 h 1095375"/>
                <a:gd name="connsiteX32" fmla="*/ 785812 w 1466850"/>
                <a:gd name="connsiteY32" fmla="*/ 726281 h 1095375"/>
                <a:gd name="connsiteX33" fmla="*/ 800100 w 1466850"/>
                <a:gd name="connsiteY33" fmla="*/ 716756 h 1095375"/>
                <a:gd name="connsiteX34" fmla="*/ 862012 w 1466850"/>
                <a:gd name="connsiteY34" fmla="*/ 721519 h 1095375"/>
                <a:gd name="connsiteX35" fmla="*/ 883444 w 1466850"/>
                <a:gd name="connsiteY35" fmla="*/ 721519 h 1095375"/>
                <a:gd name="connsiteX36" fmla="*/ 892969 w 1466850"/>
                <a:gd name="connsiteY36" fmla="*/ 697706 h 1095375"/>
                <a:gd name="connsiteX37" fmla="*/ 892969 w 1466850"/>
                <a:gd name="connsiteY37" fmla="*/ 697706 h 1095375"/>
                <a:gd name="connsiteX38" fmla="*/ 921544 w 1466850"/>
                <a:gd name="connsiteY38" fmla="*/ 609600 h 1095375"/>
                <a:gd name="connsiteX39" fmla="*/ 909637 w 1466850"/>
                <a:gd name="connsiteY39" fmla="*/ 552450 h 1095375"/>
                <a:gd name="connsiteX40" fmla="*/ 928687 w 1466850"/>
                <a:gd name="connsiteY40" fmla="*/ 540544 h 1095375"/>
                <a:gd name="connsiteX41" fmla="*/ 973931 w 1466850"/>
                <a:gd name="connsiteY41" fmla="*/ 535781 h 1095375"/>
                <a:gd name="connsiteX42" fmla="*/ 1014412 w 1466850"/>
                <a:gd name="connsiteY42" fmla="*/ 447675 h 1095375"/>
                <a:gd name="connsiteX43" fmla="*/ 1038225 w 1466850"/>
                <a:gd name="connsiteY43" fmla="*/ 445294 h 1095375"/>
                <a:gd name="connsiteX44" fmla="*/ 1073944 w 1466850"/>
                <a:gd name="connsiteY44" fmla="*/ 476250 h 1095375"/>
                <a:gd name="connsiteX45" fmla="*/ 1112044 w 1466850"/>
                <a:gd name="connsiteY45" fmla="*/ 514350 h 1095375"/>
                <a:gd name="connsiteX46" fmla="*/ 1171575 w 1466850"/>
                <a:gd name="connsiteY46" fmla="*/ 540544 h 1095375"/>
                <a:gd name="connsiteX47" fmla="*/ 1219200 w 1466850"/>
                <a:gd name="connsiteY47" fmla="*/ 521494 h 1095375"/>
                <a:gd name="connsiteX48" fmla="*/ 1245394 w 1466850"/>
                <a:gd name="connsiteY48" fmla="*/ 502444 h 1095375"/>
                <a:gd name="connsiteX49" fmla="*/ 1278731 w 1466850"/>
                <a:gd name="connsiteY49" fmla="*/ 511969 h 1095375"/>
                <a:gd name="connsiteX50" fmla="*/ 1295400 w 1466850"/>
                <a:gd name="connsiteY50" fmla="*/ 531019 h 1095375"/>
                <a:gd name="connsiteX51" fmla="*/ 1273969 w 1466850"/>
                <a:gd name="connsiteY51" fmla="*/ 573881 h 1095375"/>
                <a:gd name="connsiteX52" fmla="*/ 1271587 w 1466850"/>
                <a:gd name="connsiteY52" fmla="*/ 602456 h 1095375"/>
                <a:gd name="connsiteX53" fmla="*/ 1285875 w 1466850"/>
                <a:gd name="connsiteY53" fmla="*/ 611981 h 1095375"/>
                <a:gd name="connsiteX54" fmla="*/ 1300162 w 1466850"/>
                <a:gd name="connsiteY54" fmla="*/ 628650 h 1095375"/>
                <a:gd name="connsiteX55" fmla="*/ 1321594 w 1466850"/>
                <a:gd name="connsiteY55" fmla="*/ 666750 h 1095375"/>
                <a:gd name="connsiteX56" fmla="*/ 1347787 w 1466850"/>
                <a:gd name="connsiteY56" fmla="*/ 681037 h 1095375"/>
                <a:gd name="connsiteX57" fmla="*/ 1371600 w 1466850"/>
                <a:gd name="connsiteY57" fmla="*/ 681037 h 1095375"/>
                <a:gd name="connsiteX58" fmla="*/ 1376362 w 1466850"/>
                <a:gd name="connsiteY58" fmla="*/ 628650 h 1095375"/>
                <a:gd name="connsiteX59" fmla="*/ 1395412 w 1466850"/>
                <a:gd name="connsiteY59" fmla="*/ 578644 h 1095375"/>
                <a:gd name="connsiteX60" fmla="*/ 1426369 w 1466850"/>
                <a:gd name="connsiteY60" fmla="*/ 571500 h 1095375"/>
                <a:gd name="connsiteX61" fmla="*/ 1466850 w 1466850"/>
                <a:gd name="connsiteY61" fmla="*/ 552450 h 1095375"/>
                <a:gd name="connsiteX62" fmla="*/ 1443037 w 1466850"/>
                <a:gd name="connsiteY62" fmla="*/ 509587 h 1095375"/>
                <a:gd name="connsiteX63" fmla="*/ 1414462 w 1466850"/>
                <a:gd name="connsiteY63" fmla="*/ 464344 h 1095375"/>
                <a:gd name="connsiteX64" fmla="*/ 1388269 w 1466850"/>
                <a:gd name="connsiteY64" fmla="*/ 438150 h 1095375"/>
                <a:gd name="connsiteX65" fmla="*/ 1404937 w 1466850"/>
                <a:gd name="connsiteY65" fmla="*/ 400050 h 1095375"/>
                <a:gd name="connsiteX66" fmla="*/ 1404937 w 1466850"/>
                <a:gd name="connsiteY66" fmla="*/ 383381 h 1095375"/>
                <a:gd name="connsiteX67" fmla="*/ 1431131 w 1466850"/>
                <a:gd name="connsiteY67" fmla="*/ 338137 h 1095375"/>
                <a:gd name="connsiteX68" fmla="*/ 1419225 w 1466850"/>
                <a:gd name="connsiteY68" fmla="*/ 264319 h 1095375"/>
                <a:gd name="connsiteX69" fmla="*/ 1438275 w 1466850"/>
                <a:gd name="connsiteY69" fmla="*/ 202406 h 1095375"/>
                <a:gd name="connsiteX70" fmla="*/ 1435894 w 1466850"/>
                <a:gd name="connsiteY70" fmla="*/ 173831 h 1095375"/>
                <a:gd name="connsiteX71" fmla="*/ 1404937 w 1466850"/>
                <a:gd name="connsiteY71" fmla="*/ 164306 h 1095375"/>
                <a:gd name="connsiteX72" fmla="*/ 1364456 w 1466850"/>
                <a:gd name="connsiteY72" fmla="*/ 154781 h 1095375"/>
                <a:gd name="connsiteX73" fmla="*/ 1293019 w 1466850"/>
                <a:gd name="connsiteY73" fmla="*/ 154781 h 1095375"/>
                <a:gd name="connsiteX74" fmla="*/ 1233487 w 1466850"/>
                <a:gd name="connsiteY74" fmla="*/ 121444 h 1095375"/>
                <a:gd name="connsiteX75" fmla="*/ 1207294 w 1466850"/>
                <a:gd name="connsiteY75" fmla="*/ 114300 h 1095375"/>
                <a:gd name="connsiteX76" fmla="*/ 1188244 w 1466850"/>
                <a:gd name="connsiteY76" fmla="*/ 126206 h 1095375"/>
                <a:gd name="connsiteX77" fmla="*/ 1133475 w 1466850"/>
                <a:gd name="connsiteY77" fmla="*/ 188119 h 1095375"/>
                <a:gd name="connsiteX78" fmla="*/ 1116806 w 1466850"/>
                <a:gd name="connsiteY78" fmla="*/ 188119 h 1095375"/>
                <a:gd name="connsiteX79" fmla="*/ 1078706 w 1466850"/>
                <a:gd name="connsiteY79" fmla="*/ 142875 h 1095375"/>
                <a:gd name="connsiteX80" fmla="*/ 1054894 w 1466850"/>
                <a:gd name="connsiteY80" fmla="*/ 138112 h 1095375"/>
                <a:gd name="connsiteX81" fmla="*/ 997744 w 1466850"/>
                <a:gd name="connsiteY81" fmla="*/ 157162 h 1095375"/>
                <a:gd name="connsiteX82" fmla="*/ 973931 w 1466850"/>
                <a:gd name="connsiteY82" fmla="*/ 178594 h 1095375"/>
                <a:gd name="connsiteX83" fmla="*/ 928687 w 1466850"/>
                <a:gd name="connsiteY83" fmla="*/ 173831 h 1095375"/>
                <a:gd name="connsiteX84" fmla="*/ 878681 w 1466850"/>
                <a:gd name="connsiteY84" fmla="*/ 164306 h 1095375"/>
                <a:gd name="connsiteX85" fmla="*/ 864394 w 1466850"/>
                <a:gd name="connsiteY85" fmla="*/ 83344 h 1095375"/>
                <a:gd name="connsiteX86" fmla="*/ 845344 w 1466850"/>
                <a:gd name="connsiteY86" fmla="*/ 69056 h 1095375"/>
                <a:gd name="connsiteX87" fmla="*/ 747712 w 1466850"/>
                <a:gd name="connsiteY87" fmla="*/ 119062 h 1095375"/>
                <a:gd name="connsiteX88" fmla="*/ 721519 w 1466850"/>
                <a:gd name="connsiteY88" fmla="*/ 140494 h 1095375"/>
                <a:gd name="connsiteX89" fmla="*/ 709612 w 1466850"/>
                <a:gd name="connsiteY89" fmla="*/ 190500 h 1095375"/>
                <a:gd name="connsiteX90" fmla="*/ 707231 w 1466850"/>
                <a:gd name="connsiteY90" fmla="*/ 195262 h 1095375"/>
                <a:gd name="connsiteX91" fmla="*/ 654844 w 1466850"/>
                <a:gd name="connsiteY91" fmla="*/ 190500 h 1095375"/>
                <a:gd name="connsiteX92" fmla="*/ 633412 w 1466850"/>
                <a:gd name="connsiteY92" fmla="*/ 180975 h 1095375"/>
                <a:gd name="connsiteX93" fmla="*/ 614362 w 1466850"/>
                <a:gd name="connsiteY93" fmla="*/ 142875 h 1095375"/>
                <a:gd name="connsiteX94" fmla="*/ 590550 w 1466850"/>
                <a:gd name="connsiteY94" fmla="*/ 130969 h 1095375"/>
                <a:gd name="connsiteX95" fmla="*/ 540544 w 1466850"/>
                <a:gd name="connsiteY95" fmla="*/ 161925 h 1095375"/>
                <a:gd name="connsiteX96" fmla="*/ 507206 w 1466850"/>
                <a:gd name="connsiteY96" fmla="*/ 154781 h 1095375"/>
                <a:gd name="connsiteX97" fmla="*/ 495300 w 1466850"/>
                <a:gd name="connsiteY97" fmla="*/ 123825 h 1095375"/>
                <a:gd name="connsiteX98" fmla="*/ 490537 w 1466850"/>
                <a:gd name="connsiteY98" fmla="*/ 114300 h 1095375"/>
                <a:gd name="connsiteX99" fmla="*/ 431006 w 1466850"/>
                <a:gd name="connsiteY99" fmla="*/ 97631 h 1095375"/>
                <a:gd name="connsiteX100" fmla="*/ 442912 w 1466850"/>
                <a:gd name="connsiteY100" fmla="*/ 33337 h 1095375"/>
                <a:gd name="connsiteX101" fmla="*/ 423862 w 1466850"/>
                <a:gd name="connsiteY101" fmla="*/ 19050 h 1095375"/>
                <a:gd name="connsiteX102" fmla="*/ 335756 w 1466850"/>
                <a:gd name="connsiteY102" fmla="*/ 0 h 1095375"/>
                <a:gd name="connsiteX103" fmla="*/ 302419 w 1466850"/>
                <a:gd name="connsiteY103" fmla="*/ 35719 h 1095375"/>
                <a:gd name="connsiteX104" fmla="*/ 266700 w 1466850"/>
                <a:gd name="connsiteY104" fmla="*/ 50006 h 1095375"/>
                <a:gd name="connsiteX105" fmla="*/ 271462 w 1466850"/>
                <a:gd name="connsiteY105" fmla="*/ 95250 h 1095375"/>
                <a:gd name="connsiteX106" fmla="*/ 316706 w 1466850"/>
                <a:gd name="connsiteY106" fmla="*/ 121444 h 1095375"/>
                <a:gd name="connsiteX107" fmla="*/ 302419 w 1466850"/>
                <a:gd name="connsiteY107" fmla="*/ 145256 h 1095375"/>
                <a:gd name="connsiteX108" fmla="*/ 247650 w 1466850"/>
                <a:gd name="connsiteY108" fmla="*/ 159544 h 1095375"/>
                <a:gd name="connsiteX109" fmla="*/ 214312 w 1466850"/>
                <a:gd name="connsiteY109" fmla="*/ 216694 h 1095375"/>
                <a:gd name="connsiteX110" fmla="*/ 183356 w 1466850"/>
                <a:gd name="connsiteY110" fmla="*/ 221456 h 1095375"/>
                <a:gd name="connsiteX111" fmla="*/ 183356 w 1466850"/>
                <a:gd name="connsiteY111" fmla="*/ 254794 h 1095375"/>
                <a:gd name="connsiteX112" fmla="*/ 161925 w 1466850"/>
                <a:gd name="connsiteY112" fmla="*/ 304800 h 1095375"/>
                <a:gd name="connsiteX113" fmla="*/ 140494 w 1466850"/>
                <a:gd name="connsiteY113" fmla="*/ 323850 h 1095375"/>
                <a:gd name="connsiteX114" fmla="*/ 54769 w 1466850"/>
                <a:gd name="connsiteY114" fmla="*/ 311945 h 1095375"/>
                <a:gd name="connsiteX115" fmla="*/ 90487 w 1466850"/>
                <a:gd name="connsiteY115" fmla="*/ 316706 h 1095375"/>
                <a:gd name="connsiteX116" fmla="*/ 30956 w 1466850"/>
                <a:gd name="connsiteY116" fmla="*/ 295274 h 1095375"/>
                <a:gd name="connsiteX0" fmla="*/ 30956 w 1466850"/>
                <a:gd name="connsiteY0" fmla="*/ 295274 h 1095375"/>
                <a:gd name="connsiteX1" fmla="*/ 19050 w 1466850"/>
                <a:gd name="connsiteY1" fmla="*/ 381000 h 1095375"/>
                <a:gd name="connsiteX2" fmla="*/ 19050 w 1466850"/>
                <a:gd name="connsiteY2" fmla="*/ 397669 h 1095375"/>
                <a:gd name="connsiteX3" fmla="*/ 0 w 1466850"/>
                <a:gd name="connsiteY3" fmla="*/ 459581 h 1095375"/>
                <a:gd name="connsiteX4" fmla="*/ 7144 w 1466850"/>
                <a:gd name="connsiteY4" fmla="*/ 497681 h 1095375"/>
                <a:gd name="connsiteX5" fmla="*/ 9525 w 1466850"/>
                <a:gd name="connsiteY5" fmla="*/ 535781 h 1095375"/>
                <a:gd name="connsiteX6" fmla="*/ 19050 w 1466850"/>
                <a:gd name="connsiteY6" fmla="*/ 583406 h 1095375"/>
                <a:gd name="connsiteX7" fmla="*/ 23812 w 1466850"/>
                <a:gd name="connsiteY7" fmla="*/ 688181 h 1095375"/>
                <a:gd name="connsiteX8" fmla="*/ 35719 w 1466850"/>
                <a:gd name="connsiteY8" fmla="*/ 747712 h 1095375"/>
                <a:gd name="connsiteX9" fmla="*/ 40481 w 1466850"/>
                <a:gd name="connsiteY9" fmla="*/ 778669 h 1095375"/>
                <a:gd name="connsiteX10" fmla="*/ 47625 w 1466850"/>
                <a:gd name="connsiteY10" fmla="*/ 831056 h 1095375"/>
                <a:gd name="connsiteX11" fmla="*/ 38100 w 1466850"/>
                <a:gd name="connsiteY11" fmla="*/ 919162 h 1095375"/>
                <a:gd name="connsiteX12" fmla="*/ 78581 w 1466850"/>
                <a:gd name="connsiteY12" fmla="*/ 1028700 h 1095375"/>
                <a:gd name="connsiteX13" fmla="*/ 71437 w 1466850"/>
                <a:gd name="connsiteY13" fmla="*/ 1095375 h 1095375"/>
                <a:gd name="connsiteX14" fmla="*/ 242887 w 1466850"/>
                <a:gd name="connsiteY14" fmla="*/ 1092994 h 1095375"/>
                <a:gd name="connsiteX15" fmla="*/ 238125 w 1466850"/>
                <a:gd name="connsiteY15" fmla="*/ 1045369 h 1095375"/>
                <a:gd name="connsiteX16" fmla="*/ 230981 w 1466850"/>
                <a:gd name="connsiteY16" fmla="*/ 1035844 h 1095375"/>
                <a:gd name="connsiteX17" fmla="*/ 252412 w 1466850"/>
                <a:gd name="connsiteY17" fmla="*/ 1019175 h 1095375"/>
                <a:gd name="connsiteX18" fmla="*/ 314325 w 1466850"/>
                <a:gd name="connsiteY18" fmla="*/ 995362 h 1095375"/>
                <a:gd name="connsiteX19" fmla="*/ 311944 w 1466850"/>
                <a:gd name="connsiteY19" fmla="*/ 959644 h 1095375"/>
                <a:gd name="connsiteX20" fmla="*/ 326231 w 1466850"/>
                <a:gd name="connsiteY20" fmla="*/ 942975 h 1095375"/>
                <a:gd name="connsiteX21" fmla="*/ 452437 w 1466850"/>
                <a:gd name="connsiteY21" fmla="*/ 950119 h 1095375"/>
                <a:gd name="connsiteX22" fmla="*/ 464344 w 1466850"/>
                <a:gd name="connsiteY22" fmla="*/ 933450 h 1095375"/>
                <a:gd name="connsiteX23" fmla="*/ 476250 w 1466850"/>
                <a:gd name="connsiteY23" fmla="*/ 883444 h 1095375"/>
                <a:gd name="connsiteX24" fmla="*/ 488156 w 1466850"/>
                <a:gd name="connsiteY24" fmla="*/ 857250 h 1095375"/>
                <a:gd name="connsiteX25" fmla="*/ 526256 w 1466850"/>
                <a:gd name="connsiteY25" fmla="*/ 862012 h 1095375"/>
                <a:gd name="connsiteX26" fmla="*/ 545306 w 1466850"/>
                <a:gd name="connsiteY26" fmla="*/ 909637 h 1095375"/>
                <a:gd name="connsiteX27" fmla="*/ 566737 w 1466850"/>
                <a:gd name="connsiteY27" fmla="*/ 881062 h 1095375"/>
                <a:gd name="connsiteX28" fmla="*/ 621506 w 1466850"/>
                <a:gd name="connsiteY28" fmla="*/ 845344 h 1095375"/>
                <a:gd name="connsiteX29" fmla="*/ 709612 w 1466850"/>
                <a:gd name="connsiteY29" fmla="*/ 814387 h 1095375"/>
                <a:gd name="connsiteX30" fmla="*/ 716756 w 1466850"/>
                <a:gd name="connsiteY30" fmla="*/ 769144 h 1095375"/>
                <a:gd name="connsiteX31" fmla="*/ 742950 w 1466850"/>
                <a:gd name="connsiteY31" fmla="*/ 750094 h 1095375"/>
                <a:gd name="connsiteX32" fmla="*/ 785812 w 1466850"/>
                <a:gd name="connsiteY32" fmla="*/ 726281 h 1095375"/>
                <a:gd name="connsiteX33" fmla="*/ 800100 w 1466850"/>
                <a:gd name="connsiteY33" fmla="*/ 716756 h 1095375"/>
                <a:gd name="connsiteX34" fmla="*/ 862012 w 1466850"/>
                <a:gd name="connsiteY34" fmla="*/ 721519 h 1095375"/>
                <a:gd name="connsiteX35" fmla="*/ 883444 w 1466850"/>
                <a:gd name="connsiteY35" fmla="*/ 721519 h 1095375"/>
                <a:gd name="connsiteX36" fmla="*/ 892969 w 1466850"/>
                <a:gd name="connsiteY36" fmla="*/ 697706 h 1095375"/>
                <a:gd name="connsiteX37" fmla="*/ 892969 w 1466850"/>
                <a:gd name="connsiteY37" fmla="*/ 697706 h 1095375"/>
                <a:gd name="connsiteX38" fmla="*/ 921544 w 1466850"/>
                <a:gd name="connsiteY38" fmla="*/ 609600 h 1095375"/>
                <a:gd name="connsiteX39" fmla="*/ 909637 w 1466850"/>
                <a:gd name="connsiteY39" fmla="*/ 552450 h 1095375"/>
                <a:gd name="connsiteX40" fmla="*/ 928687 w 1466850"/>
                <a:gd name="connsiteY40" fmla="*/ 540544 h 1095375"/>
                <a:gd name="connsiteX41" fmla="*/ 973931 w 1466850"/>
                <a:gd name="connsiteY41" fmla="*/ 535781 h 1095375"/>
                <a:gd name="connsiteX42" fmla="*/ 1014412 w 1466850"/>
                <a:gd name="connsiteY42" fmla="*/ 447675 h 1095375"/>
                <a:gd name="connsiteX43" fmla="*/ 1038225 w 1466850"/>
                <a:gd name="connsiteY43" fmla="*/ 445294 h 1095375"/>
                <a:gd name="connsiteX44" fmla="*/ 1073944 w 1466850"/>
                <a:gd name="connsiteY44" fmla="*/ 476250 h 1095375"/>
                <a:gd name="connsiteX45" fmla="*/ 1112044 w 1466850"/>
                <a:gd name="connsiteY45" fmla="*/ 514350 h 1095375"/>
                <a:gd name="connsiteX46" fmla="*/ 1171575 w 1466850"/>
                <a:gd name="connsiteY46" fmla="*/ 540544 h 1095375"/>
                <a:gd name="connsiteX47" fmla="*/ 1219200 w 1466850"/>
                <a:gd name="connsiteY47" fmla="*/ 521494 h 1095375"/>
                <a:gd name="connsiteX48" fmla="*/ 1245394 w 1466850"/>
                <a:gd name="connsiteY48" fmla="*/ 502444 h 1095375"/>
                <a:gd name="connsiteX49" fmla="*/ 1278731 w 1466850"/>
                <a:gd name="connsiteY49" fmla="*/ 511969 h 1095375"/>
                <a:gd name="connsiteX50" fmla="*/ 1295400 w 1466850"/>
                <a:gd name="connsiteY50" fmla="*/ 531019 h 1095375"/>
                <a:gd name="connsiteX51" fmla="*/ 1273969 w 1466850"/>
                <a:gd name="connsiteY51" fmla="*/ 573881 h 1095375"/>
                <a:gd name="connsiteX52" fmla="*/ 1271587 w 1466850"/>
                <a:gd name="connsiteY52" fmla="*/ 602456 h 1095375"/>
                <a:gd name="connsiteX53" fmla="*/ 1285875 w 1466850"/>
                <a:gd name="connsiteY53" fmla="*/ 611981 h 1095375"/>
                <a:gd name="connsiteX54" fmla="*/ 1300162 w 1466850"/>
                <a:gd name="connsiteY54" fmla="*/ 628650 h 1095375"/>
                <a:gd name="connsiteX55" fmla="*/ 1321594 w 1466850"/>
                <a:gd name="connsiteY55" fmla="*/ 666750 h 1095375"/>
                <a:gd name="connsiteX56" fmla="*/ 1347787 w 1466850"/>
                <a:gd name="connsiteY56" fmla="*/ 681037 h 1095375"/>
                <a:gd name="connsiteX57" fmla="*/ 1371600 w 1466850"/>
                <a:gd name="connsiteY57" fmla="*/ 681037 h 1095375"/>
                <a:gd name="connsiteX58" fmla="*/ 1376362 w 1466850"/>
                <a:gd name="connsiteY58" fmla="*/ 628650 h 1095375"/>
                <a:gd name="connsiteX59" fmla="*/ 1395412 w 1466850"/>
                <a:gd name="connsiteY59" fmla="*/ 578644 h 1095375"/>
                <a:gd name="connsiteX60" fmla="*/ 1426369 w 1466850"/>
                <a:gd name="connsiteY60" fmla="*/ 571500 h 1095375"/>
                <a:gd name="connsiteX61" fmla="*/ 1466850 w 1466850"/>
                <a:gd name="connsiteY61" fmla="*/ 552450 h 1095375"/>
                <a:gd name="connsiteX62" fmla="*/ 1443037 w 1466850"/>
                <a:gd name="connsiteY62" fmla="*/ 509587 h 1095375"/>
                <a:gd name="connsiteX63" fmla="*/ 1414462 w 1466850"/>
                <a:gd name="connsiteY63" fmla="*/ 464344 h 1095375"/>
                <a:gd name="connsiteX64" fmla="*/ 1388269 w 1466850"/>
                <a:gd name="connsiteY64" fmla="*/ 438150 h 1095375"/>
                <a:gd name="connsiteX65" fmla="*/ 1404937 w 1466850"/>
                <a:gd name="connsiteY65" fmla="*/ 400050 h 1095375"/>
                <a:gd name="connsiteX66" fmla="*/ 1404937 w 1466850"/>
                <a:gd name="connsiteY66" fmla="*/ 383381 h 1095375"/>
                <a:gd name="connsiteX67" fmla="*/ 1431131 w 1466850"/>
                <a:gd name="connsiteY67" fmla="*/ 338137 h 1095375"/>
                <a:gd name="connsiteX68" fmla="*/ 1419225 w 1466850"/>
                <a:gd name="connsiteY68" fmla="*/ 264319 h 1095375"/>
                <a:gd name="connsiteX69" fmla="*/ 1438275 w 1466850"/>
                <a:gd name="connsiteY69" fmla="*/ 202406 h 1095375"/>
                <a:gd name="connsiteX70" fmla="*/ 1435894 w 1466850"/>
                <a:gd name="connsiteY70" fmla="*/ 173831 h 1095375"/>
                <a:gd name="connsiteX71" fmla="*/ 1404937 w 1466850"/>
                <a:gd name="connsiteY71" fmla="*/ 164306 h 1095375"/>
                <a:gd name="connsiteX72" fmla="*/ 1364456 w 1466850"/>
                <a:gd name="connsiteY72" fmla="*/ 154781 h 1095375"/>
                <a:gd name="connsiteX73" fmla="*/ 1293019 w 1466850"/>
                <a:gd name="connsiteY73" fmla="*/ 154781 h 1095375"/>
                <a:gd name="connsiteX74" fmla="*/ 1233487 w 1466850"/>
                <a:gd name="connsiteY74" fmla="*/ 121444 h 1095375"/>
                <a:gd name="connsiteX75" fmla="*/ 1207294 w 1466850"/>
                <a:gd name="connsiteY75" fmla="*/ 114300 h 1095375"/>
                <a:gd name="connsiteX76" fmla="*/ 1188244 w 1466850"/>
                <a:gd name="connsiteY76" fmla="*/ 126206 h 1095375"/>
                <a:gd name="connsiteX77" fmla="*/ 1133475 w 1466850"/>
                <a:gd name="connsiteY77" fmla="*/ 188119 h 1095375"/>
                <a:gd name="connsiteX78" fmla="*/ 1116806 w 1466850"/>
                <a:gd name="connsiteY78" fmla="*/ 188119 h 1095375"/>
                <a:gd name="connsiteX79" fmla="*/ 1078706 w 1466850"/>
                <a:gd name="connsiteY79" fmla="*/ 142875 h 1095375"/>
                <a:gd name="connsiteX80" fmla="*/ 1054894 w 1466850"/>
                <a:gd name="connsiteY80" fmla="*/ 138112 h 1095375"/>
                <a:gd name="connsiteX81" fmla="*/ 997744 w 1466850"/>
                <a:gd name="connsiteY81" fmla="*/ 157162 h 1095375"/>
                <a:gd name="connsiteX82" fmla="*/ 973931 w 1466850"/>
                <a:gd name="connsiteY82" fmla="*/ 178594 h 1095375"/>
                <a:gd name="connsiteX83" fmla="*/ 928687 w 1466850"/>
                <a:gd name="connsiteY83" fmla="*/ 173831 h 1095375"/>
                <a:gd name="connsiteX84" fmla="*/ 878681 w 1466850"/>
                <a:gd name="connsiteY84" fmla="*/ 164306 h 1095375"/>
                <a:gd name="connsiteX85" fmla="*/ 864394 w 1466850"/>
                <a:gd name="connsiteY85" fmla="*/ 83344 h 1095375"/>
                <a:gd name="connsiteX86" fmla="*/ 845344 w 1466850"/>
                <a:gd name="connsiteY86" fmla="*/ 69056 h 1095375"/>
                <a:gd name="connsiteX87" fmla="*/ 747712 w 1466850"/>
                <a:gd name="connsiteY87" fmla="*/ 119062 h 1095375"/>
                <a:gd name="connsiteX88" fmla="*/ 721519 w 1466850"/>
                <a:gd name="connsiteY88" fmla="*/ 140494 h 1095375"/>
                <a:gd name="connsiteX89" fmla="*/ 709612 w 1466850"/>
                <a:gd name="connsiteY89" fmla="*/ 190500 h 1095375"/>
                <a:gd name="connsiteX90" fmla="*/ 707231 w 1466850"/>
                <a:gd name="connsiteY90" fmla="*/ 195262 h 1095375"/>
                <a:gd name="connsiteX91" fmla="*/ 654844 w 1466850"/>
                <a:gd name="connsiteY91" fmla="*/ 190500 h 1095375"/>
                <a:gd name="connsiteX92" fmla="*/ 633412 w 1466850"/>
                <a:gd name="connsiteY92" fmla="*/ 180975 h 1095375"/>
                <a:gd name="connsiteX93" fmla="*/ 614362 w 1466850"/>
                <a:gd name="connsiteY93" fmla="*/ 142875 h 1095375"/>
                <a:gd name="connsiteX94" fmla="*/ 590550 w 1466850"/>
                <a:gd name="connsiteY94" fmla="*/ 130969 h 1095375"/>
                <a:gd name="connsiteX95" fmla="*/ 540544 w 1466850"/>
                <a:gd name="connsiteY95" fmla="*/ 161925 h 1095375"/>
                <a:gd name="connsiteX96" fmla="*/ 507206 w 1466850"/>
                <a:gd name="connsiteY96" fmla="*/ 154781 h 1095375"/>
                <a:gd name="connsiteX97" fmla="*/ 495300 w 1466850"/>
                <a:gd name="connsiteY97" fmla="*/ 123825 h 1095375"/>
                <a:gd name="connsiteX98" fmla="*/ 490537 w 1466850"/>
                <a:gd name="connsiteY98" fmla="*/ 114300 h 1095375"/>
                <a:gd name="connsiteX99" fmla="*/ 431006 w 1466850"/>
                <a:gd name="connsiteY99" fmla="*/ 97631 h 1095375"/>
                <a:gd name="connsiteX100" fmla="*/ 442912 w 1466850"/>
                <a:gd name="connsiteY100" fmla="*/ 33337 h 1095375"/>
                <a:gd name="connsiteX101" fmla="*/ 423862 w 1466850"/>
                <a:gd name="connsiteY101" fmla="*/ 19050 h 1095375"/>
                <a:gd name="connsiteX102" fmla="*/ 335756 w 1466850"/>
                <a:gd name="connsiteY102" fmla="*/ 0 h 1095375"/>
                <a:gd name="connsiteX103" fmla="*/ 302419 w 1466850"/>
                <a:gd name="connsiteY103" fmla="*/ 35719 h 1095375"/>
                <a:gd name="connsiteX104" fmla="*/ 266700 w 1466850"/>
                <a:gd name="connsiteY104" fmla="*/ 50006 h 1095375"/>
                <a:gd name="connsiteX105" fmla="*/ 271462 w 1466850"/>
                <a:gd name="connsiteY105" fmla="*/ 95250 h 1095375"/>
                <a:gd name="connsiteX106" fmla="*/ 316706 w 1466850"/>
                <a:gd name="connsiteY106" fmla="*/ 121444 h 1095375"/>
                <a:gd name="connsiteX107" fmla="*/ 302419 w 1466850"/>
                <a:gd name="connsiteY107" fmla="*/ 145256 h 1095375"/>
                <a:gd name="connsiteX108" fmla="*/ 247650 w 1466850"/>
                <a:gd name="connsiteY108" fmla="*/ 159544 h 1095375"/>
                <a:gd name="connsiteX109" fmla="*/ 214312 w 1466850"/>
                <a:gd name="connsiteY109" fmla="*/ 216694 h 1095375"/>
                <a:gd name="connsiteX110" fmla="*/ 183356 w 1466850"/>
                <a:gd name="connsiteY110" fmla="*/ 221456 h 1095375"/>
                <a:gd name="connsiteX111" fmla="*/ 183356 w 1466850"/>
                <a:gd name="connsiteY111" fmla="*/ 254794 h 1095375"/>
                <a:gd name="connsiteX112" fmla="*/ 161925 w 1466850"/>
                <a:gd name="connsiteY112" fmla="*/ 304800 h 1095375"/>
                <a:gd name="connsiteX113" fmla="*/ 140494 w 1466850"/>
                <a:gd name="connsiteY113" fmla="*/ 323850 h 1095375"/>
                <a:gd name="connsiteX114" fmla="*/ 54769 w 1466850"/>
                <a:gd name="connsiteY114" fmla="*/ 311945 h 1095375"/>
                <a:gd name="connsiteX115" fmla="*/ 83343 w 1466850"/>
                <a:gd name="connsiteY115" fmla="*/ 302418 h 1095375"/>
                <a:gd name="connsiteX116" fmla="*/ 30956 w 1466850"/>
                <a:gd name="connsiteY116" fmla="*/ 295274 h 1095375"/>
                <a:gd name="connsiteX0" fmla="*/ 30956 w 1466850"/>
                <a:gd name="connsiteY0" fmla="*/ 295274 h 1095375"/>
                <a:gd name="connsiteX1" fmla="*/ 19050 w 1466850"/>
                <a:gd name="connsiteY1" fmla="*/ 381000 h 1095375"/>
                <a:gd name="connsiteX2" fmla="*/ 19050 w 1466850"/>
                <a:gd name="connsiteY2" fmla="*/ 397669 h 1095375"/>
                <a:gd name="connsiteX3" fmla="*/ 0 w 1466850"/>
                <a:gd name="connsiteY3" fmla="*/ 459581 h 1095375"/>
                <a:gd name="connsiteX4" fmla="*/ 7144 w 1466850"/>
                <a:gd name="connsiteY4" fmla="*/ 497681 h 1095375"/>
                <a:gd name="connsiteX5" fmla="*/ 9525 w 1466850"/>
                <a:gd name="connsiteY5" fmla="*/ 535781 h 1095375"/>
                <a:gd name="connsiteX6" fmla="*/ 19050 w 1466850"/>
                <a:gd name="connsiteY6" fmla="*/ 583406 h 1095375"/>
                <a:gd name="connsiteX7" fmla="*/ 23812 w 1466850"/>
                <a:gd name="connsiteY7" fmla="*/ 688181 h 1095375"/>
                <a:gd name="connsiteX8" fmla="*/ 35719 w 1466850"/>
                <a:gd name="connsiteY8" fmla="*/ 747712 h 1095375"/>
                <a:gd name="connsiteX9" fmla="*/ 40481 w 1466850"/>
                <a:gd name="connsiteY9" fmla="*/ 778669 h 1095375"/>
                <a:gd name="connsiteX10" fmla="*/ 47625 w 1466850"/>
                <a:gd name="connsiteY10" fmla="*/ 831056 h 1095375"/>
                <a:gd name="connsiteX11" fmla="*/ 38100 w 1466850"/>
                <a:gd name="connsiteY11" fmla="*/ 919162 h 1095375"/>
                <a:gd name="connsiteX12" fmla="*/ 78581 w 1466850"/>
                <a:gd name="connsiteY12" fmla="*/ 1028700 h 1095375"/>
                <a:gd name="connsiteX13" fmla="*/ 71437 w 1466850"/>
                <a:gd name="connsiteY13" fmla="*/ 1095375 h 1095375"/>
                <a:gd name="connsiteX14" fmla="*/ 242887 w 1466850"/>
                <a:gd name="connsiteY14" fmla="*/ 1092994 h 1095375"/>
                <a:gd name="connsiteX15" fmla="*/ 238125 w 1466850"/>
                <a:gd name="connsiteY15" fmla="*/ 1045369 h 1095375"/>
                <a:gd name="connsiteX16" fmla="*/ 230981 w 1466850"/>
                <a:gd name="connsiteY16" fmla="*/ 1035844 h 1095375"/>
                <a:gd name="connsiteX17" fmla="*/ 252412 w 1466850"/>
                <a:gd name="connsiteY17" fmla="*/ 1019175 h 1095375"/>
                <a:gd name="connsiteX18" fmla="*/ 314325 w 1466850"/>
                <a:gd name="connsiteY18" fmla="*/ 995362 h 1095375"/>
                <a:gd name="connsiteX19" fmla="*/ 311944 w 1466850"/>
                <a:gd name="connsiteY19" fmla="*/ 959644 h 1095375"/>
                <a:gd name="connsiteX20" fmla="*/ 326231 w 1466850"/>
                <a:gd name="connsiteY20" fmla="*/ 942975 h 1095375"/>
                <a:gd name="connsiteX21" fmla="*/ 452437 w 1466850"/>
                <a:gd name="connsiteY21" fmla="*/ 950119 h 1095375"/>
                <a:gd name="connsiteX22" fmla="*/ 464344 w 1466850"/>
                <a:gd name="connsiteY22" fmla="*/ 933450 h 1095375"/>
                <a:gd name="connsiteX23" fmla="*/ 476250 w 1466850"/>
                <a:gd name="connsiteY23" fmla="*/ 883444 h 1095375"/>
                <a:gd name="connsiteX24" fmla="*/ 488156 w 1466850"/>
                <a:gd name="connsiteY24" fmla="*/ 857250 h 1095375"/>
                <a:gd name="connsiteX25" fmla="*/ 526256 w 1466850"/>
                <a:gd name="connsiteY25" fmla="*/ 862012 h 1095375"/>
                <a:gd name="connsiteX26" fmla="*/ 545306 w 1466850"/>
                <a:gd name="connsiteY26" fmla="*/ 909637 h 1095375"/>
                <a:gd name="connsiteX27" fmla="*/ 566737 w 1466850"/>
                <a:gd name="connsiteY27" fmla="*/ 881062 h 1095375"/>
                <a:gd name="connsiteX28" fmla="*/ 621506 w 1466850"/>
                <a:gd name="connsiteY28" fmla="*/ 845344 h 1095375"/>
                <a:gd name="connsiteX29" fmla="*/ 709612 w 1466850"/>
                <a:gd name="connsiteY29" fmla="*/ 814387 h 1095375"/>
                <a:gd name="connsiteX30" fmla="*/ 716756 w 1466850"/>
                <a:gd name="connsiteY30" fmla="*/ 769144 h 1095375"/>
                <a:gd name="connsiteX31" fmla="*/ 742950 w 1466850"/>
                <a:gd name="connsiteY31" fmla="*/ 750094 h 1095375"/>
                <a:gd name="connsiteX32" fmla="*/ 785812 w 1466850"/>
                <a:gd name="connsiteY32" fmla="*/ 726281 h 1095375"/>
                <a:gd name="connsiteX33" fmla="*/ 800100 w 1466850"/>
                <a:gd name="connsiteY33" fmla="*/ 716756 h 1095375"/>
                <a:gd name="connsiteX34" fmla="*/ 862012 w 1466850"/>
                <a:gd name="connsiteY34" fmla="*/ 721519 h 1095375"/>
                <a:gd name="connsiteX35" fmla="*/ 883444 w 1466850"/>
                <a:gd name="connsiteY35" fmla="*/ 721519 h 1095375"/>
                <a:gd name="connsiteX36" fmla="*/ 892969 w 1466850"/>
                <a:gd name="connsiteY36" fmla="*/ 697706 h 1095375"/>
                <a:gd name="connsiteX37" fmla="*/ 892969 w 1466850"/>
                <a:gd name="connsiteY37" fmla="*/ 697706 h 1095375"/>
                <a:gd name="connsiteX38" fmla="*/ 921544 w 1466850"/>
                <a:gd name="connsiteY38" fmla="*/ 609600 h 1095375"/>
                <a:gd name="connsiteX39" fmla="*/ 909637 w 1466850"/>
                <a:gd name="connsiteY39" fmla="*/ 552450 h 1095375"/>
                <a:gd name="connsiteX40" fmla="*/ 928687 w 1466850"/>
                <a:gd name="connsiteY40" fmla="*/ 540544 h 1095375"/>
                <a:gd name="connsiteX41" fmla="*/ 973931 w 1466850"/>
                <a:gd name="connsiteY41" fmla="*/ 535781 h 1095375"/>
                <a:gd name="connsiteX42" fmla="*/ 1014412 w 1466850"/>
                <a:gd name="connsiteY42" fmla="*/ 447675 h 1095375"/>
                <a:gd name="connsiteX43" fmla="*/ 1038225 w 1466850"/>
                <a:gd name="connsiteY43" fmla="*/ 445294 h 1095375"/>
                <a:gd name="connsiteX44" fmla="*/ 1073944 w 1466850"/>
                <a:gd name="connsiteY44" fmla="*/ 476250 h 1095375"/>
                <a:gd name="connsiteX45" fmla="*/ 1112044 w 1466850"/>
                <a:gd name="connsiteY45" fmla="*/ 514350 h 1095375"/>
                <a:gd name="connsiteX46" fmla="*/ 1171575 w 1466850"/>
                <a:gd name="connsiteY46" fmla="*/ 540544 h 1095375"/>
                <a:gd name="connsiteX47" fmla="*/ 1219200 w 1466850"/>
                <a:gd name="connsiteY47" fmla="*/ 521494 h 1095375"/>
                <a:gd name="connsiteX48" fmla="*/ 1245394 w 1466850"/>
                <a:gd name="connsiteY48" fmla="*/ 502444 h 1095375"/>
                <a:gd name="connsiteX49" fmla="*/ 1278731 w 1466850"/>
                <a:gd name="connsiteY49" fmla="*/ 511969 h 1095375"/>
                <a:gd name="connsiteX50" fmla="*/ 1295400 w 1466850"/>
                <a:gd name="connsiteY50" fmla="*/ 531019 h 1095375"/>
                <a:gd name="connsiteX51" fmla="*/ 1273969 w 1466850"/>
                <a:gd name="connsiteY51" fmla="*/ 573881 h 1095375"/>
                <a:gd name="connsiteX52" fmla="*/ 1271587 w 1466850"/>
                <a:gd name="connsiteY52" fmla="*/ 602456 h 1095375"/>
                <a:gd name="connsiteX53" fmla="*/ 1285875 w 1466850"/>
                <a:gd name="connsiteY53" fmla="*/ 611981 h 1095375"/>
                <a:gd name="connsiteX54" fmla="*/ 1300162 w 1466850"/>
                <a:gd name="connsiteY54" fmla="*/ 628650 h 1095375"/>
                <a:gd name="connsiteX55" fmla="*/ 1321594 w 1466850"/>
                <a:gd name="connsiteY55" fmla="*/ 666750 h 1095375"/>
                <a:gd name="connsiteX56" fmla="*/ 1347787 w 1466850"/>
                <a:gd name="connsiteY56" fmla="*/ 681037 h 1095375"/>
                <a:gd name="connsiteX57" fmla="*/ 1371600 w 1466850"/>
                <a:gd name="connsiteY57" fmla="*/ 681037 h 1095375"/>
                <a:gd name="connsiteX58" fmla="*/ 1376362 w 1466850"/>
                <a:gd name="connsiteY58" fmla="*/ 628650 h 1095375"/>
                <a:gd name="connsiteX59" fmla="*/ 1395412 w 1466850"/>
                <a:gd name="connsiteY59" fmla="*/ 578644 h 1095375"/>
                <a:gd name="connsiteX60" fmla="*/ 1426369 w 1466850"/>
                <a:gd name="connsiteY60" fmla="*/ 571500 h 1095375"/>
                <a:gd name="connsiteX61" fmla="*/ 1466850 w 1466850"/>
                <a:gd name="connsiteY61" fmla="*/ 552450 h 1095375"/>
                <a:gd name="connsiteX62" fmla="*/ 1443037 w 1466850"/>
                <a:gd name="connsiteY62" fmla="*/ 509587 h 1095375"/>
                <a:gd name="connsiteX63" fmla="*/ 1414462 w 1466850"/>
                <a:gd name="connsiteY63" fmla="*/ 464344 h 1095375"/>
                <a:gd name="connsiteX64" fmla="*/ 1388269 w 1466850"/>
                <a:gd name="connsiteY64" fmla="*/ 438150 h 1095375"/>
                <a:gd name="connsiteX65" fmla="*/ 1404937 w 1466850"/>
                <a:gd name="connsiteY65" fmla="*/ 400050 h 1095375"/>
                <a:gd name="connsiteX66" fmla="*/ 1404937 w 1466850"/>
                <a:gd name="connsiteY66" fmla="*/ 383381 h 1095375"/>
                <a:gd name="connsiteX67" fmla="*/ 1431131 w 1466850"/>
                <a:gd name="connsiteY67" fmla="*/ 338137 h 1095375"/>
                <a:gd name="connsiteX68" fmla="*/ 1419225 w 1466850"/>
                <a:gd name="connsiteY68" fmla="*/ 264319 h 1095375"/>
                <a:gd name="connsiteX69" fmla="*/ 1438275 w 1466850"/>
                <a:gd name="connsiteY69" fmla="*/ 202406 h 1095375"/>
                <a:gd name="connsiteX70" fmla="*/ 1435894 w 1466850"/>
                <a:gd name="connsiteY70" fmla="*/ 173831 h 1095375"/>
                <a:gd name="connsiteX71" fmla="*/ 1404937 w 1466850"/>
                <a:gd name="connsiteY71" fmla="*/ 164306 h 1095375"/>
                <a:gd name="connsiteX72" fmla="*/ 1364456 w 1466850"/>
                <a:gd name="connsiteY72" fmla="*/ 154781 h 1095375"/>
                <a:gd name="connsiteX73" fmla="*/ 1293019 w 1466850"/>
                <a:gd name="connsiteY73" fmla="*/ 154781 h 1095375"/>
                <a:gd name="connsiteX74" fmla="*/ 1233487 w 1466850"/>
                <a:gd name="connsiteY74" fmla="*/ 121444 h 1095375"/>
                <a:gd name="connsiteX75" fmla="*/ 1207294 w 1466850"/>
                <a:gd name="connsiteY75" fmla="*/ 114300 h 1095375"/>
                <a:gd name="connsiteX76" fmla="*/ 1188244 w 1466850"/>
                <a:gd name="connsiteY76" fmla="*/ 126206 h 1095375"/>
                <a:gd name="connsiteX77" fmla="*/ 1133475 w 1466850"/>
                <a:gd name="connsiteY77" fmla="*/ 188119 h 1095375"/>
                <a:gd name="connsiteX78" fmla="*/ 1116806 w 1466850"/>
                <a:gd name="connsiteY78" fmla="*/ 188119 h 1095375"/>
                <a:gd name="connsiteX79" fmla="*/ 1078706 w 1466850"/>
                <a:gd name="connsiteY79" fmla="*/ 142875 h 1095375"/>
                <a:gd name="connsiteX80" fmla="*/ 1054894 w 1466850"/>
                <a:gd name="connsiteY80" fmla="*/ 138112 h 1095375"/>
                <a:gd name="connsiteX81" fmla="*/ 997744 w 1466850"/>
                <a:gd name="connsiteY81" fmla="*/ 157162 h 1095375"/>
                <a:gd name="connsiteX82" fmla="*/ 973931 w 1466850"/>
                <a:gd name="connsiteY82" fmla="*/ 178594 h 1095375"/>
                <a:gd name="connsiteX83" fmla="*/ 928687 w 1466850"/>
                <a:gd name="connsiteY83" fmla="*/ 173831 h 1095375"/>
                <a:gd name="connsiteX84" fmla="*/ 878681 w 1466850"/>
                <a:gd name="connsiteY84" fmla="*/ 164306 h 1095375"/>
                <a:gd name="connsiteX85" fmla="*/ 864394 w 1466850"/>
                <a:gd name="connsiteY85" fmla="*/ 83344 h 1095375"/>
                <a:gd name="connsiteX86" fmla="*/ 845344 w 1466850"/>
                <a:gd name="connsiteY86" fmla="*/ 69056 h 1095375"/>
                <a:gd name="connsiteX87" fmla="*/ 747712 w 1466850"/>
                <a:gd name="connsiteY87" fmla="*/ 119062 h 1095375"/>
                <a:gd name="connsiteX88" fmla="*/ 721519 w 1466850"/>
                <a:gd name="connsiteY88" fmla="*/ 140494 h 1095375"/>
                <a:gd name="connsiteX89" fmla="*/ 709612 w 1466850"/>
                <a:gd name="connsiteY89" fmla="*/ 190500 h 1095375"/>
                <a:gd name="connsiteX90" fmla="*/ 707231 w 1466850"/>
                <a:gd name="connsiteY90" fmla="*/ 195262 h 1095375"/>
                <a:gd name="connsiteX91" fmla="*/ 654844 w 1466850"/>
                <a:gd name="connsiteY91" fmla="*/ 190500 h 1095375"/>
                <a:gd name="connsiteX92" fmla="*/ 633412 w 1466850"/>
                <a:gd name="connsiteY92" fmla="*/ 180975 h 1095375"/>
                <a:gd name="connsiteX93" fmla="*/ 614362 w 1466850"/>
                <a:gd name="connsiteY93" fmla="*/ 142875 h 1095375"/>
                <a:gd name="connsiteX94" fmla="*/ 590550 w 1466850"/>
                <a:gd name="connsiteY94" fmla="*/ 130969 h 1095375"/>
                <a:gd name="connsiteX95" fmla="*/ 540544 w 1466850"/>
                <a:gd name="connsiteY95" fmla="*/ 161925 h 1095375"/>
                <a:gd name="connsiteX96" fmla="*/ 507206 w 1466850"/>
                <a:gd name="connsiteY96" fmla="*/ 154781 h 1095375"/>
                <a:gd name="connsiteX97" fmla="*/ 495300 w 1466850"/>
                <a:gd name="connsiteY97" fmla="*/ 123825 h 1095375"/>
                <a:gd name="connsiteX98" fmla="*/ 490537 w 1466850"/>
                <a:gd name="connsiteY98" fmla="*/ 114300 h 1095375"/>
                <a:gd name="connsiteX99" fmla="*/ 431006 w 1466850"/>
                <a:gd name="connsiteY99" fmla="*/ 97631 h 1095375"/>
                <a:gd name="connsiteX100" fmla="*/ 442912 w 1466850"/>
                <a:gd name="connsiteY100" fmla="*/ 33337 h 1095375"/>
                <a:gd name="connsiteX101" fmla="*/ 423862 w 1466850"/>
                <a:gd name="connsiteY101" fmla="*/ 19050 h 1095375"/>
                <a:gd name="connsiteX102" fmla="*/ 335756 w 1466850"/>
                <a:gd name="connsiteY102" fmla="*/ 0 h 1095375"/>
                <a:gd name="connsiteX103" fmla="*/ 302419 w 1466850"/>
                <a:gd name="connsiteY103" fmla="*/ 35719 h 1095375"/>
                <a:gd name="connsiteX104" fmla="*/ 266700 w 1466850"/>
                <a:gd name="connsiteY104" fmla="*/ 50006 h 1095375"/>
                <a:gd name="connsiteX105" fmla="*/ 271462 w 1466850"/>
                <a:gd name="connsiteY105" fmla="*/ 95250 h 1095375"/>
                <a:gd name="connsiteX106" fmla="*/ 316706 w 1466850"/>
                <a:gd name="connsiteY106" fmla="*/ 121444 h 1095375"/>
                <a:gd name="connsiteX107" fmla="*/ 302419 w 1466850"/>
                <a:gd name="connsiteY107" fmla="*/ 145256 h 1095375"/>
                <a:gd name="connsiteX108" fmla="*/ 247650 w 1466850"/>
                <a:gd name="connsiteY108" fmla="*/ 159544 h 1095375"/>
                <a:gd name="connsiteX109" fmla="*/ 214312 w 1466850"/>
                <a:gd name="connsiteY109" fmla="*/ 216694 h 1095375"/>
                <a:gd name="connsiteX110" fmla="*/ 183356 w 1466850"/>
                <a:gd name="connsiteY110" fmla="*/ 221456 h 1095375"/>
                <a:gd name="connsiteX111" fmla="*/ 183356 w 1466850"/>
                <a:gd name="connsiteY111" fmla="*/ 254794 h 1095375"/>
                <a:gd name="connsiteX112" fmla="*/ 161925 w 1466850"/>
                <a:gd name="connsiteY112" fmla="*/ 304800 h 1095375"/>
                <a:gd name="connsiteX113" fmla="*/ 140494 w 1466850"/>
                <a:gd name="connsiteY113" fmla="*/ 323850 h 1095375"/>
                <a:gd name="connsiteX114" fmla="*/ 109538 w 1466850"/>
                <a:gd name="connsiteY114" fmla="*/ 311945 h 1095375"/>
                <a:gd name="connsiteX115" fmla="*/ 83343 w 1466850"/>
                <a:gd name="connsiteY115" fmla="*/ 302418 h 1095375"/>
                <a:gd name="connsiteX116" fmla="*/ 30956 w 1466850"/>
                <a:gd name="connsiteY116" fmla="*/ 295274 h 1095375"/>
                <a:gd name="connsiteX0" fmla="*/ 30956 w 1466850"/>
                <a:gd name="connsiteY0" fmla="*/ 295274 h 1095375"/>
                <a:gd name="connsiteX1" fmla="*/ 19050 w 1466850"/>
                <a:gd name="connsiteY1" fmla="*/ 381000 h 1095375"/>
                <a:gd name="connsiteX2" fmla="*/ 19050 w 1466850"/>
                <a:gd name="connsiteY2" fmla="*/ 397669 h 1095375"/>
                <a:gd name="connsiteX3" fmla="*/ 0 w 1466850"/>
                <a:gd name="connsiteY3" fmla="*/ 459581 h 1095375"/>
                <a:gd name="connsiteX4" fmla="*/ 7144 w 1466850"/>
                <a:gd name="connsiteY4" fmla="*/ 497681 h 1095375"/>
                <a:gd name="connsiteX5" fmla="*/ 9525 w 1466850"/>
                <a:gd name="connsiteY5" fmla="*/ 535781 h 1095375"/>
                <a:gd name="connsiteX6" fmla="*/ 19050 w 1466850"/>
                <a:gd name="connsiteY6" fmla="*/ 583406 h 1095375"/>
                <a:gd name="connsiteX7" fmla="*/ 23812 w 1466850"/>
                <a:gd name="connsiteY7" fmla="*/ 688181 h 1095375"/>
                <a:gd name="connsiteX8" fmla="*/ 35719 w 1466850"/>
                <a:gd name="connsiteY8" fmla="*/ 747712 h 1095375"/>
                <a:gd name="connsiteX9" fmla="*/ 40481 w 1466850"/>
                <a:gd name="connsiteY9" fmla="*/ 778669 h 1095375"/>
                <a:gd name="connsiteX10" fmla="*/ 47625 w 1466850"/>
                <a:gd name="connsiteY10" fmla="*/ 831056 h 1095375"/>
                <a:gd name="connsiteX11" fmla="*/ 38100 w 1466850"/>
                <a:gd name="connsiteY11" fmla="*/ 919162 h 1095375"/>
                <a:gd name="connsiteX12" fmla="*/ 78581 w 1466850"/>
                <a:gd name="connsiteY12" fmla="*/ 1028700 h 1095375"/>
                <a:gd name="connsiteX13" fmla="*/ 71437 w 1466850"/>
                <a:gd name="connsiteY13" fmla="*/ 1095375 h 1095375"/>
                <a:gd name="connsiteX14" fmla="*/ 242887 w 1466850"/>
                <a:gd name="connsiteY14" fmla="*/ 1092994 h 1095375"/>
                <a:gd name="connsiteX15" fmla="*/ 238125 w 1466850"/>
                <a:gd name="connsiteY15" fmla="*/ 1045369 h 1095375"/>
                <a:gd name="connsiteX16" fmla="*/ 230981 w 1466850"/>
                <a:gd name="connsiteY16" fmla="*/ 1035844 h 1095375"/>
                <a:gd name="connsiteX17" fmla="*/ 252412 w 1466850"/>
                <a:gd name="connsiteY17" fmla="*/ 1019175 h 1095375"/>
                <a:gd name="connsiteX18" fmla="*/ 314325 w 1466850"/>
                <a:gd name="connsiteY18" fmla="*/ 995362 h 1095375"/>
                <a:gd name="connsiteX19" fmla="*/ 311944 w 1466850"/>
                <a:gd name="connsiteY19" fmla="*/ 959644 h 1095375"/>
                <a:gd name="connsiteX20" fmla="*/ 326231 w 1466850"/>
                <a:gd name="connsiteY20" fmla="*/ 942975 h 1095375"/>
                <a:gd name="connsiteX21" fmla="*/ 452437 w 1466850"/>
                <a:gd name="connsiteY21" fmla="*/ 950119 h 1095375"/>
                <a:gd name="connsiteX22" fmla="*/ 464344 w 1466850"/>
                <a:gd name="connsiteY22" fmla="*/ 933450 h 1095375"/>
                <a:gd name="connsiteX23" fmla="*/ 476250 w 1466850"/>
                <a:gd name="connsiteY23" fmla="*/ 883444 h 1095375"/>
                <a:gd name="connsiteX24" fmla="*/ 488156 w 1466850"/>
                <a:gd name="connsiteY24" fmla="*/ 857250 h 1095375"/>
                <a:gd name="connsiteX25" fmla="*/ 526256 w 1466850"/>
                <a:gd name="connsiteY25" fmla="*/ 862012 h 1095375"/>
                <a:gd name="connsiteX26" fmla="*/ 545306 w 1466850"/>
                <a:gd name="connsiteY26" fmla="*/ 909637 h 1095375"/>
                <a:gd name="connsiteX27" fmla="*/ 566737 w 1466850"/>
                <a:gd name="connsiteY27" fmla="*/ 881062 h 1095375"/>
                <a:gd name="connsiteX28" fmla="*/ 621506 w 1466850"/>
                <a:gd name="connsiteY28" fmla="*/ 845344 h 1095375"/>
                <a:gd name="connsiteX29" fmla="*/ 709612 w 1466850"/>
                <a:gd name="connsiteY29" fmla="*/ 814387 h 1095375"/>
                <a:gd name="connsiteX30" fmla="*/ 716756 w 1466850"/>
                <a:gd name="connsiteY30" fmla="*/ 769144 h 1095375"/>
                <a:gd name="connsiteX31" fmla="*/ 742950 w 1466850"/>
                <a:gd name="connsiteY31" fmla="*/ 750094 h 1095375"/>
                <a:gd name="connsiteX32" fmla="*/ 785812 w 1466850"/>
                <a:gd name="connsiteY32" fmla="*/ 726281 h 1095375"/>
                <a:gd name="connsiteX33" fmla="*/ 800100 w 1466850"/>
                <a:gd name="connsiteY33" fmla="*/ 716756 h 1095375"/>
                <a:gd name="connsiteX34" fmla="*/ 862012 w 1466850"/>
                <a:gd name="connsiteY34" fmla="*/ 721519 h 1095375"/>
                <a:gd name="connsiteX35" fmla="*/ 883444 w 1466850"/>
                <a:gd name="connsiteY35" fmla="*/ 721519 h 1095375"/>
                <a:gd name="connsiteX36" fmla="*/ 892969 w 1466850"/>
                <a:gd name="connsiteY36" fmla="*/ 697706 h 1095375"/>
                <a:gd name="connsiteX37" fmla="*/ 892969 w 1466850"/>
                <a:gd name="connsiteY37" fmla="*/ 697706 h 1095375"/>
                <a:gd name="connsiteX38" fmla="*/ 921544 w 1466850"/>
                <a:gd name="connsiteY38" fmla="*/ 609600 h 1095375"/>
                <a:gd name="connsiteX39" fmla="*/ 909637 w 1466850"/>
                <a:gd name="connsiteY39" fmla="*/ 552450 h 1095375"/>
                <a:gd name="connsiteX40" fmla="*/ 928687 w 1466850"/>
                <a:gd name="connsiteY40" fmla="*/ 540544 h 1095375"/>
                <a:gd name="connsiteX41" fmla="*/ 973931 w 1466850"/>
                <a:gd name="connsiteY41" fmla="*/ 535781 h 1095375"/>
                <a:gd name="connsiteX42" fmla="*/ 1014412 w 1466850"/>
                <a:gd name="connsiteY42" fmla="*/ 447675 h 1095375"/>
                <a:gd name="connsiteX43" fmla="*/ 1038225 w 1466850"/>
                <a:gd name="connsiteY43" fmla="*/ 445294 h 1095375"/>
                <a:gd name="connsiteX44" fmla="*/ 1073944 w 1466850"/>
                <a:gd name="connsiteY44" fmla="*/ 476250 h 1095375"/>
                <a:gd name="connsiteX45" fmla="*/ 1112044 w 1466850"/>
                <a:gd name="connsiteY45" fmla="*/ 514350 h 1095375"/>
                <a:gd name="connsiteX46" fmla="*/ 1171575 w 1466850"/>
                <a:gd name="connsiteY46" fmla="*/ 540544 h 1095375"/>
                <a:gd name="connsiteX47" fmla="*/ 1219200 w 1466850"/>
                <a:gd name="connsiteY47" fmla="*/ 521494 h 1095375"/>
                <a:gd name="connsiteX48" fmla="*/ 1245394 w 1466850"/>
                <a:gd name="connsiteY48" fmla="*/ 502444 h 1095375"/>
                <a:gd name="connsiteX49" fmla="*/ 1278731 w 1466850"/>
                <a:gd name="connsiteY49" fmla="*/ 511969 h 1095375"/>
                <a:gd name="connsiteX50" fmla="*/ 1295400 w 1466850"/>
                <a:gd name="connsiteY50" fmla="*/ 531019 h 1095375"/>
                <a:gd name="connsiteX51" fmla="*/ 1273969 w 1466850"/>
                <a:gd name="connsiteY51" fmla="*/ 573881 h 1095375"/>
                <a:gd name="connsiteX52" fmla="*/ 1271587 w 1466850"/>
                <a:gd name="connsiteY52" fmla="*/ 602456 h 1095375"/>
                <a:gd name="connsiteX53" fmla="*/ 1285875 w 1466850"/>
                <a:gd name="connsiteY53" fmla="*/ 611981 h 1095375"/>
                <a:gd name="connsiteX54" fmla="*/ 1300162 w 1466850"/>
                <a:gd name="connsiteY54" fmla="*/ 628650 h 1095375"/>
                <a:gd name="connsiteX55" fmla="*/ 1321594 w 1466850"/>
                <a:gd name="connsiteY55" fmla="*/ 666750 h 1095375"/>
                <a:gd name="connsiteX56" fmla="*/ 1347787 w 1466850"/>
                <a:gd name="connsiteY56" fmla="*/ 681037 h 1095375"/>
                <a:gd name="connsiteX57" fmla="*/ 1371600 w 1466850"/>
                <a:gd name="connsiteY57" fmla="*/ 681037 h 1095375"/>
                <a:gd name="connsiteX58" fmla="*/ 1376362 w 1466850"/>
                <a:gd name="connsiteY58" fmla="*/ 628650 h 1095375"/>
                <a:gd name="connsiteX59" fmla="*/ 1395412 w 1466850"/>
                <a:gd name="connsiteY59" fmla="*/ 578644 h 1095375"/>
                <a:gd name="connsiteX60" fmla="*/ 1426369 w 1466850"/>
                <a:gd name="connsiteY60" fmla="*/ 571500 h 1095375"/>
                <a:gd name="connsiteX61" fmla="*/ 1466850 w 1466850"/>
                <a:gd name="connsiteY61" fmla="*/ 552450 h 1095375"/>
                <a:gd name="connsiteX62" fmla="*/ 1443037 w 1466850"/>
                <a:gd name="connsiteY62" fmla="*/ 509587 h 1095375"/>
                <a:gd name="connsiteX63" fmla="*/ 1414462 w 1466850"/>
                <a:gd name="connsiteY63" fmla="*/ 464344 h 1095375"/>
                <a:gd name="connsiteX64" fmla="*/ 1388269 w 1466850"/>
                <a:gd name="connsiteY64" fmla="*/ 438150 h 1095375"/>
                <a:gd name="connsiteX65" fmla="*/ 1404937 w 1466850"/>
                <a:gd name="connsiteY65" fmla="*/ 400050 h 1095375"/>
                <a:gd name="connsiteX66" fmla="*/ 1404937 w 1466850"/>
                <a:gd name="connsiteY66" fmla="*/ 383381 h 1095375"/>
                <a:gd name="connsiteX67" fmla="*/ 1431131 w 1466850"/>
                <a:gd name="connsiteY67" fmla="*/ 338137 h 1095375"/>
                <a:gd name="connsiteX68" fmla="*/ 1419225 w 1466850"/>
                <a:gd name="connsiteY68" fmla="*/ 264319 h 1095375"/>
                <a:gd name="connsiteX69" fmla="*/ 1438275 w 1466850"/>
                <a:gd name="connsiteY69" fmla="*/ 202406 h 1095375"/>
                <a:gd name="connsiteX70" fmla="*/ 1435894 w 1466850"/>
                <a:gd name="connsiteY70" fmla="*/ 173831 h 1095375"/>
                <a:gd name="connsiteX71" fmla="*/ 1404937 w 1466850"/>
                <a:gd name="connsiteY71" fmla="*/ 164306 h 1095375"/>
                <a:gd name="connsiteX72" fmla="*/ 1364456 w 1466850"/>
                <a:gd name="connsiteY72" fmla="*/ 154781 h 1095375"/>
                <a:gd name="connsiteX73" fmla="*/ 1293019 w 1466850"/>
                <a:gd name="connsiteY73" fmla="*/ 154781 h 1095375"/>
                <a:gd name="connsiteX74" fmla="*/ 1233487 w 1466850"/>
                <a:gd name="connsiteY74" fmla="*/ 121444 h 1095375"/>
                <a:gd name="connsiteX75" fmla="*/ 1207294 w 1466850"/>
                <a:gd name="connsiteY75" fmla="*/ 114300 h 1095375"/>
                <a:gd name="connsiteX76" fmla="*/ 1188244 w 1466850"/>
                <a:gd name="connsiteY76" fmla="*/ 126206 h 1095375"/>
                <a:gd name="connsiteX77" fmla="*/ 1133475 w 1466850"/>
                <a:gd name="connsiteY77" fmla="*/ 188119 h 1095375"/>
                <a:gd name="connsiteX78" fmla="*/ 1116806 w 1466850"/>
                <a:gd name="connsiteY78" fmla="*/ 188119 h 1095375"/>
                <a:gd name="connsiteX79" fmla="*/ 1078706 w 1466850"/>
                <a:gd name="connsiteY79" fmla="*/ 142875 h 1095375"/>
                <a:gd name="connsiteX80" fmla="*/ 1054894 w 1466850"/>
                <a:gd name="connsiteY80" fmla="*/ 138112 h 1095375"/>
                <a:gd name="connsiteX81" fmla="*/ 997744 w 1466850"/>
                <a:gd name="connsiteY81" fmla="*/ 157162 h 1095375"/>
                <a:gd name="connsiteX82" fmla="*/ 973931 w 1466850"/>
                <a:gd name="connsiteY82" fmla="*/ 178594 h 1095375"/>
                <a:gd name="connsiteX83" fmla="*/ 928687 w 1466850"/>
                <a:gd name="connsiteY83" fmla="*/ 173831 h 1095375"/>
                <a:gd name="connsiteX84" fmla="*/ 878681 w 1466850"/>
                <a:gd name="connsiteY84" fmla="*/ 164306 h 1095375"/>
                <a:gd name="connsiteX85" fmla="*/ 864394 w 1466850"/>
                <a:gd name="connsiteY85" fmla="*/ 83344 h 1095375"/>
                <a:gd name="connsiteX86" fmla="*/ 845344 w 1466850"/>
                <a:gd name="connsiteY86" fmla="*/ 69056 h 1095375"/>
                <a:gd name="connsiteX87" fmla="*/ 747712 w 1466850"/>
                <a:gd name="connsiteY87" fmla="*/ 119062 h 1095375"/>
                <a:gd name="connsiteX88" fmla="*/ 721519 w 1466850"/>
                <a:gd name="connsiteY88" fmla="*/ 140494 h 1095375"/>
                <a:gd name="connsiteX89" fmla="*/ 709612 w 1466850"/>
                <a:gd name="connsiteY89" fmla="*/ 190500 h 1095375"/>
                <a:gd name="connsiteX90" fmla="*/ 707231 w 1466850"/>
                <a:gd name="connsiteY90" fmla="*/ 195262 h 1095375"/>
                <a:gd name="connsiteX91" fmla="*/ 654844 w 1466850"/>
                <a:gd name="connsiteY91" fmla="*/ 190500 h 1095375"/>
                <a:gd name="connsiteX92" fmla="*/ 633412 w 1466850"/>
                <a:gd name="connsiteY92" fmla="*/ 180975 h 1095375"/>
                <a:gd name="connsiteX93" fmla="*/ 614362 w 1466850"/>
                <a:gd name="connsiteY93" fmla="*/ 142875 h 1095375"/>
                <a:gd name="connsiteX94" fmla="*/ 590550 w 1466850"/>
                <a:gd name="connsiteY94" fmla="*/ 130969 h 1095375"/>
                <a:gd name="connsiteX95" fmla="*/ 540544 w 1466850"/>
                <a:gd name="connsiteY95" fmla="*/ 161925 h 1095375"/>
                <a:gd name="connsiteX96" fmla="*/ 507206 w 1466850"/>
                <a:gd name="connsiteY96" fmla="*/ 154781 h 1095375"/>
                <a:gd name="connsiteX97" fmla="*/ 495300 w 1466850"/>
                <a:gd name="connsiteY97" fmla="*/ 123825 h 1095375"/>
                <a:gd name="connsiteX98" fmla="*/ 490537 w 1466850"/>
                <a:gd name="connsiteY98" fmla="*/ 114300 h 1095375"/>
                <a:gd name="connsiteX99" fmla="*/ 431006 w 1466850"/>
                <a:gd name="connsiteY99" fmla="*/ 97631 h 1095375"/>
                <a:gd name="connsiteX100" fmla="*/ 442912 w 1466850"/>
                <a:gd name="connsiteY100" fmla="*/ 33337 h 1095375"/>
                <a:gd name="connsiteX101" fmla="*/ 423862 w 1466850"/>
                <a:gd name="connsiteY101" fmla="*/ 19050 h 1095375"/>
                <a:gd name="connsiteX102" fmla="*/ 335756 w 1466850"/>
                <a:gd name="connsiteY102" fmla="*/ 0 h 1095375"/>
                <a:gd name="connsiteX103" fmla="*/ 302419 w 1466850"/>
                <a:gd name="connsiteY103" fmla="*/ 35719 h 1095375"/>
                <a:gd name="connsiteX104" fmla="*/ 266700 w 1466850"/>
                <a:gd name="connsiteY104" fmla="*/ 50006 h 1095375"/>
                <a:gd name="connsiteX105" fmla="*/ 271462 w 1466850"/>
                <a:gd name="connsiteY105" fmla="*/ 95250 h 1095375"/>
                <a:gd name="connsiteX106" fmla="*/ 316706 w 1466850"/>
                <a:gd name="connsiteY106" fmla="*/ 121444 h 1095375"/>
                <a:gd name="connsiteX107" fmla="*/ 302419 w 1466850"/>
                <a:gd name="connsiteY107" fmla="*/ 145256 h 1095375"/>
                <a:gd name="connsiteX108" fmla="*/ 247650 w 1466850"/>
                <a:gd name="connsiteY108" fmla="*/ 159544 h 1095375"/>
                <a:gd name="connsiteX109" fmla="*/ 214312 w 1466850"/>
                <a:gd name="connsiteY109" fmla="*/ 216694 h 1095375"/>
                <a:gd name="connsiteX110" fmla="*/ 183356 w 1466850"/>
                <a:gd name="connsiteY110" fmla="*/ 221456 h 1095375"/>
                <a:gd name="connsiteX111" fmla="*/ 183356 w 1466850"/>
                <a:gd name="connsiteY111" fmla="*/ 254794 h 1095375"/>
                <a:gd name="connsiteX112" fmla="*/ 161925 w 1466850"/>
                <a:gd name="connsiteY112" fmla="*/ 304800 h 1095375"/>
                <a:gd name="connsiteX113" fmla="*/ 140494 w 1466850"/>
                <a:gd name="connsiteY113" fmla="*/ 323850 h 1095375"/>
                <a:gd name="connsiteX114" fmla="*/ 109538 w 1466850"/>
                <a:gd name="connsiteY114" fmla="*/ 311945 h 1095375"/>
                <a:gd name="connsiteX115" fmla="*/ 59530 w 1466850"/>
                <a:gd name="connsiteY115" fmla="*/ 302418 h 1095375"/>
                <a:gd name="connsiteX116" fmla="*/ 30956 w 1466850"/>
                <a:gd name="connsiteY116" fmla="*/ 295274 h 1095375"/>
                <a:gd name="connsiteX0" fmla="*/ 30956 w 1466850"/>
                <a:gd name="connsiteY0" fmla="*/ 295274 h 1095375"/>
                <a:gd name="connsiteX1" fmla="*/ 19050 w 1466850"/>
                <a:gd name="connsiteY1" fmla="*/ 381000 h 1095375"/>
                <a:gd name="connsiteX2" fmla="*/ 19050 w 1466850"/>
                <a:gd name="connsiteY2" fmla="*/ 397669 h 1095375"/>
                <a:gd name="connsiteX3" fmla="*/ 0 w 1466850"/>
                <a:gd name="connsiteY3" fmla="*/ 459581 h 1095375"/>
                <a:gd name="connsiteX4" fmla="*/ 7144 w 1466850"/>
                <a:gd name="connsiteY4" fmla="*/ 497681 h 1095375"/>
                <a:gd name="connsiteX5" fmla="*/ 9525 w 1466850"/>
                <a:gd name="connsiteY5" fmla="*/ 535781 h 1095375"/>
                <a:gd name="connsiteX6" fmla="*/ 19050 w 1466850"/>
                <a:gd name="connsiteY6" fmla="*/ 583406 h 1095375"/>
                <a:gd name="connsiteX7" fmla="*/ 23812 w 1466850"/>
                <a:gd name="connsiteY7" fmla="*/ 688181 h 1095375"/>
                <a:gd name="connsiteX8" fmla="*/ 35719 w 1466850"/>
                <a:gd name="connsiteY8" fmla="*/ 747712 h 1095375"/>
                <a:gd name="connsiteX9" fmla="*/ 40481 w 1466850"/>
                <a:gd name="connsiteY9" fmla="*/ 778669 h 1095375"/>
                <a:gd name="connsiteX10" fmla="*/ 47625 w 1466850"/>
                <a:gd name="connsiteY10" fmla="*/ 831056 h 1095375"/>
                <a:gd name="connsiteX11" fmla="*/ 38100 w 1466850"/>
                <a:gd name="connsiteY11" fmla="*/ 919162 h 1095375"/>
                <a:gd name="connsiteX12" fmla="*/ 78581 w 1466850"/>
                <a:gd name="connsiteY12" fmla="*/ 1028700 h 1095375"/>
                <a:gd name="connsiteX13" fmla="*/ 71437 w 1466850"/>
                <a:gd name="connsiteY13" fmla="*/ 1095375 h 1095375"/>
                <a:gd name="connsiteX14" fmla="*/ 242887 w 1466850"/>
                <a:gd name="connsiteY14" fmla="*/ 1092994 h 1095375"/>
                <a:gd name="connsiteX15" fmla="*/ 238125 w 1466850"/>
                <a:gd name="connsiteY15" fmla="*/ 1045369 h 1095375"/>
                <a:gd name="connsiteX16" fmla="*/ 230981 w 1466850"/>
                <a:gd name="connsiteY16" fmla="*/ 1035844 h 1095375"/>
                <a:gd name="connsiteX17" fmla="*/ 252412 w 1466850"/>
                <a:gd name="connsiteY17" fmla="*/ 1019175 h 1095375"/>
                <a:gd name="connsiteX18" fmla="*/ 314325 w 1466850"/>
                <a:gd name="connsiteY18" fmla="*/ 995362 h 1095375"/>
                <a:gd name="connsiteX19" fmla="*/ 311944 w 1466850"/>
                <a:gd name="connsiteY19" fmla="*/ 959644 h 1095375"/>
                <a:gd name="connsiteX20" fmla="*/ 326231 w 1466850"/>
                <a:gd name="connsiteY20" fmla="*/ 942975 h 1095375"/>
                <a:gd name="connsiteX21" fmla="*/ 452437 w 1466850"/>
                <a:gd name="connsiteY21" fmla="*/ 950119 h 1095375"/>
                <a:gd name="connsiteX22" fmla="*/ 464344 w 1466850"/>
                <a:gd name="connsiteY22" fmla="*/ 933450 h 1095375"/>
                <a:gd name="connsiteX23" fmla="*/ 476250 w 1466850"/>
                <a:gd name="connsiteY23" fmla="*/ 883444 h 1095375"/>
                <a:gd name="connsiteX24" fmla="*/ 488156 w 1466850"/>
                <a:gd name="connsiteY24" fmla="*/ 857250 h 1095375"/>
                <a:gd name="connsiteX25" fmla="*/ 526256 w 1466850"/>
                <a:gd name="connsiteY25" fmla="*/ 862012 h 1095375"/>
                <a:gd name="connsiteX26" fmla="*/ 545306 w 1466850"/>
                <a:gd name="connsiteY26" fmla="*/ 909637 h 1095375"/>
                <a:gd name="connsiteX27" fmla="*/ 566737 w 1466850"/>
                <a:gd name="connsiteY27" fmla="*/ 881062 h 1095375"/>
                <a:gd name="connsiteX28" fmla="*/ 621506 w 1466850"/>
                <a:gd name="connsiteY28" fmla="*/ 845344 h 1095375"/>
                <a:gd name="connsiteX29" fmla="*/ 709612 w 1466850"/>
                <a:gd name="connsiteY29" fmla="*/ 814387 h 1095375"/>
                <a:gd name="connsiteX30" fmla="*/ 716756 w 1466850"/>
                <a:gd name="connsiteY30" fmla="*/ 769144 h 1095375"/>
                <a:gd name="connsiteX31" fmla="*/ 742950 w 1466850"/>
                <a:gd name="connsiteY31" fmla="*/ 750094 h 1095375"/>
                <a:gd name="connsiteX32" fmla="*/ 785812 w 1466850"/>
                <a:gd name="connsiteY32" fmla="*/ 726281 h 1095375"/>
                <a:gd name="connsiteX33" fmla="*/ 800100 w 1466850"/>
                <a:gd name="connsiteY33" fmla="*/ 716756 h 1095375"/>
                <a:gd name="connsiteX34" fmla="*/ 862012 w 1466850"/>
                <a:gd name="connsiteY34" fmla="*/ 721519 h 1095375"/>
                <a:gd name="connsiteX35" fmla="*/ 883444 w 1466850"/>
                <a:gd name="connsiteY35" fmla="*/ 721519 h 1095375"/>
                <a:gd name="connsiteX36" fmla="*/ 892969 w 1466850"/>
                <a:gd name="connsiteY36" fmla="*/ 697706 h 1095375"/>
                <a:gd name="connsiteX37" fmla="*/ 892969 w 1466850"/>
                <a:gd name="connsiteY37" fmla="*/ 697706 h 1095375"/>
                <a:gd name="connsiteX38" fmla="*/ 921544 w 1466850"/>
                <a:gd name="connsiteY38" fmla="*/ 609600 h 1095375"/>
                <a:gd name="connsiteX39" fmla="*/ 909637 w 1466850"/>
                <a:gd name="connsiteY39" fmla="*/ 552450 h 1095375"/>
                <a:gd name="connsiteX40" fmla="*/ 928687 w 1466850"/>
                <a:gd name="connsiteY40" fmla="*/ 540544 h 1095375"/>
                <a:gd name="connsiteX41" fmla="*/ 973931 w 1466850"/>
                <a:gd name="connsiteY41" fmla="*/ 535781 h 1095375"/>
                <a:gd name="connsiteX42" fmla="*/ 1014412 w 1466850"/>
                <a:gd name="connsiteY42" fmla="*/ 447675 h 1095375"/>
                <a:gd name="connsiteX43" fmla="*/ 1038225 w 1466850"/>
                <a:gd name="connsiteY43" fmla="*/ 445294 h 1095375"/>
                <a:gd name="connsiteX44" fmla="*/ 1073944 w 1466850"/>
                <a:gd name="connsiteY44" fmla="*/ 476250 h 1095375"/>
                <a:gd name="connsiteX45" fmla="*/ 1112044 w 1466850"/>
                <a:gd name="connsiteY45" fmla="*/ 514350 h 1095375"/>
                <a:gd name="connsiteX46" fmla="*/ 1171575 w 1466850"/>
                <a:gd name="connsiteY46" fmla="*/ 540544 h 1095375"/>
                <a:gd name="connsiteX47" fmla="*/ 1219200 w 1466850"/>
                <a:gd name="connsiteY47" fmla="*/ 521494 h 1095375"/>
                <a:gd name="connsiteX48" fmla="*/ 1245394 w 1466850"/>
                <a:gd name="connsiteY48" fmla="*/ 502444 h 1095375"/>
                <a:gd name="connsiteX49" fmla="*/ 1278731 w 1466850"/>
                <a:gd name="connsiteY49" fmla="*/ 511969 h 1095375"/>
                <a:gd name="connsiteX50" fmla="*/ 1295400 w 1466850"/>
                <a:gd name="connsiteY50" fmla="*/ 531019 h 1095375"/>
                <a:gd name="connsiteX51" fmla="*/ 1273969 w 1466850"/>
                <a:gd name="connsiteY51" fmla="*/ 573881 h 1095375"/>
                <a:gd name="connsiteX52" fmla="*/ 1271587 w 1466850"/>
                <a:gd name="connsiteY52" fmla="*/ 602456 h 1095375"/>
                <a:gd name="connsiteX53" fmla="*/ 1285875 w 1466850"/>
                <a:gd name="connsiteY53" fmla="*/ 611981 h 1095375"/>
                <a:gd name="connsiteX54" fmla="*/ 1300162 w 1466850"/>
                <a:gd name="connsiteY54" fmla="*/ 628650 h 1095375"/>
                <a:gd name="connsiteX55" fmla="*/ 1321594 w 1466850"/>
                <a:gd name="connsiteY55" fmla="*/ 666750 h 1095375"/>
                <a:gd name="connsiteX56" fmla="*/ 1347787 w 1466850"/>
                <a:gd name="connsiteY56" fmla="*/ 681037 h 1095375"/>
                <a:gd name="connsiteX57" fmla="*/ 1371600 w 1466850"/>
                <a:gd name="connsiteY57" fmla="*/ 681037 h 1095375"/>
                <a:gd name="connsiteX58" fmla="*/ 1376362 w 1466850"/>
                <a:gd name="connsiteY58" fmla="*/ 628650 h 1095375"/>
                <a:gd name="connsiteX59" fmla="*/ 1395412 w 1466850"/>
                <a:gd name="connsiteY59" fmla="*/ 578644 h 1095375"/>
                <a:gd name="connsiteX60" fmla="*/ 1426369 w 1466850"/>
                <a:gd name="connsiteY60" fmla="*/ 571500 h 1095375"/>
                <a:gd name="connsiteX61" fmla="*/ 1466850 w 1466850"/>
                <a:gd name="connsiteY61" fmla="*/ 552450 h 1095375"/>
                <a:gd name="connsiteX62" fmla="*/ 1443037 w 1466850"/>
                <a:gd name="connsiteY62" fmla="*/ 509587 h 1095375"/>
                <a:gd name="connsiteX63" fmla="*/ 1414462 w 1466850"/>
                <a:gd name="connsiteY63" fmla="*/ 464344 h 1095375"/>
                <a:gd name="connsiteX64" fmla="*/ 1388269 w 1466850"/>
                <a:gd name="connsiteY64" fmla="*/ 438150 h 1095375"/>
                <a:gd name="connsiteX65" fmla="*/ 1404937 w 1466850"/>
                <a:gd name="connsiteY65" fmla="*/ 400050 h 1095375"/>
                <a:gd name="connsiteX66" fmla="*/ 1404937 w 1466850"/>
                <a:gd name="connsiteY66" fmla="*/ 383381 h 1095375"/>
                <a:gd name="connsiteX67" fmla="*/ 1431131 w 1466850"/>
                <a:gd name="connsiteY67" fmla="*/ 338137 h 1095375"/>
                <a:gd name="connsiteX68" fmla="*/ 1419225 w 1466850"/>
                <a:gd name="connsiteY68" fmla="*/ 264319 h 1095375"/>
                <a:gd name="connsiteX69" fmla="*/ 1438275 w 1466850"/>
                <a:gd name="connsiteY69" fmla="*/ 202406 h 1095375"/>
                <a:gd name="connsiteX70" fmla="*/ 1435894 w 1466850"/>
                <a:gd name="connsiteY70" fmla="*/ 173831 h 1095375"/>
                <a:gd name="connsiteX71" fmla="*/ 1404937 w 1466850"/>
                <a:gd name="connsiteY71" fmla="*/ 164306 h 1095375"/>
                <a:gd name="connsiteX72" fmla="*/ 1364456 w 1466850"/>
                <a:gd name="connsiteY72" fmla="*/ 154781 h 1095375"/>
                <a:gd name="connsiteX73" fmla="*/ 1293019 w 1466850"/>
                <a:gd name="connsiteY73" fmla="*/ 154781 h 1095375"/>
                <a:gd name="connsiteX74" fmla="*/ 1233487 w 1466850"/>
                <a:gd name="connsiteY74" fmla="*/ 121444 h 1095375"/>
                <a:gd name="connsiteX75" fmla="*/ 1207294 w 1466850"/>
                <a:gd name="connsiteY75" fmla="*/ 114300 h 1095375"/>
                <a:gd name="connsiteX76" fmla="*/ 1188244 w 1466850"/>
                <a:gd name="connsiteY76" fmla="*/ 126206 h 1095375"/>
                <a:gd name="connsiteX77" fmla="*/ 1133475 w 1466850"/>
                <a:gd name="connsiteY77" fmla="*/ 188119 h 1095375"/>
                <a:gd name="connsiteX78" fmla="*/ 1116806 w 1466850"/>
                <a:gd name="connsiteY78" fmla="*/ 188119 h 1095375"/>
                <a:gd name="connsiteX79" fmla="*/ 1078706 w 1466850"/>
                <a:gd name="connsiteY79" fmla="*/ 142875 h 1095375"/>
                <a:gd name="connsiteX80" fmla="*/ 1054894 w 1466850"/>
                <a:gd name="connsiteY80" fmla="*/ 138112 h 1095375"/>
                <a:gd name="connsiteX81" fmla="*/ 997744 w 1466850"/>
                <a:gd name="connsiteY81" fmla="*/ 157162 h 1095375"/>
                <a:gd name="connsiteX82" fmla="*/ 973931 w 1466850"/>
                <a:gd name="connsiteY82" fmla="*/ 178594 h 1095375"/>
                <a:gd name="connsiteX83" fmla="*/ 928687 w 1466850"/>
                <a:gd name="connsiteY83" fmla="*/ 173831 h 1095375"/>
                <a:gd name="connsiteX84" fmla="*/ 878681 w 1466850"/>
                <a:gd name="connsiteY84" fmla="*/ 164306 h 1095375"/>
                <a:gd name="connsiteX85" fmla="*/ 864394 w 1466850"/>
                <a:gd name="connsiteY85" fmla="*/ 83344 h 1095375"/>
                <a:gd name="connsiteX86" fmla="*/ 845344 w 1466850"/>
                <a:gd name="connsiteY86" fmla="*/ 69056 h 1095375"/>
                <a:gd name="connsiteX87" fmla="*/ 747712 w 1466850"/>
                <a:gd name="connsiteY87" fmla="*/ 119062 h 1095375"/>
                <a:gd name="connsiteX88" fmla="*/ 721519 w 1466850"/>
                <a:gd name="connsiteY88" fmla="*/ 140494 h 1095375"/>
                <a:gd name="connsiteX89" fmla="*/ 709612 w 1466850"/>
                <a:gd name="connsiteY89" fmla="*/ 190500 h 1095375"/>
                <a:gd name="connsiteX90" fmla="*/ 707231 w 1466850"/>
                <a:gd name="connsiteY90" fmla="*/ 195262 h 1095375"/>
                <a:gd name="connsiteX91" fmla="*/ 654844 w 1466850"/>
                <a:gd name="connsiteY91" fmla="*/ 190500 h 1095375"/>
                <a:gd name="connsiteX92" fmla="*/ 633412 w 1466850"/>
                <a:gd name="connsiteY92" fmla="*/ 180975 h 1095375"/>
                <a:gd name="connsiteX93" fmla="*/ 614362 w 1466850"/>
                <a:gd name="connsiteY93" fmla="*/ 142875 h 1095375"/>
                <a:gd name="connsiteX94" fmla="*/ 590550 w 1466850"/>
                <a:gd name="connsiteY94" fmla="*/ 130969 h 1095375"/>
                <a:gd name="connsiteX95" fmla="*/ 540544 w 1466850"/>
                <a:gd name="connsiteY95" fmla="*/ 161925 h 1095375"/>
                <a:gd name="connsiteX96" fmla="*/ 507206 w 1466850"/>
                <a:gd name="connsiteY96" fmla="*/ 154781 h 1095375"/>
                <a:gd name="connsiteX97" fmla="*/ 495300 w 1466850"/>
                <a:gd name="connsiteY97" fmla="*/ 123825 h 1095375"/>
                <a:gd name="connsiteX98" fmla="*/ 490537 w 1466850"/>
                <a:gd name="connsiteY98" fmla="*/ 114300 h 1095375"/>
                <a:gd name="connsiteX99" fmla="*/ 431006 w 1466850"/>
                <a:gd name="connsiteY99" fmla="*/ 97631 h 1095375"/>
                <a:gd name="connsiteX100" fmla="*/ 442912 w 1466850"/>
                <a:gd name="connsiteY100" fmla="*/ 33337 h 1095375"/>
                <a:gd name="connsiteX101" fmla="*/ 423862 w 1466850"/>
                <a:gd name="connsiteY101" fmla="*/ 19050 h 1095375"/>
                <a:gd name="connsiteX102" fmla="*/ 335756 w 1466850"/>
                <a:gd name="connsiteY102" fmla="*/ 0 h 1095375"/>
                <a:gd name="connsiteX103" fmla="*/ 302419 w 1466850"/>
                <a:gd name="connsiteY103" fmla="*/ 35719 h 1095375"/>
                <a:gd name="connsiteX104" fmla="*/ 266700 w 1466850"/>
                <a:gd name="connsiteY104" fmla="*/ 50006 h 1095375"/>
                <a:gd name="connsiteX105" fmla="*/ 271462 w 1466850"/>
                <a:gd name="connsiteY105" fmla="*/ 95250 h 1095375"/>
                <a:gd name="connsiteX106" fmla="*/ 316706 w 1466850"/>
                <a:gd name="connsiteY106" fmla="*/ 121444 h 1095375"/>
                <a:gd name="connsiteX107" fmla="*/ 302419 w 1466850"/>
                <a:gd name="connsiteY107" fmla="*/ 145256 h 1095375"/>
                <a:gd name="connsiteX108" fmla="*/ 247650 w 1466850"/>
                <a:gd name="connsiteY108" fmla="*/ 159544 h 1095375"/>
                <a:gd name="connsiteX109" fmla="*/ 214312 w 1466850"/>
                <a:gd name="connsiteY109" fmla="*/ 216694 h 1095375"/>
                <a:gd name="connsiteX110" fmla="*/ 183356 w 1466850"/>
                <a:gd name="connsiteY110" fmla="*/ 221456 h 1095375"/>
                <a:gd name="connsiteX111" fmla="*/ 183356 w 1466850"/>
                <a:gd name="connsiteY111" fmla="*/ 254794 h 1095375"/>
                <a:gd name="connsiteX112" fmla="*/ 161925 w 1466850"/>
                <a:gd name="connsiteY112" fmla="*/ 304800 h 1095375"/>
                <a:gd name="connsiteX113" fmla="*/ 140494 w 1466850"/>
                <a:gd name="connsiteY113" fmla="*/ 323850 h 1095375"/>
                <a:gd name="connsiteX114" fmla="*/ 66676 w 1466850"/>
                <a:gd name="connsiteY114" fmla="*/ 321470 h 1095375"/>
                <a:gd name="connsiteX115" fmla="*/ 59530 w 1466850"/>
                <a:gd name="connsiteY115" fmla="*/ 302418 h 1095375"/>
                <a:gd name="connsiteX116" fmla="*/ 30956 w 1466850"/>
                <a:gd name="connsiteY116" fmla="*/ 295274 h 1095375"/>
                <a:gd name="connsiteX0" fmla="*/ 30956 w 1466850"/>
                <a:gd name="connsiteY0" fmla="*/ 295274 h 1095375"/>
                <a:gd name="connsiteX1" fmla="*/ 19050 w 1466850"/>
                <a:gd name="connsiteY1" fmla="*/ 381000 h 1095375"/>
                <a:gd name="connsiteX2" fmla="*/ 19050 w 1466850"/>
                <a:gd name="connsiteY2" fmla="*/ 397669 h 1095375"/>
                <a:gd name="connsiteX3" fmla="*/ 0 w 1466850"/>
                <a:gd name="connsiteY3" fmla="*/ 459581 h 1095375"/>
                <a:gd name="connsiteX4" fmla="*/ 7144 w 1466850"/>
                <a:gd name="connsiteY4" fmla="*/ 497681 h 1095375"/>
                <a:gd name="connsiteX5" fmla="*/ 9525 w 1466850"/>
                <a:gd name="connsiteY5" fmla="*/ 535781 h 1095375"/>
                <a:gd name="connsiteX6" fmla="*/ 19050 w 1466850"/>
                <a:gd name="connsiteY6" fmla="*/ 583406 h 1095375"/>
                <a:gd name="connsiteX7" fmla="*/ 23812 w 1466850"/>
                <a:gd name="connsiteY7" fmla="*/ 688181 h 1095375"/>
                <a:gd name="connsiteX8" fmla="*/ 35719 w 1466850"/>
                <a:gd name="connsiteY8" fmla="*/ 747712 h 1095375"/>
                <a:gd name="connsiteX9" fmla="*/ 40481 w 1466850"/>
                <a:gd name="connsiteY9" fmla="*/ 778669 h 1095375"/>
                <a:gd name="connsiteX10" fmla="*/ 47625 w 1466850"/>
                <a:gd name="connsiteY10" fmla="*/ 831056 h 1095375"/>
                <a:gd name="connsiteX11" fmla="*/ 38100 w 1466850"/>
                <a:gd name="connsiteY11" fmla="*/ 919162 h 1095375"/>
                <a:gd name="connsiteX12" fmla="*/ 78581 w 1466850"/>
                <a:gd name="connsiteY12" fmla="*/ 1028700 h 1095375"/>
                <a:gd name="connsiteX13" fmla="*/ 71437 w 1466850"/>
                <a:gd name="connsiteY13" fmla="*/ 1095375 h 1095375"/>
                <a:gd name="connsiteX14" fmla="*/ 242887 w 1466850"/>
                <a:gd name="connsiteY14" fmla="*/ 1092994 h 1095375"/>
                <a:gd name="connsiteX15" fmla="*/ 238125 w 1466850"/>
                <a:gd name="connsiteY15" fmla="*/ 1045369 h 1095375"/>
                <a:gd name="connsiteX16" fmla="*/ 230981 w 1466850"/>
                <a:gd name="connsiteY16" fmla="*/ 1035844 h 1095375"/>
                <a:gd name="connsiteX17" fmla="*/ 252412 w 1466850"/>
                <a:gd name="connsiteY17" fmla="*/ 1019175 h 1095375"/>
                <a:gd name="connsiteX18" fmla="*/ 314325 w 1466850"/>
                <a:gd name="connsiteY18" fmla="*/ 995362 h 1095375"/>
                <a:gd name="connsiteX19" fmla="*/ 311944 w 1466850"/>
                <a:gd name="connsiteY19" fmla="*/ 959644 h 1095375"/>
                <a:gd name="connsiteX20" fmla="*/ 326231 w 1466850"/>
                <a:gd name="connsiteY20" fmla="*/ 942975 h 1095375"/>
                <a:gd name="connsiteX21" fmla="*/ 452437 w 1466850"/>
                <a:gd name="connsiteY21" fmla="*/ 950119 h 1095375"/>
                <a:gd name="connsiteX22" fmla="*/ 464344 w 1466850"/>
                <a:gd name="connsiteY22" fmla="*/ 933450 h 1095375"/>
                <a:gd name="connsiteX23" fmla="*/ 476250 w 1466850"/>
                <a:gd name="connsiteY23" fmla="*/ 883444 h 1095375"/>
                <a:gd name="connsiteX24" fmla="*/ 488156 w 1466850"/>
                <a:gd name="connsiteY24" fmla="*/ 857250 h 1095375"/>
                <a:gd name="connsiteX25" fmla="*/ 526256 w 1466850"/>
                <a:gd name="connsiteY25" fmla="*/ 862012 h 1095375"/>
                <a:gd name="connsiteX26" fmla="*/ 545306 w 1466850"/>
                <a:gd name="connsiteY26" fmla="*/ 909637 h 1095375"/>
                <a:gd name="connsiteX27" fmla="*/ 566737 w 1466850"/>
                <a:gd name="connsiteY27" fmla="*/ 881062 h 1095375"/>
                <a:gd name="connsiteX28" fmla="*/ 621506 w 1466850"/>
                <a:gd name="connsiteY28" fmla="*/ 845344 h 1095375"/>
                <a:gd name="connsiteX29" fmla="*/ 709612 w 1466850"/>
                <a:gd name="connsiteY29" fmla="*/ 814387 h 1095375"/>
                <a:gd name="connsiteX30" fmla="*/ 716756 w 1466850"/>
                <a:gd name="connsiteY30" fmla="*/ 769144 h 1095375"/>
                <a:gd name="connsiteX31" fmla="*/ 742950 w 1466850"/>
                <a:gd name="connsiteY31" fmla="*/ 750094 h 1095375"/>
                <a:gd name="connsiteX32" fmla="*/ 785812 w 1466850"/>
                <a:gd name="connsiteY32" fmla="*/ 726281 h 1095375"/>
                <a:gd name="connsiteX33" fmla="*/ 800100 w 1466850"/>
                <a:gd name="connsiteY33" fmla="*/ 716756 h 1095375"/>
                <a:gd name="connsiteX34" fmla="*/ 862012 w 1466850"/>
                <a:gd name="connsiteY34" fmla="*/ 721519 h 1095375"/>
                <a:gd name="connsiteX35" fmla="*/ 883444 w 1466850"/>
                <a:gd name="connsiteY35" fmla="*/ 721519 h 1095375"/>
                <a:gd name="connsiteX36" fmla="*/ 892969 w 1466850"/>
                <a:gd name="connsiteY36" fmla="*/ 697706 h 1095375"/>
                <a:gd name="connsiteX37" fmla="*/ 892969 w 1466850"/>
                <a:gd name="connsiteY37" fmla="*/ 697706 h 1095375"/>
                <a:gd name="connsiteX38" fmla="*/ 921544 w 1466850"/>
                <a:gd name="connsiteY38" fmla="*/ 609600 h 1095375"/>
                <a:gd name="connsiteX39" fmla="*/ 909637 w 1466850"/>
                <a:gd name="connsiteY39" fmla="*/ 552450 h 1095375"/>
                <a:gd name="connsiteX40" fmla="*/ 928687 w 1466850"/>
                <a:gd name="connsiteY40" fmla="*/ 540544 h 1095375"/>
                <a:gd name="connsiteX41" fmla="*/ 973931 w 1466850"/>
                <a:gd name="connsiteY41" fmla="*/ 535781 h 1095375"/>
                <a:gd name="connsiteX42" fmla="*/ 1014412 w 1466850"/>
                <a:gd name="connsiteY42" fmla="*/ 447675 h 1095375"/>
                <a:gd name="connsiteX43" fmla="*/ 1038225 w 1466850"/>
                <a:gd name="connsiteY43" fmla="*/ 445294 h 1095375"/>
                <a:gd name="connsiteX44" fmla="*/ 1073944 w 1466850"/>
                <a:gd name="connsiteY44" fmla="*/ 476250 h 1095375"/>
                <a:gd name="connsiteX45" fmla="*/ 1112044 w 1466850"/>
                <a:gd name="connsiteY45" fmla="*/ 514350 h 1095375"/>
                <a:gd name="connsiteX46" fmla="*/ 1171575 w 1466850"/>
                <a:gd name="connsiteY46" fmla="*/ 540544 h 1095375"/>
                <a:gd name="connsiteX47" fmla="*/ 1219200 w 1466850"/>
                <a:gd name="connsiteY47" fmla="*/ 521494 h 1095375"/>
                <a:gd name="connsiteX48" fmla="*/ 1245394 w 1466850"/>
                <a:gd name="connsiteY48" fmla="*/ 502444 h 1095375"/>
                <a:gd name="connsiteX49" fmla="*/ 1278731 w 1466850"/>
                <a:gd name="connsiteY49" fmla="*/ 511969 h 1095375"/>
                <a:gd name="connsiteX50" fmla="*/ 1295400 w 1466850"/>
                <a:gd name="connsiteY50" fmla="*/ 531019 h 1095375"/>
                <a:gd name="connsiteX51" fmla="*/ 1273969 w 1466850"/>
                <a:gd name="connsiteY51" fmla="*/ 573881 h 1095375"/>
                <a:gd name="connsiteX52" fmla="*/ 1271587 w 1466850"/>
                <a:gd name="connsiteY52" fmla="*/ 602456 h 1095375"/>
                <a:gd name="connsiteX53" fmla="*/ 1285875 w 1466850"/>
                <a:gd name="connsiteY53" fmla="*/ 611981 h 1095375"/>
                <a:gd name="connsiteX54" fmla="*/ 1300162 w 1466850"/>
                <a:gd name="connsiteY54" fmla="*/ 628650 h 1095375"/>
                <a:gd name="connsiteX55" fmla="*/ 1321594 w 1466850"/>
                <a:gd name="connsiteY55" fmla="*/ 666750 h 1095375"/>
                <a:gd name="connsiteX56" fmla="*/ 1347787 w 1466850"/>
                <a:gd name="connsiteY56" fmla="*/ 681037 h 1095375"/>
                <a:gd name="connsiteX57" fmla="*/ 1371600 w 1466850"/>
                <a:gd name="connsiteY57" fmla="*/ 681037 h 1095375"/>
                <a:gd name="connsiteX58" fmla="*/ 1376362 w 1466850"/>
                <a:gd name="connsiteY58" fmla="*/ 628650 h 1095375"/>
                <a:gd name="connsiteX59" fmla="*/ 1395412 w 1466850"/>
                <a:gd name="connsiteY59" fmla="*/ 578644 h 1095375"/>
                <a:gd name="connsiteX60" fmla="*/ 1426369 w 1466850"/>
                <a:gd name="connsiteY60" fmla="*/ 571500 h 1095375"/>
                <a:gd name="connsiteX61" fmla="*/ 1466850 w 1466850"/>
                <a:gd name="connsiteY61" fmla="*/ 552450 h 1095375"/>
                <a:gd name="connsiteX62" fmla="*/ 1443037 w 1466850"/>
                <a:gd name="connsiteY62" fmla="*/ 509587 h 1095375"/>
                <a:gd name="connsiteX63" fmla="*/ 1414462 w 1466850"/>
                <a:gd name="connsiteY63" fmla="*/ 464344 h 1095375"/>
                <a:gd name="connsiteX64" fmla="*/ 1388269 w 1466850"/>
                <a:gd name="connsiteY64" fmla="*/ 438150 h 1095375"/>
                <a:gd name="connsiteX65" fmla="*/ 1404937 w 1466850"/>
                <a:gd name="connsiteY65" fmla="*/ 400050 h 1095375"/>
                <a:gd name="connsiteX66" fmla="*/ 1404937 w 1466850"/>
                <a:gd name="connsiteY66" fmla="*/ 383381 h 1095375"/>
                <a:gd name="connsiteX67" fmla="*/ 1431131 w 1466850"/>
                <a:gd name="connsiteY67" fmla="*/ 338137 h 1095375"/>
                <a:gd name="connsiteX68" fmla="*/ 1419225 w 1466850"/>
                <a:gd name="connsiteY68" fmla="*/ 264319 h 1095375"/>
                <a:gd name="connsiteX69" fmla="*/ 1438275 w 1466850"/>
                <a:gd name="connsiteY69" fmla="*/ 202406 h 1095375"/>
                <a:gd name="connsiteX70" fmla="*/ 1435894 w 1466850"/>
                <a:gd name="connsiteY70" fmla="*/ 173831 h 1095375"/>
                <a:gd name="connsiteX71" fmla="*/ 1404937 w 1466850"/>
                <a:gd name="connsiteY71" fmla="*/ 164306 h 1095375"/>
                <a:gd name="connsiteX72" fmla="*/ 1364456 w 1466850"/>
                <a:gd name="connsiteY72" fmla="*/ 154781 h 1095375"/>
                <a:gd name="connsiteX73" fmla="*/ 1293019 w 1466850"/>
                <a:gd name="connsiteY73" fmla="*/ 154781 h 1095375"/>
                <a:gd name="connsiteX74" fmla="*/ 1233487 w 1466850"/>
                <a:gd name="connsiteY74" fmla="*/ 121444 h 1095375"/>
                <a:gd name="connsiteX75" fmla="*/ 1207294 w 1466850"/>
                <a:gd name="connsiteY75" fmla="*/ 114300 h 1095375"/>
                <a:gd name="connsiteX76" fmla="*/ 1188244 w 1466850"/>
                <a:gd name="connsiteY76" fmla="*/ 126206 h 1095375"/>
                <a:gd name="connsiteX77" fmla="*/ 1133475 w 1466850"/>
                <a:gd name="connsiteY77" fmla="*/ 188119 h 1095375"/>
                <a:gd name="connsiteX78" fmla="*/ 1116806 w 1466850"/>
                <a:gd name="connsiteY78" fmla="*/ 188119 h 1095375"/>
                <a:gd name="connsiteX79" fmla="*/ 1078706 w 1466850"/>
                <a:gd name="connsiteY79" fmla="*/ 142875 h 1095375"/>
                <a:gd name="connsiteX80" fmla="*/ 1054894 w 1466850"/>
                <a:gd name="connsiteY80" fmla="*/ 138112 h 1095375"/>
                <a:gd name="connsiteX81" fmla="*/ 997744 w 1466850"/>
                <a:gd name="connsiteY81" fmla="*/ 157162 h 1095375"/>
                <a:gd name="connsiteX82" fmla="*/ 973931 w 1466850"/>
                <a:gd name="connsiteY82" fmla="*/ 178594 h 1095375"/>
                <a:gd name="connsiteX83" fmla="*/ 928687 w 1466850"/>
                <a:gd name="connsiteY83" fmla="*/ 173831 h 1095375"/>
                <a:gd name="connsiteX84" fmla="*/ 878681 w 1466850"/>
                <a:gd name="connsiteY84" fmla="*/ 164306 h 1095375"/>
                <a:gd name="connsiteX85" fmla="*/ 864394 w 1466850"/>
                <a:gd name="connsiteY85" fmla="*/ 83344 h 1095375"/>
                <a:gd name="connsiteX86" fmla="*/ 845344 w 1466850"/>
                <a:gd name="connsiteY86" fmla="*/ 69056 h 1095375"/>
                <a:gd name="connsiteX87" fmla="*/ 747712 w 1466850"/>
                <a:gd name="connsiteY87" fmla="*/ 119062 h 1095375"/>
                <a:gd name="connsiteX88" fmla="*/ 721519 w 1466850"/>
                <a:gd name="connsiteY88" fmla="*/ 140494 h 1095375"/>
                <a:gd name="connsiteX89" fmla="*/ 709612 w 1466850"/>
                <a:gd name="connsiteY89" fmla="*/ 190500 h 1095375"/>
                <a:gd name="connsiteX90" fmla="*/ 707231 w 1466850"/>
                <a:gd name="connsiteY90" fmla="*/ 195262 h 1095375"/>
                <a:gd name="connsiteX91" fmla="*/ 654844 w 1466850"/>
                <a:gd name="connsiteY91" fmla="*/ 190500 h 1095375"/>
                <a:gd name="connsiteX92" fmla="*/ 633412 w 1466850"/>
                <a:gd name="connsiteY92" fmla="*/ 180975 h 1095375"/>
                <a:gd name="connsiteX93" fmla="*/ 614362 w 1466850"/>
                <a:gd name="connsiteY93" fmla="*/ 142875 h 1095375"/>
                <a:gd name="connsiteX94" fmla="*/ 590550 w 1466850"/>
                <a:gd name="connsiteY94" fmla="*/ 130969 h 1095375"/>
                <a:gd name="connsiteX95" fmla="*/ 540544 w 1466850"/>
                <a:gd name="connsiteY95" fmla="*/ 161925 h 1095375"/>
                <a:gd name="connsiteX96" fmla="*/ 507206 w 1466850"/>
                <a:gd name="connsiteY96" fmla="*/ 154781 h 1095375"/>
                <a:gd name="connsiteX97" fmla="*/ 495300 w 1466850"/>
                <a:gd name="connsiteY97" fmla="*/ 123825 h 1095375"/>
                <a:gd name="connsiteX98" fmla="*/ 490537 w 1466850"/>
                <a:gd name="connsiteY98" fmla="*/ 114300 h 1095375"/>
                <a:gd name="connsiteX99" fmla="*/ 431006 w 1466850"/>
                <a:gd name="connsiteY99" fmla="*/ 97631 h 1095375"/>
                <a:gd name="connsiteX100" fmla="*/ 442912 w 1466850"/>
                <a:gd name="connsiteY100" fmla="*/ 33337 h 1095375"/>
                <a:gd name="connsiteX101" fmla="*/ 423862 w 1466850"/>
                <a:gd name="connsiteY101" fmla="*/ 19050 h 1095375"/>
                <a:gd name="connsiteX102" fmla="*/ 335756 w 1466850"/>
                <a:gd name="connsiteY102" fmla="*/ 0 h 1095375"/>
                <a:gd name="connsiteX103" fmla="*/ 302419 w 1466850"/>
                <a:gd name="connsiteY103" fmla="*/ 35719 h 1095375"/>
                <a:gd name="connsiteX104" fmla="*/ 266700 w 1466850"/>
                <a:gd name="connsiteY104" fmla="*/ 50006 h 1095375"/>
                <a:gd name="connsiteX105" fmla="*/ 271462 w 1466850"/>
                <a:gd name="connsiteY105" fmla="*/ 95250 h 1095375"/>
                <a:gd name="connsiteX106" fmla="*/ 316706 w 1466850"/>
                <a:gd name="connsiteY106" fmla="*/ 121444 h 1095375"/>
                <a:gd name="connsiteX107" fmla="*/ 302419 w 1466850"/>
                <a:gd name="connsiteY107" fmla="*/ 145256 h 1095375"/>
                <a:gd name="connsiteX108" fmla="*/ 247650 w 1466850"/>
                <a:gd name="connsiteY108" fmla="*/ 159544 h 1095375"/>
                <a:gd name="connsiteX109" fmla="*/ 214312 w 1466850"/>
                <a:gd name="connsiteY109" fmla="*/ 216694 h 1095375"/>
                <a:gd name="connsiteX110" fmla="*/ 183356 w 1466850"/>
                <a:gd name="connsiteY110" fmla="*/ 221456 h 1095375"/>
                <a:gd name="connsiteX111" fmla="*/ 183356 w 1466850"/>
                <a:gd name="connsiteY111" fmla="*/ 254794 h 1095375"/>
                <a:gd name="connsiteX112" fmla="*/ 161925 w 1466850"/>
                <a:gd name="connsiteY112" fmla="*/ 304800 h 1095375"/>
                <a:gd name="connsiteX113" fmla="*/ 140494 w 1466850"/>
                <a:gd name="connsiteY113" fmla="*/ 323850 h 1095375"/>
                <a:gd name="connsiteX114" fmla="*/ 71439 w 1466850"/>
                <a:gd name="connsiteY114" fmla="*/ 300039 h 1095375"/>
                <a:gd name="connsiteX115" fmla="*/ 59530 w 1466850"/>
                <a:gd name="connsiteY115" fmla="*/ 302418 h 1095375"/>
                <a:gd name="connsiteX116" fmla="*/ 30956 w 1466850"/>
                <a:gd name="connsiteY116" fmla="*/ 295274 h 1095375"/>
                <a:gd name="connsiteX0" fmla="*/ 30956 w 1466850"/>
                <a:gd name="connsiteY0" fmla="*/ 295274 h 1095375"/>
                <a:gd name="connsiteX1" fmla="*/ 19050 w 1466850"/>
                <a:gd name="connsiteY1" fmla="*/ 381000 h 1095375"/>
                <a:gd name="connsiteX2" fmla="*/ 19050 w 1466850"/>
                <a:gd name="connsiteY2" fmla="*/ 397669 h 1095375"/>
                <a:gd name="connsiteX3" fmla="*/ 0 w 1466850"/>
                <a:gd name="connsiteY3" fmla="*/ 459581 h 1095375"/>
                <a:gd name="connsiteX4" fmla="*/ 7144 w 1466850"/>
                <a:gd name="connsiteY4" fmla="*/ 497681 h 1095375"/>
                <a:gd name="connsiteX5" fmla="*/ 9525 w 1466850"/>
                <a:gd name="connsiteY5" fmla="*/ 535781 h 1095375"/>
                <a:gd name="connsiteX6" fmla="*/ 19050 w 1466850"/>
                <a:gd name="connsiteY6" fmla="*/ 583406 h 1095375"/>
                <a:gd name="connsiteX7" fmla="*/ 23812 w 1466850"/>
                <a:gd name="connsiteY7" fmla="*/ 688181 h 1095375"/>
                <a:gd name="connsiteX8" fmla="*/ 35719 w 1466850"/>
                <a:gd name="connsiteY8" fmla="*/ 747712 h 1095375"/>
                <a:gd name="connsiteX9" fmla="*/ 40481 w 1466850"/>
                <a:gd name="connsiteY9" fmla="*/ 778669 h 1095375"/>
                <a:gd name="connsiteX10" fmla="*/ 47625 w 1466850"/>
                <a:gd name="connsiteY10" fmla="*/ 831056 h 1095375"/>
                <a:gd name="connsiteX11" fmla="*/ 38100 w 1466850"/>
                <a:gd name="connsiteY11" fmla="*/ 919162 h 1095375"/>
                <a:gd name="connsiteX12" fmla="*/ 78581 w 1466850"/>
                <a:gd name="connsiteY12" fmla="*/ 1028700 h 1095375"/>
                <a:gd name="connsiteX13" fmla="*/ 71437 w 1466850"/>
                <a:gd name="connsiteY13" fmla="*/ 1095375 h 1095375"/>
                <a:gd name="connsiteX14" fmla="*/ 114300 w 1466850"/>
                <a:gd name="connsiteY14" fmla="*/ 1095375 h 1095375"/>
                <a:gd name="connsiteX15" fmla="*/ 242887 w 1466850"/>
                <a:gd name="connsiteY15" fmla="*/ 1092994 h 1095375"/>
                <a:gd name="connsiteX16" fmla="*/ 238125 w 1466850"/>
                <a:gd name="connsiteY16" fmla="*/ 1045369 h 1095375"/>
                <a:gd name="connsiteX17" fmla="*/ 230981 w 1466850"/>
                <a:gd name="connsiteY17" fmla="*/ 1035844 h 1095375"/>
                <a:gd name="connsiteX18" fmla="*/ 252412 w 1466850"/>
                <a:gd name="connsiteY18" fmla="*/ 1019175 h 1095375"/>
                <a:gd name="connsiteX19" fmla="*/ 314325 w 1466850"/>
                <a:gd name="connsiteY19" fmla="*/ 995362 h 1095375"/>
                <a:gd name="connsiteX20" fmla="*/ 311944 w 1466850"/>
                <a:gd name="connsiteY20" fmla="*/ 959644 h 1095375"/>
                <a:gd name="connsiteX21" fmla="*/ 326231 w 1466850"/>
                <a:gd name="connsiteY21" fmla="*/ 942975 h 1095375"/>
                <a:gd name="connsiteX22" fmla="*/ 452437 w 1466850"/>
                <a:gd name="connsiteY22" fmla="*/ 950119 h 1095375"/>
                <a:gd name="connsiteX23" fmla="*/ 464344 w 1466850"/>
                <a:gd name="connsiteY23" fmla="*/ 933450 h 1095375"/>
                <a:gd name="connsiteX24" fmla="*/ 476250 w 1466850"/>
                <a:gd name="connsiteY24" fmla="*/ 883444 h 1095375"/>
                <a:gd name="connsiteX25" fmla="*/ 488156 w 1466850"/>
                <a:gd name="connsiteY25" fmla="*/ 857250 h 1095375"/>
                <a:gd name="connsiteX26" fmla="*/ 526256 w 1466850"/>
                <a:gd name="connsiteY26" fmla="*/ 862012 h 1095375"/>
                <a:gd name="connsiteX27" fmla="*/ 545306 w 1466850"/>
                <a:gd name="connsiteY27" fmla="*/ 909637 h 1095375"/>
                <a:gd name="connsiteX28" fmla="*/ 566737 w 1466850"/>
                <a:gd name="connsiteY28" fmla="*/ 881062 h 1095375"/>
                <a:gd name="connsiteX29" fmla="*/ 621506 w 1466850"/>
                <a:gd name="connsiteY29" fmla="*/ 845344 h 1095375"/>
                <a:gd name="connsiteX30" fmla="*/ 709612 w 1466850"/>
                <a:gd name="connsiteY30" fmla="*/ 814387 h 1095375"/>
                <a:gd name="connsiteX31" fmla="*/ 716756 w 1466850"/>
                <a:gd name="connsiteY31" fmla="*/ 769144 h 1095375"/>
                <a:gd name="connsiteX32" fmla="*/ 742950 w 1466850"/>
                <a:gd name="connsiteY32" fmla="*/ 750094 h 1095375"/>
                <a:gd name="connsiteX33" fmla="*/ 785812 w 1466850"/>
                <a:gd name="connsiteY33" fmla="*/ 726281 h 1095375"/>
                <a:gd name="connsiteX34" fmla="*/ 800100 w 1466850"/>
                <a:gd name="connsiteY34" fmla="*/ 716756 h 1095375"/>
                <a:gd name="connsiteX35" fmla="*/ 862012 w 1466850"/>
                <a:gd name="connsiteY35" fmla="*/ 721519 h 1095375"/>
                <a:gd name="connsiteX36" fmla="*/ 883444 w 1466850"/>
                <a:gd name="connsiteY36" fmla="*/ 721519 h 1095375"/>
                <a:gd name="connsiteX37" fmla="*/ 892969 w 1466850"/>
                <a:gd name="connsiteY37" fmla="*/ 697706 h 1095375"/>
                <a:gd name="connsiteX38" fmla="*/ 892969 w 1466850"/>
                <a:gd name="connsiteY38" fmla="*/ 697706 h 1095375"/>
                <a:gd name="connsiteX39" fmla="*/ 921544 w 1466850"/>
                <a:gd name="connsiteY39" fmla="*/ 609600 h 1095375"/>
                <a:gd name="connsiteX40" fmla="*/ 909637 w 1466850"/>
                <a:gd name="connsiteY40" fmla="*/ 552450 h 1095375"/>
                <a:gd name="connsiteX41" fmla="*/ 928687 w 1466850"/>
                <a:gd name="connsiteY41" fmla="*/ 540544 h 1095375"/>
                <a:gd name="connsiteX42" fmla="*/ 973931 w 1466850"/>
                <a:gd name="connsiteY42" fmla="*/ 535781 h 1095375"/>
                <a:gd name="connsiteX43" fmla="*/ 1014412 w 1466850"/>
                <a:gd name="connsiteY43" fmla="*/ 447675 h 1095375"/>
                <a:gd name="connsiteX44" fmla="*/ 1038225 w 1466850"/>
                <a:gd name="connsiteY44" fmla="*/ 445294 h 1095375"/>
                <a:gd name="connsiteX45" fmla="*/ 1073944 w 1466850"/>
                <a:gd name="connsiteY45" fmla="*/ 476250 h 1095375"/>
                <a:gd name="connsiteX46" fmla="*/ 1112044 w 1466850"/>
                <a:gd name="connsiteY46" fmla="*/ 514350 h 1095375"/>
                <a:gd name="connsiteX47" fmla="*/ 1171575 w 1466850"/>
                <a:gd name="connsiteY47" fmla="*/ 540544 h 1095375"/>
                <a:gd name="connsiteX48" fmla="*/ 1219200 w 1466850"/>
                <a:gd name="connsiteY48" fmla="*/ 521494 h 1095375"/>
                <a:gd name="connsiteX49" fmla="*/ 1245394 w 1466850"/>
                <a:gd name="connsiteY49" fmla="*/ 502444 h 1095375"/>
                <a:gd name="connsiteX50" fmla="*/ 1278731 w 1466850"/>
                <a:gd name="connsiteY50" fmla="*/ 511969 h 1095375"/>
                <a:gd name="connsiteX51" fmla="*/ 1295400 w 1466850"/>
                <a:gd name="connsiteY51" fmla="*/ 531019 h 1095375"/>
                <a:gd name="connsiteX52" fmla="*/ 1273969 w 1466850"/>
                <a:gd name="connsiteY52" fmla="*/ 573881 h 1095375"/>
                <a:gd name="connsiteX53" fmla="*/ 1271587 w 1466850"/>
                <a:gd name="connsiteY53" fmla="*/ 602456 h 1095375"/>
                <a:gd name="connsiteX54" fmla="*/ 1285875 w 1466850"/>
                <a:gd name="connsiteY54" fmla="*/ 611981 h 1095375"/>
                <a:gd name="connsiteX55" fmla="*/ 1300162 w 1466850"/>
                <a:gd name="connsiteY55" fmla="*/ 628650 h 1095375"/>
                <a:gd name="connsiteX56" fmla="*/ 1321594 w 1466850"/>
                <a:gd name="connsiteY56" fmla="*/ 666750 h 1095375"/>
                <a:gd name="connsiteX57" fmla="*/ 1347787 w 1466850"/>
                <a:gd name="connsiteY57" fmla="*/ 681037 h 1095375"/>
                <a:gd name="connsiteX58" fmla="*/ 1371600 w 1466850"/>
                <a:gd name="connsiteY58" fmla="*/ 681037 h 1095375"/>
                <a:gd name="connsiteX59" fmla="*/ 1376362 w 1466850"/>
                <a:gd name="connsiteY59" fmla="*/ 628650 h 1095375"/>
                <a:gd name="connsiteX60" fmla="*/ 1395412 w 1466850"/>
                <a:gd name="connsiteY60" fmla="*/ 578644 h 1095375"/>
                <a:gd name="connsiteX61" fmla="*/ 1426369 w 1466850"/>
                <a:gd name="connsiteY61" fmla="*/ 571500 h 1095375"/>
                <a:gd name="connsiteX62" fmla="*/ 1466850 w 1466850"/>
                <a:gd name="connsiteY62" fmla="*/ 552450 h 1095375"/>
                <a:gd name="connsiteX63" fmla="*/ 1443037 w 1466850"/>
                <a:gd name="connsiteY63" fmla="*/ 509587 h 1095375"/>
                <a:gd name="connsiteX64" fmla="*/ 1414462 w 1466850"/>
                <a:gd name="connsiteY64" fmla="*/ 464344 h 1095375"/>
                <a:gd name="connsiteX65" fmla="*/ 1388269 w 1466850"/>
                <a:gd name="connsiteY65" fmla="*/ 438150 h 1095375"/>
                <a:gd name="connsiteX66" fmla="*/ 1404937 w 1466850"/>
                <a:gd name="connsiteY66" fmla="*/ 400050 h 1095375"/>
                <a:gd name="connsiteX67" fmla="*/ 1404937 w 1466850"/>
                <a:gd name="connsiteY67" fmla="*/ 383381 h 1095375"/>
                <a:gd name="connsiteX68" fmla="*/ 1431131 w 1466850"/>
                <a:gd name="connsiteY68" fmla="*/ 338137 h 1095375"/>
                <a:gd name="connsiteX69" fmla="*/ 1419225 w 1466850"/>
                <a:gd name="connsiteY69" fmla="*/ 264319 h 1095375"/>
                <a:gd name="connsiteX70" fmla="*/ 1438275 w 1466850"/>
                <a:gd name="connsiteY70" fmla="*/ 202406 h 1095375"/>
                <a:gd name="connsiteX71" fmla="*/ 1435894 w 1466850"/>
                <a:gd name="connsiteY71" fmla="*/ 173831 h 1095375"/>
                <a:gd name="connsiteX72" fmla="*/ 1404937 w 1466850"/>
                <a:gd name="connsiteY72" fmla="*/ 164306 h 1095375"/>
                <a:gd name="connsiteX73" fmla="*/ 1364456 w 1466850"/>
                <a:gd name="connsiteY73" fmla="*/ 154781 h 1095375"/>
                <a:gd name="connsiteX74" fmla="*/ 1293019 w 1466850"/>
                <a:gd name="connsiteY74" fmla="*/ 154781 h 1095375"/>
                <a:gd name="connsiteX75" fmla="*/ 1233487 w 1466850"/>
                <a:gd name="connsiteY75" fmla="*/ 121444 h 1095375"/>
                <a:gd name="connsiteX76" fmla="*/ 1207294 w 1466850"/>
                <a:gd name="connsiteY76" fmla="*/ 114300 h 1095375"/>
                <a:gd name="connsiteX77" fmla="*/ 1188244 w 1466850"/>
                <a:gd name="connsiteY77" fmla="*/ 126206 h 1095375"/>
                <a:gd name="connsiteX78" fmla="*/ 1133475 w 1466850"/>
                <a:gd name="connsiteY78" fmla="*/ 188119 h 1095375"/>
                <a:gd name="connsiteX79" fmla="*/ 1116806 w 1466850"/>
                <a:gd name="connsiteY79" fmla="*/ 188119 h 1095375"/>
                <a:gd name="connsiteX80" fmla="*/ 1078706 w 1466850"/>
                <a:gd name="connsiteY80" fmla="*/ 142875 h 1095375"/>
                <a:gd name="connsiteX81" fmla="*/ 1054894 w 1466850"/>
                <a:gd name="connsiteY81" fmla="*/ 138112 h 1095375"/>
                <a:gd name="connsiteX82" fmla="*/ 997744 w 1466850"/>
                <a:gd name="connsiteY82" fmla="*/ 157162 h 1095375"/>
                <a:gd name="connsiteX83" fmla="*/ 973931 w 1466850"/>
                <a:gd name="connsiteY83" fmla="*/ 178594 h 1095375"/>
                <a:gd name="connsiteX84" fmla="*/ 928687 w 1466850"/>
                <a:gd name="connsiteY84" fmla="*/ 173831 h 1095375"/>
                <a:gd name="connsiteX85" fmla="*/ 878681 w 1466850"/>
                <a:gd name="connsiteY85" fmla="*/ 164306 h 1095375"/>
                <a:gd name="connsiteX86" fmla="*/ 864394 w 1466850"/>
                <a:gd name="connsiteY86" fmla="*/ 83344 h 1095375"/>
                <a:gd name="connsiteX87" fmla="*/ 845344 w 1466850"/>
                <a:gd name="connsiteY87" fmla="*/ 69056 h 1095375"/>
                <a:gd name="connsiteX88" fmla="*/ 747712 w 1466850"/>
                <a:gd name="connsiteY88" fmla="*/ 119062 h 1095375"/>
                <a:gd name="connsiteX89" fmla="*/ 721519 w 1466850"/>
                <a:gd name="connsiteY89" fmla="*/ 140494 h 1095375"/>
                <a:gd name="connsiteX90" fmla="*/ 709612 w 1466850"/>
                <a:gd name="connsiteY90" fmla="*/ 190500 h 1095375"/>
                <a:gd name="connsiteX91" fmla="*/ 707231 w 1466850"/>
                <a:gd name="connsiteY91" fmla="*/ 195262 h 1095375"/>
                <a:gd name="connsiteX92" fmla="*/ 654844 w 1466850"/>
                <a:gd name="connsiteY92" fmla="*/ 190500 h 1095375"/>
                <a:gd name="connsiteX93" fmla="*/ 633412 w 1466850"/>
                <a:gd name="connsiteY93" fmla="*/ 180975 h 1095375"/>
                <a:gd name="connsiteX94" fmla="*/ 614362 w 1466850"/>
                <a:gd name="connsiteY94" fmla="*/ 142875 h 1095375"/>
                <a:gd name="connsiteX95" fmla="*/ 590550 w 1466850"/>
                <a:gd name="connsiteY95" fmla="*/ 130969 h 1095375"/>
                <a:gd name="connsiteX96" fmla="*/ 540544 w 1466850"/>
                <a:gd name="connsiteY96" fmla="*/ 161925 h 1095375"/>
                <a:gd name="connsiteX97" fmla="*/ 507206 w 1466850"/>
                <a:gd name="connsiteY97" fmla="*/ 154781 h 1095375"/>
                <a:gd name="connsiteX98" fmla="*/ 495300 w 1466850"/>
                <a:gd name="connsiteY98" fmla="*/ 123825 h 1095375"/>
                <a:gd name="connsiteX99" fmla="*/ 490537 w 1466850"/>
                <a:gd name="connsiteY99" fmla="*/ 114300 h 1095375"/>
                <a:gd name="connsiteX100" fmla="*/ 431006 w 1466850"/>
                <a:gd name="connsiteY100" fmla="*/ 97631 h 1095375"/>
                <a:gd name="connsiteX101" fmla="*/ 442912 w 1466850"/>
                <a:gd name="connsiteY101" fmla="*/ 33337 h 1095375"/>
                <a:gd name="connsiteX102" fmla="*/ 423862 w 1466850"/>
                <a:gd name="connsiteY102" fmla="*/ 19050 h 1095375"/>
                <a:gd name="connsiteX103" fmla="*/ 335756 w 1466850"/>
                <a:gd name="connsiteY103" fmla="*/ 0 h 1095375"/>
                <a:gd name="connsiteX104" fmla="*/ 302419 w 1466850"/>
                <a:gd name="connsiteY104" fmla="*/ 35719 h 1095375"/>
                <a:gd name="connsiteX105" fmla="*/ 266700 w 1466850"/>
                <a:gd name="connsiteY105" fmla="*/ 50006 h 1095375"/>
                <a:gd name="connsiteX106" fmla="*/ 271462 w 1466850"/>
                <a:gd name="connsiteY106" fmla="*/ 95250 h 1095375"/>
                <a:gd name="connsiteX107" fmla="*/ 316706 w 1466850"/>
                <a:gd name="connsiteY107" fmla="*/ 121444 h 1095375"/>
                <a:gd name="connsiteX108" fmla="*/ 302419 w 1466850"/>
                <a:gd name="connsiteY108" fmla="*/ 145256 h 1095375"/>
                <a:gd name="connsiteX109" fmla="*/ 247650 w 1466850"/>
                <a:gd name="connsiteY109" fmla="*/ 159544 h 1095375"/>
                <a:gd name="connsiteX110" fmla="*/ 214312 w 1466850"/>
                <a:gd name="connsiteY110" fmla="*/ 216694 h 1095375"/>
                <a:gd name="connsiteX111" fmla="*/ 183356 w 1466850"/>
                <a:gd name="connsiteY111" fmla="*/ 221456 h 1095375"/>
                <a:gd name="connsiteX112" fmla="*/ 183356 w 1466850"/>
                <a:gd name="connsiteY112" fmla="*/ 254794 h 1095375"/>
                <a:gd name="connsiteX113" fmla="*/ 161925 w 1466850"/>
                <a:gd name="connsiteY113" fmla="*/ 304800 h 1095375"/>
                <a:gd name="connsiteX114" fmla="*/ 140494 w 1466850"/>
                <a:gd name="connsiteY114" fmla="*/ 323850 h 1095375"/>
                <a:gd name="connsiteX115" fmla="*/ 71439 w 1466850"/>
                <a:gd name="connsiteY115" fmla="*/ 300039 h 1095375"/>
                <a:gd name="connsiteX116" fmla="*/ 59530 w 1466850"/>
                <a:gd name="connsiteY116" fmla="*/ 302418 h 1095375"/>
                <a:gd name="connsiteX117" fmla="*/ 30956 w 1466850"/>
                <a:gd name="connsiteY117" fmla="*/ 295274 h 1095375"/>
                <a:gd name="connsiteX0" fmla="*/ 30956 w 1466850"/>
                <a:gd name="connsiteY0" fmla="*/ 295274 h 1164431"/>
                <a:gd name="connsiteX1" fmla="*/ 19050 w 1466850"/>
                <a:gd name="connsiteY1" fmla="*/ 381000 h 1164431"/>
                <a:gd name="connsiteX2" fmla="*/ 19050 w 1466850"/>
                <a:gd name="connsiteY2" fmla="*/ 397669 h 1164431"/>
                <a:gd name="connsiteX3" fmla="*/ 0 w 1466850"/>
                <a:gd name="connsiteY3" fmla="*/ 459581 h 1164431"/>
                <a:gd name="connsiteX4" fmla="*/ 7144 w 1466850"/>
                <a:gd name="connsiteY4" fmla="*/ 497681 h 1164431"/>
                <a:gd name="connsiteX5" fmla="*/ 9525 w 1466850"/>
                <a:gd name="connsiteY5" fmla="*/ 535781 h 1164431"/>
                <a:gd name="connsiteX6" fmla="*/ 19050 w 1466850"/>
                <a:gd name="connsiteY6" fmla="*/ 583406 h 1164431"/>
                <a:gd name="connsiteX7" fmla="*/ 23812 w 1466850"/>
                <a:gd name="connsiteY7" fmla="*/ 688181 h 1164431"/>
                <a:gd name="connsiteX8" fmla="*/ 35719 w 1466850"/>
                <a:gd name="connsiteY8" fmla="*/ 747712 h 1164431"/>
                <a:gd name="connsiteX9" fmla="*/ 40481 w 1466850"/>
                <a:gd name="connsiteY9" fmla="*/ 778669 h 1164431"/>
                <a:gd name="connsiteX10" fmla="*/ 47625 w 1466850"/>
                <a:gd name="connsiteY10" fmla="*/ 831056 h 1164431"/>
                <a:gd name="connsiteX11" fmla="*/ 38100 w 1466850"/>
                <a:gd name="connsiteY11" fmla="*/ 919162 h 1164431"/>
                <a:gd name="connsiteX12" fmla="*/ 78581 w 1466850"/>
                <a:gd name="connsiteY12" fmla="*/ 1028700 h 1164431"/>
                <a:gd name="connsiteX13" fmla="*/ 71437 w 1466850"/>
                <a:gd name="connsiteY13" fmla="*/ 1095375 h 1164431"/>
                <a:gd name="connsiteX14" fmla="*/ 88106 w 1466850"/>
                <a:gd name="connsiteY14" fmla="*/ 1164431 h 1164431"/>
                <a:gd name="connsiteX15" fmla="*/ 242887 w 1466850"/>
                <a:gd name="connsiteY15" fmla="*/ 1092994 h 1164431"/>
                <a:gd name="connsiteX16" fmla="*/ 238125 w 1466850"/>
                <a:gd name="connsiteY16" fmla="*/ 1045369 h 1164431"/>
                <a:gd name="connsiteX17" fmla="*/ 230981 w 1466850"/>
                <a:gd name="connsiteY17" fmla="*/ 1035844 h 1164431"/>
                <a:gd name="connsiteX18" fmla="*/ 252412 w 1466850"/>
                <a:gd name="connsiteY18" fmla="*/ 1019175 h 1164431"/>
                <a:gd name="connsiteX19" fmla="*/ 314325 w 1466850"/>
                <a:gd name="connsiteY19" fmla="*/ 995362 h 1164431"/>
                <a:gd name="connsiteX20" fmla="*/ 311944 w 1466850"/>
                <a:gd name="connsiteY20" fmla="*/ 959644 h 1164431"/>
                <a:gd name="connsiteX21" fmla="*/ 326231 w 1466850"/>
                <a:gd name="connsiteY21" fmla="*/ 942975 h 1164431"/>
                <a:gd name="connsiteX22" fmla="*/ 452437 w 1466850"/>
                <a:gd name="connsiteY22" fmla="*/ 950119 h 1164431"/>
                <a:gd name="connsiteX23" fmla="*/ 464344 w 1466850"/>
                <a:gd name="connsiteY23" fmla="*/ 933450 h 1164431"/>
                <a:gd name="connsiteX24" fmla="*/ 476250 w 1466850"/>
                <a:gd name="connsiteY24" fmla="*/ 883444 h 1164431"/>
                <a:gd name="connsiteX25" fmla="*/ 488156 w 1466850"/>
                <a:gd name="connsiteY25" fmla="*/ 857250 h 1164431"/>
                <a:gd name="connsiteX26" fmla="*/ 526256 w 1466850"/>
                <a:gd name="connsiteY26" fmla="*/ 862012 h 1164431"/>
                <a:gd name="connsiteX27" fmla="*/ 545306 w 1466850"/>
                <a:gd name="connsiteY27" fmla="*/ 909637 h 1164431"/>
                <a:gd name="connsiteX28" fmla="*/ 566737 w 1466850"/>
                <a:gd name="connsiteY28" fmla="*/ 881062 h 1164431"/>
                <a:gd name="connsiteX29" fmla="*/ 621506 w 1466850"/>
                <a:gd name="connsiteY29" fmla="*/ 845344 h 1164431"/>
                <a:gd name="connsiteX30" fmla="*/ 709612 w 1466850"/>
                <a:gd name="connsiteY30" fmla="*/ 814387 h 1164431"/>
                <a:gd name="connsiteX31" fmla="*/ 716756 w 1466850"/>
                <a:gd name="connsiteY31" fmla="*/ 769144 h 1164431"/>
                <a:gd name="connsiteX32" fmla="*/ 742950 w 1466850"/>
                <a:gd name="connsiteY32" fmla="*/ 750094 h 1164431"/>
                <a:gd name="connsiteX33" fmla="*/ 785812 w 1466850"/>
                <a:gd name="connsiteY33" fmla="*/ 726281 h 1164431"/>
                <a:gd name="connsiteX34" fmla="*/ 800100 w 1466850"/>
                <a:gd name="connsiteY34" fmla="*/ 716756 h 1164431"/>
                <a:gd name="connsiteX35" fmla="*/ 862012 w 1466850"/>
                <a:gd name="connsiteY35" fmla="*/ 721519 h 1164431"/>
                <a:gd name="connsiteX36" fmla="*/ 883444 w 1466850"/>
                <a:gd name="connsiteY36" fmla="*/ 721519 h 1164431"/>
                <a:gd name="connsiteX37" fmla="*/ 892969 w 1466850"/>
                <a:gd name="connsiteY37" fmla="*/ 697706 h 1164431"/>
                <a:gd name="connsiteX38" fmla="*/ 892969 w 1466850"/>
                <a:gd name="connsiteY38" fmla="*/ 697706 h 1164431"/>
                <a:gd name="connsiteX39" fmla="*/ 921544 w 1466850"/>
                <a:gd name="connsiteY39" fmla="*/ 609600 h 1164431"/>
                <a:gd name="connsiteX40" fmla="*/ 909637 w 1466850"/>
                <a:gd name="connsiteY40" fmla="*/ 552450 h 1164431"/>
                <a:gd name="connsiteX41" fmla="*/ 928687 w 1466850"/>
                <a:gd name="connsiteY41" fmla="*/ 540544 h 1164431"/>
                <a:gd name="connsiteX42" fmla="*/ 973931 w 1466850"/>
                <a:gd name="connsiteY42" fmla="*/ 535781 h 1164431"/>
                <a:gd name="connsiteX43" fmla="*/ 1014412 w 1466850"/>
                <a:gd name="connsiteY43" fmla="*/ 447675 h 1164431"/>
                <a:gd name="connsiteX44" fmla="*/ 1038225 w 1466850"/>
                <a:gd name="connsiteY44" fmla="*/ 445294 h 1164431"/>
                <a:gd name="connsiteX45" fmla="*/ 1073944 w 1466850"/>
                <a:gd name="connsiteY45" fmla="*/ 476250 h 1164431"/>
                <a:gd name="connsiteX46" fmla="*/ 1112044 w 1466850"/>
                <a:gd name="connsiteY46" fmla="*/ 514350 h 1164431"/>
                <a:gd name="connsiteX47" fmla="*/ 1171575 w 1466850"/>
                <a:gd name="connsiteY47" fmla="*/ 540544 h 1164431"/>
                <a:gd name="connsiteX48" fmla="*/ 1219200 w 1466850"/>
                <a:gd name="connsiteY48" fmla="*/ 521494 h 1164431"/>
                <a:gd name="connsiteX49" fmla="*/ 1245394 w 1466850"/>
                <a:gd name="connsiteY49" fmla="*/ 502444 h 1164431"/>
                <a:gd name="connsiteX50" fmla="*/ 1278731 w 1466850"/>
                <a:gd name="connsiteY50" fmla="*/ 511969 h 1164431"/>
                <a:gd name="connsiteX51" fmla="*/ 1295400 w 1466850"/>
                <a:gd name="connsiteY51" fmla="*/ 531019 h 1164431"/>
                <a:gd name="connsiteX52" fmla="*/ 1273969 w 1466850"/>
                <a:gd name="connsiteY52" fmla="*/ 573881 h 1164431"/>
                <a:gd name="connsiteX53" fmla="*/ 1271587 w 1466850"/>
                <a:gd name="connsiteY53" fmla="*/ 602456 h 1164431"/>
                <a:gd name="connsiteX54" fmla="*/ 1285875 w 1466850"/>
                <a:gd name="connsiteY54" fmla="*/ 611981 h 1164431"/>
                <a:gd name="connsiteX55" fmla="*/ 1300162 w 1466850"/>
                <a:gd name="connsiteY55" fmla="*/ 628650 h 1164431"/>
                <a:gd name="connsiteX56" fmla="*/ 1321594 w 1466850"/>
                <a:gd name="connsiteY56" fmla="*/ 666750 h 1164431"/>
                <a:gd name="connsiteX57" fmla="*/ 1347787 w 1466850"/>
                <a:gd name="connsiteY57" fmla="*/ 681037 h 1164431"/>
                <a:gd name="connsiteX58" fmla="*/ 1371600 w 1466850"/>
                <a:gd name="connsiteY58" fmla="*/ 681037 h 1164431"/>
                <a:gd name="connsiteX59" fmla="*/ 1376362 w 1466850"/>
                <a:gd name="connsiteY59" fmla="*/ 628650 h 1164431"/>
                <a:gd name="connsiteX60" fmla="*/ 1395412 w 1466850"/>
                <a:gd name="connsiteY60" fmla="*/ 578644 h 1164431"/>
                <a:gd name="connsiteX61" fmla="*/ 1426369 w 1466850"/>
                <a:gd name="connsiteY61" fmla="*/ 571500 h 1164431"/>
                <a:gd name="connsiteX62" fmla="*/ 1466850 w 1466850"/>
                <a:gd name="connsiteY62" fmla="*/ 552450 h 1164431"/>
                <a:gd name="connsiteX63" fmla="*/ 1443037 w 1466850"/>
                <a:gd name="connsiteY63" fmla="*/ 509587 h 1164431"/>
                <a:gd name="connsiteX64" fmla="*/ 1414462 w 1466850"/>
                <a:gd name="connsiteY64" fmla="*/ 464344 h 1164431"/>
                <a:gd name="connsiteX65" fmla="*/ 1388269 w 1466850"/>
                <a:gd name="connsiteY65" fmla="*/ 438150 h 1164431"/>
                <a:gd name="connsiteX66" fmla="*/ 1404937 w 1466850"/>
                <a:gd name="connsiteY66" fmla="*/ 400050 h 1164431"/>
                <a:gd name="connsiteX67" fmla="*/ 1404937 w 1466850"/>
                <a:gd name="connsiteY67" fmla="*/ 383381 h 1164431"/>
                <a:gd name="connsiteX68" fmla="*/ 1431131 w 1466850"/>
                <a:gd name="connsiteY68" fmla="*/ 338137 h 1164431"/>
                <a:gd name="connsiteX69" fmla="*/ 1419225 w 1466850"/>
                <a:gd name="connsiteY69" fmla="*/ 264319 h 1164431"/>
                <a:gd name="connsiteX70" fmla="*/ 1438275 w 1466850"/>
                <a:gd name="connsiteY70" fmla="*/ 202406 h 1164431"/>
                <a:gd name="connsiteX71" fmla="*/ 1435894 w 1466850"/>
                <a:gd name="connsiteY71" fmla="*/ 173831 h 1164431"/>
                <a:gd name="connsiteX72" fmla="*/ 1404937 w 1466850"/>
                <a:gd name="connsiteY72" fmla="*/ 164306 h 1164431"/>
                <a:gd name="connsiteX73" fmla="*/ 1364456 w 1466850"/>
                <a:gd name="connsiteY73" fmla="*/ 154781 h 1164431"/>
                <a:gd name="connsiteX74" fmla="*/ 1293019 w 1466850"/>
                <a:gd name="connsiteY74" fmla="*/ 154781 h 1164431"/>
                <a:gd name="connsiteX75" fmla="*/ 1233487 w 1466850"/>
                <a:gd name="connsiteY75" fmla="*/ 121444 h 1164431"/>
                <a:gd name="connsiteX76" fmla="*/ 1207294 w 1466850"/>
                <a:gd name="connsiteY76" fmla="*/ 114300 h 1164431"/>
                <a:gd name="connsiteX77" fmla="*/ 1188244 w 1466850"/>
                <a:gd name="connsiteY77" fmla="*/ 126206 h 1164431"/>
                <a:gd name="connsiteX78" fmla="*/ 1133475 w 1466850"/>
                <a:gd name="connsiteY78" fmla="*/ 188119 h 1164431"/>
                <a:gd name="connsiteX79" fmla="*/ 1116806 w 1466850"/>
                <a:gd name="connsiteY79" fmla="*/ 188119 h 1164431"/>
                <a:gd name="connsiteX80" fmla="*/ 1078706 w 1466850"/>
                <a:gd name="connsiteY80" fmla="*/ 142875 h 1164431"/>
                <a:gd name="connsiteX81" fmla="*/ 1054894 w 1466850"/>
                <a:gd name="connsiteY81" fmla="*/ 138112 h 1164431"/>
                <a:gd name="connsiteX82" fmla="*/ 997744 w 1466850"/>
                <a:gd name="connsiteY82" fmla="*/ 157162 h 1164431"/>
                <a:gd name="connsiteX83" fmla="*/ 973931 w 1466850"/>
                <a:gd name="connsiteY83" fmla="*/ 178594 h 1164431"/>
                <a:gd name="connsiteX84" fmla="*/ 928687 w 1466850"/>
                <a:gd name="connsiteY84" fmla="*/ 173831 h 1164431"/>
                <a:gd name="connsiteX85" fmla="*/ 878681 w 1466850"/>
                <a:gd name="connsiteY85" fmla="*/ 164306 h 1164431"/>
                <a:gd name="connsiteX86" fmla="*/ 864394 w 1466850"/>
                <a:gd name="connsiteY86" fmla="*/ 83344 h 1164431"/>
                <a:gd name="connsiteX87" fmla="*/ 845344 w 1466850"/>
                <a:gd name="connsiteY87" fmla="*/ 69056 h 1164431"/>
                <a:gd name="connsiteX88" fmla="*/ 747712 w 1466850"/>
                <a:gd name="connsiteY88" fmla="*/ 119062 h 1164431"/>
                <a:gd name="connsiteX89" fmla="*/ 721519 w 1466850"/>
                <a:gd name="connsiteY89" fmla="*/ 140494 h 1164431"/>
                <a:gd name="connsiteX90" fmla="*/ 709612 w 1466850"/>
                <a:gd name="connsiteY90" fmla="*/ 190500 h 1164431"/>
                <a:gd name="connsiteX91" fmla="*/ 707231 w 1466850"/>
                <a:gd name="connsiteY91" fmla="*/ 195262 h 1164431"/>
                <a:gd name="connsiteX92" fmla="*/ 654844 w 1466850"/>
                <a:gd name="connsiteY92" fmla="*/ 190500 h 1164431"/>
                <a:gd name="connsiteX93" fmla="*/ 633412 w 1466850"/>
                <a:gd name="connsiteY93" fmla="*/ 180975 h 1164431"/>
                <a:gd name="connsiteX94" fmla="*/ 614362 w 1466850"/>
                <a:gd name="connsiteY94" fmla="*/ 142875 h 1164431"/>
                <a:gd name="connsiteX95" fmla="*/ 590550 w 1466850"/>
                <a:gd name="connsiteY95" fmla="*/ 130969 h 1164431"/>
                <a:gd name="connsiteX96" fmla="*/ 540544 w 1466850"/>
                <a:gd name="connsiteY96" fmla="*/ 161925 h 1164431"/>
                <a:gd name="connsiteX97" fmla="*/ 507206 w 1466850"/>
                <a:gd name="connsiteY97" fmla="*/ 154781 h 1164431"/>
                <a:gd name="connsiteX98" fmla="*/ 495300 w 1466850"/>
                <a:gd name="connsiteY98" fmla="*/ 123825 h 1164431"/>
                <a:gd name="connsiteX99" fmla="*/ 490537 w 1466850"/>
                <a:gd name="connsiteY99" fmla="*/ 114300 h 1164431"/>
                <a:gd name="connsiteX100" fmla="*/ 431006 w 1466850"/>
                <a:gd name="connsiteY100" fmla="*/ 97631 h 1164431"/>
                <a:gd name="connsiteX101" fmla="*/ 442912 w 1466850"/>
                <a:gd name="connsiteY101" fmla="*/ 33337 h 1164431"/>
                <a:gd name="connsiteX102" fmla="*/ 423862 w 1466850"/>
                <a:gd name="connsiteY102" fmla="*/ 19050 h 1164431"/>
                <a:gd name="connsiteX103" fmla="*/ 335756 w 1466850"/>
                <a:gd name="connsiteY103" fmla="*/ 0 h 1164431"/>
                <a:gd name="connsiteX104" fmla="*/ 302419 w 1466850"/>
                <a:gd name="connsiteY104" fmla="*/ 35719 h 1164431"/>
                <a:gd name="connsiteX105" fmla="*/ 266700 w 1466850"/>
                <a:gd name="connsiteY105" fmla="*/ 50006 h 1164431"/>
                <a:gd name="connsiteX106" fmla="*/ 271462 w 1466850"/>
                <a:gd name="connsiteY106" fmla="*/ 95250 h 1164431"/>
                <a:gd name="connsiteX107" fmla="*/ 316706 w 1466850"/>
                <a:gd name="connsiteY107" fmla="*/ 121444 h 1164431"/>
                <a:gd name="connsiteX108" fmla="*/ 302419 w 1466850"/>
                <a:gd name="connsiteY108" fmla="*/ 145256 h 1164431"/>
                <a:gd name="connsiteX109" fmla="*/ 247650 w 1466850"/>
                <a:gd name="connsiteY109" fmla="*/ 159544 h 1164431"/>
                <a:gd name="connsiteX110" fmla="*/ 214312 w 1466850"/>
                <a:gd name="connsiteY110" fmla="*/ 216694 h 1164431"/>
                <a:gd name="connsiteX111" fmla="*/ 183356 w 1466850"/>
                <a:gd name="connsiteY111" fmla="*/ 221456 h 1164431"/>
                <a:gd name="connsiteX112" fmla="*/ 183356 w 1466850"/>
                <a:gd name="connsiteY112" fmla="*/ 254794 h 1164431"/>
                <a:gd name="connsiteX113" fmla="*/ 161925 w 1466850"/>
                <a:gd name="connsiteY113" fmla="*/ 304800 h 1164431"/>
                <a:gd name="connsiteX114" fmla="*/ 140494 w 1466850"/>
                <a:gd name="connsiteY114" fmla="*/ 323850 h 1164431"/>
                <a:gd name="connsiteX115" fmla="*/ 71439 w 1466850"/>
                <a:gd name="connsiteY115" fmla="*/ 300039 h 1164431"/>
                <a:gd name="connsiteX116" fmla="*/ 59530 w 1466850"/>
                <a:gd name="connsiteY116" fmla="*/ 302418 h 1164431"/>
                <a:gd name="connsiteX117" fmla="*/ 30956 w 1466850"/>
                <a:gd name="connsiteY117" fmla="*/ 295274 h 1164431"/>
                <a:gd name="connsiteX0" fmla="*/ 30956 w 1466850"/>
                <a:gd name="connsiteY0" fmla="*/ 295274 h 1164431"/>
                <a:gd name="connsiteX1" fmla="*/ 19050 w 1466850"/>
                <a:gd name="connsiteY1" fmla="*/ 381000 h 1164431"/>
                <a:gd name="connsiteX2" fmla="*/ 19050 w 1466850"/>
                <a:gd name="connsiteY2" fmla="*/ 397669 h 1164431"/>
                <a:gd name="connsiteX3" fmla="*/ 0 w 1466850"/>
                <a:gd name="connsiteY3" fmla="*/ 459581 h 1164431"/>
                <a:gd name="connsiteX4" fmla="*/ 7144 w 1466850"/>
                <a:gd name="connsiteY4" fmla="*/ 497681 h 1164431"/>
                <a:gd name="connsiteX5" fmla="*/ 9525 w 1466850"/>
                <a:gd name="connsiteY5" fmla="*/ 535781 h 1164431"/>
                <a:gd name="connsiteX6" fmla="*/ 19050 w 1466850"/>
                <a:gd name="connsiteY6" fmla="*/ 583406 h 1164431"/>
                <a:gd name="connsiteX7" fmla="*/ 23812 w 1466850"/>
                <a:gd name="connsiteY7" fmla="*/ 688181 h 1164431"/>
                <a:gd name="connsiteX8" fmla="*/ 35719 w 1466850"/>
                <a:gd name="connsiteY8" fmla="*/ 747712 h 1164431"/>
                <a:gd name="connsiteX9" fmla="*/ 40481 w 1466850"/>
                <a:gd name="connsiteY9" fmla="*/ 778669 h 1164431"/>
                <a:gd name="connsiteX10" fmla="*/ 47625 w 1466850"/>
                <a:gd name="connsiteY10" fmla="*/ 831056 h 1164431"/>
                <a:gd name="connsiteX11" fmla="*/ 38100 w 1466850"/>
                <a:gd name="connsiteY11" fmla="*/ 919162 h 1164431"/>
                <a:gd name="connsiteX12" fmla="*/ 78581 w 1466850"/>
                <a:gd name="connsiteY12" fmla="*/ 1028700 h 1164431"/>
                <a:gd name="connsiteX13" fmla="*/ 71437 w 1466850"/>
                <a:gd name="connsiteY13" fmla="*/ 1095375 h 1164431"/>
                <a:gd name="connsiteX14" fmla="*/ 88106 w 1466850"/>
                <a:gd name="connsiteY14" fmla="*/ 1164431 h 1164431"/>
                <a:gd name="connsiteX15" fmla="*/ 128587 w 1466850"/>
                <a:gd name="connsiteY15" fmla="*/ 1145381 h 1164431"/>
                <a:gd name="connsiteX16" fmla="*/ 242887 w 1466850"/>
                <a:gd name="connsiteY16" fmla="*/ 1092994 h 1164431"/>
                <a:gd name="connsiteX17" fmla="*/ 238125 w 1466850"/>
                <a:gd name="connsiteY17" fmla="*/ 1045369 h 1164431"/>
                <a:gd name="connsiteX18" fmla="*/ 230981 w 1466850"/>
                <a:gd name="connsiteY18" fmla="*/ 1035844 h 1164431"/>
                <a:gd name="connsiteX19" fmla="*/ 252412 w 1466850"/>
                <a:gd name="connsiteY19" fmla="*/ 1019175 h 1164431"/>
                <a:gd name="connsiteX20" fmla="*/ 314325 w 1466850"/>
                <a:gd name="connsiteY20" fmla="*/ 995362 h 1164431"/>
                <a:gd name="connsiteX21" fmla="*/ 311944 w 1466850"/>
                <a:gd name="connsiteY21" fmla="*/ 959644 h 1164431"/>
                <a:gd name="connsiteX22" fmla="*/ 326231 w 1466850"/>
                <a:gd name="connsiteY22" fmla="*/ 942975 h 1164431"/>
                <a:gd name="connsiteX23" fmla="*/ 452437 w 1466850"/>
                <a:gd name="connsiteY23" fmla="*/ 950119 h 1164431"/>
                <a:gd name="connsiteX24" fmla="*/ 464344 w 1466850"/>
                <a:gd name="connsiteY24" fmla="*/ 933450 h 1164431"/>
                <a:gd name="connsiteX25" fmla="*/ 476250 w 1466850"/>
                <a:gd name="connsiteY25" fmla="*/ 883444 h 1164431"/>
                <a:gd name="connsiteX26" fmla="*/ 488156 w 1466850"/>
                <a:gd name="connsiteY26" fmla="*/ 857250 h 1164431"/>
                <a:gd name="connsiteX27" fmla="*/ 526256 w 1466850"/>
                <a:gd name="connsiteY27" fmla="*/ 862012 h 1164431"/>
                <a:gd name="connsiteX28" fmla="*/ 545306 w 1466850"/>
                <a:gd name="connsiteY28" fmla="*/ 909637 h 1164431"/>
                <a:gd name="connsiteX29" fmla="*/ 566737 w 1466850"/>
                <a:gd name="connsiteY29" fmla="*/ 881062 h 1164431"/>
                <a:gd name="connsiteX30" fmla="*/ 621506 w 1466850"/>
                <a:gd name="connsiteY30" fmla="*/ 845344 h 1164431"/>
                <a:gd name="connsiteX31" fmla="*/ 709612 w 1466850"/>
                <a:gd name="connsiteY31" fmla="*/ 814387 h 1164431"/>
                <a:gd name="connsiteX32" fmla="*/ 716756 w 1466850"/>
                <a:gd name="connsiteY32" fmla="*/ 769144 h 1164431"/>
                <a:gd name="connsiteX33" fmla="*/ 742950 w 1466850"/>
                <a:gd name="connsiteY33" fmla="*/ 750094 h 1164431"/>
                <a:gd name="connsiteX34" fmla="*/ 785812 w 1466850"/>
                <a:gd name="connsiteY34" fmla="*/ 726281 h 1164431"/>
                <a:gd name="connsiteX35" fmla="*/ 800100 w 1466850"/>
                <a:gd name="connsiteY35" fmla="*/ 716756 h 1164431"/>
                <a:gd name="connsiteX36" fmla="*/ 862012 w 1466850"/>
                <a:gd name="connsiteY36" fmla="*/ 721519 h 1164431"/>
                <a:gd name="connsiteX37" fmla="*/ 883444 w 1466850"/>
                <a:gd name="connsiteY37" fmla="*/ 721519 h 1164431"/>
                <a:gd name="connsiteX38" fmla="*/ 892969 w 1466850"/>
                <a:gd name="connsiteY38" fmla="*/ 697706 h 1164431"/>
                <a:gd name="connsiteX39" fmla="*/ 892969 w 1466850"/>
                <a:gd name="connsiteY39" fmla="*/ 697706 h 1164431"/>
                <a:gd name="connsiteX40" fmla="*/ 921544 w 1466850"/>
                <a:gd name="connsiteY40" fmla="*/ 609600 h 1164431"/>
                <a:gd name="connsiteX41" fmla="*/ 909637 w 1466850"/>
                <a:gd name="connsiteY41" fmla="*/ 552450 h 1164431"/>
                <a:gd name="connsiteX42" fmla="*/ 928687 w 1466850"/>
                <a:gd name="connsiteY42" fmla="*/ 540544 h 1164431"/>
                <a:gd name="connsiteX43" fmla="*/ 973931 w 1466850"/>
                <a:gd name="connsiteY43" fmla="*/ 535781 h 1164431"/>
                <a:gd name="connsiteX44" fmla="*/ 1014412 w 1466850"/>
                <a:gd name="connsiteY44" fmla="*/ 447675 h 1164431"/>
                <a:gd name="connsiteX45" fmla="*/ 1038225 w 1466850"/>
                <a:gd name="connsiteY45" fmla="*/ 445294 h 1164431"/>
                <a:gd name="connsiteX46" fmla="*/ 1073944 w 1466850"/>
                <a:gd name="connsiteY46" fmla="*/ 476250 h 1164431"/>
                <a:gd name="connsiteX47" fmla="*/ 1112044 w 1466850"/>
                <a:gd name="connsiteY47" fmla="*/ 514350 h 1164431"/>
                <a:gd name="connsiteX48" fmla="*/ 1171575 w 1466850"/>
                <a:gd name="connsiteY48" fmla="*/ 540544 h 1164431"/>
                <a:gd name="connsiteX49" fmla="*/ 1219200 w 1466850"/>
                <a:gd name="connsiteY49" fmla="*/ 521494 h 1164431"/>
                <a:gd name="connsiteX50" fmla="*/ 1245394 w 1466850"/>
                <a:gd name="connsiteY50" fmla="*/ 502444 h 1164431"/>
                <a:gd name="connsiteX51" fmla="*/ 1278731 w 1466850"/>
                <a:gd name="connsiteY51" fmla="*/ 511969 h 1164431"/>
                <a:gd name="connsiteX52" fmla="*/ 1295400 w 1466850"/>
                <a:gd name="connsiteY52" fmla="*/ 531019 h 1164431"/>
                <a:gd name="connsiteX53" fmla="*/ 1273969 w 1466850"/>
                <a:gd name="connsiteY53" fmla="*/ 573881 h 1164431"/>
                <a:gd name="connsiteX54" fmla="*/ 1271587 w 1466850"/>
                <a:gd name="connsiteY54" fmla="*/ 602456 h 1164431"/>
                <a:gd name="connsiteX55" fmla="*/ 1285875 w 1466850"/>
                <a:gd name="connsiteY55" fmla="*/ 611981 h 1164431"/>
                <a:gd name="connsiteX56" fmla="*/ 1300162 w 1466850"/>
                <a:gd name="connsiteY56" fmla="*/ 628650 h 1164431"/>
                <a:gd name="connsiteX57" fmla="*/ 1321594 w 1466850"/>
                <a:gd name="connsiteY57" fmla="*/ 666750 h 1164431"/>
                <a:gd name="connsiteX58" fmla="*/ 1347787 w 1466850"/>
                <a:gd name="connsiteY58" fmla="*/ 681037 h 1164431"/>
                <a:gd name="connsiteX59" fmla="*/ 1371600 w 1466850"/>
                <a:gd name="connsiteY59" fmla="*/ 681037 h 1164431"/>
                <a:gd name="connsiteX60" fmla="*/ 1376362 w 1466850"/>
                <a:gd name="connsiteY60" fmla="*/ 628650 h 1164431"/>
                <a:gd name="connsiteX61" fmla="*/ 1395412 w 1466850"/>
                <a:gd name="connsiteY61" fmla="*/ 578644 h 1164431"/>
                <a:gd name="connsiteX62" fmla="*/ 1426369 w 1466850"/>
                <a:gd name="connsiteY62" fmla="*/ 571500 h 1164431"/>
                <a:gd name="connsiteX63" fmla="*/ 1466850 w 1466850"/>
                <a:gd name="connsiteY63" fmla="*/ 552450 h 1164431"/>
                <a:gd name="connsiteX64" fmla="*/ 1443037 w 1466850"/>
                <a:gd name="connsiteY64" fmla="*/ 509587 h 1164431"/>
                <a:gd name="connsiteX65" fmla="*/ 1414462 w 1466850"/>
                <a:gd name="connsiteY65" fmla="*/ 464344 h 1164431"/>
                <a:gd name="connsiteX66" fmla="*/ 1388269 w 1466850"/>
                <a:gd name="connsiteY66" fmla="*/ 438150 h 1164431"/>
                <a:gd name="connsiteX67" fmla="*/ 1404937 w 1466850"/>
                <a:gd name="connsiteY67" fmla="*/ 400050 h 1164431"/>
                <a:gd name="connsiteX68" fmla="*/ 1404937 w 1466850"/>
                <a:gd name="connsiteY68" fmla="*/ 383381 h 1164431"/>
                <a:gd name="connsiteX69" fmla="*/ 1431131 w 1466850"/>
                <a:gd name="connsiteY69" fmla="*/ 338137 h 1164431"/>
                <a:gd name="connsiteX70" fmla="*/ 1419225 w 1466850"/>
                <a:gd name="connsiteY70" fmla="*/ 264319 h 1164431"/>
                <a:gd name="connsiteX71" fmla="*/ 1438275 w 1466850"/>
                <a:gd name="connsiteY71" fmla="*/ 202406 h 1164431"/>
                <a:gd name="connsiteX72" fmla="*/ 1435894 w 1466850"/>
                <a:gd name="connsiteY72" fmla="*/ 173831 h 1164431"/>
                <a:gd name="connsiteX73" fmla="*/ 1404937 w 1466850"/>
                <a:gd name="connsiteY73" fmla="*/ 164306 h 1164431"/>
                <a:gd name="connsiteX74" fmla="*/ 1364456 w 1466850"/>
                <a:gd name="connsiteY74" fmla="*/ 154781 h 1164431"/>
                <a:gd name="connsiteX75" fmla="*/ 1293019 w 1466850"/>
                <a:gd name="connsiteY75" fmla="*/ 154781 h 1164431"/>
                <a:gd name="connsiteX76" fmla="*/ 1233487 w 1466850"/>
                <a:gd name="connsiteY76" fmla="*/ 121444 h 1164431"/>
                <a:gd name="connsiteX77" fmla="*/ 1207294 w 1466850"/>
                <a:gd name="connsiteY77" fmla="*/ 114300 h 1164431"/>
                <a:gd name="connsiteX78" fmla="*/ 1188244 w 1466850"/>
                <a:gd name="connsiteY78" fmla="*/ 126206 h 1164431"/>
                <a:gd name="connsiteX79" fmla="*/ 1133475 w 1466850"/>
                <a:gd name="connsiteY79" fmla="*/ 188119 h 1164431"/>
                <a:gd name="connsiteX80" fmla="*/ 1116806 w 1466850"/>
                <a:gd name="connsiteY80" fmla="*/ 188119 h 1164431"/>
                <a:gd name="connsiteX81" fmla="*/ 1078706 w 1466850"/>
                <a:gd name="connsiteY81" fmla="*/ 142875 h 1164431"/>
                <a:gd name="connsiteX82" fmla="*/ 1054894 w 1466850"/>
                <a:gd name="connsiteY82" fmla="*/ 138112 h 1164431"/>
                <a:gd name="connsiteX83" fmla="*/ 997744 w 1466850"/>
                <a:gd name="connsiteY83" fmla="*/ 157162 h 1164431"/>
                <a:gd name="connsiteX84" fmla="*/ 973931 w 1466850"/>
                <a:gd name="connsiteY84" fmla="*/ 178594 h 1164431"/>
                <a:gd name="connsiteX85" fmla="*/ 928687 w 1466850"/>
                <a:gd name="connsiteY85" fmla="*/ 173831 h 1164431"/>
                <a:gd name="connsiteX86" fmla="*/ 878681 w 1466850"/>
                <a:gd name="connsiteY86" fmla="*/ 164306 h 1164431"/>
                <a:gd name="connsiteX87" fmla="*/ 864394 w 1466850"/>
                <a:gd name="connsiteY87" fmla="*/ 83344 h 1164431"/>
                <a:gd name="connsiteX88" fmla="*/ 845344 w 1466850"/>
                <a:gd name="connsiteY88" fmla="*/ 69056 h 1164431"/>
                <a:gd name="connsiteX89" fmla="*/ 747712 w 1466850"/>
                <a:gd name="connsiteY89" fmla="*/ 119062 h 1164431"/>
                <a:gd name="connsiteX90" fmla="*/ 721519 w 1466850"/>
                <a:gd name="connsiteY90" fmla="*/ 140494 h 1164431"/>
                <a:gd name="connsiteX91" fmla="*/ 709612 w 1466850"/>
                <a:gd name="connsiteY91" fmla="*/ 190500 h 1164431"/>
                <a:gd name="connsiteX92" fmla="*/ 707231 w 1466850"/>
                <a:gd name="connsiteY92" fmla="*/ 195262 h 1164431"/>
                <a:gd name="connsiteX93" fmla="*/ 654844 w 1466850"/>
                <a:gd name="connsiteY93" fmla="*/ 190500 h 1164431"/>
                <a:gd name="connsiteX94" fmla="*/ 633412 w 1466850"/>
                <a:gd name="connsiteY94" fmla="*/ 180975 h 1164431"/>
                <a:gd name="connsiteX95" fmla="*/ 614362 w 1466850"/>
                <a:gd name="connsiteY95" fmla="*/ 142875 h 1164431"/>
                <a:gd name="connsiteX96" fmla="*/ 590550 w 1466850"/>
                <a:gd name="connsiteY96" fmla="*/ 130969 h 1164431"/>
                <a:gd name="connsiteX97" fmla="*/ 540544 w 1466850"/>
                <a:gd name="connsiteY97" fmla="*/ 161925 h 1164431"/>
                <a:gd name="connsiteX98" fmla="*/ 507206 w 1466850"/>
                <a:gd name="connsiteY98" fmla="*/ 154781 h 1164431"/>
                <a:gd name="connsiteX99" fmla="*/ 495300 w 1466850"/>
                <a:gd name="connsiteY99" fmla="*/ 123825 h 1164431"/>
                <a:gd name="connsiteX100" fmla="*/ 490537 w 1466850"/>
                <a:gd name="connsiteY100" fmla="*/ 114300 h 1164431"/>
                <a:gd name="connsiteX101" fmla="*/ 431006 w 1466850"/>
                <a:gd name="connsiteY101" fmla="*/ 97631 h 1164431"/>
                <a:gd name="connsiteX102" fmla="*/ 442912 w 1466850"/>
                <a:gd name="connsiteY102" fmla="*/ 33337 h 1164431"/>
                <a:gd name="connsiteX103" fmla="*/ 423862 w 1466850"/>
                <a:gd name="connsiteY103" fmla="*/ 19050 h 1164431"/>
                <a:gd name="connsiteX104" fmla="*/ 335756 w 1466850"/>
                <a:gd name="connsiteY104" fmla="*/ 0 h 1164431"/>
                <a:gd name="connsiteX105" fmla="*/ 302419 w 1466850"/>
                <a:gd name="connsiteY105" fmla="*/ 35719 h 1164431"/>
                <a:gd name="connsiteX106" fmla="*/ 266700 w 1466850"/>
                <a:gd name="connsiteY106" fmla="*/ 50006 h 1164431"/>
                <a:gd name="connsiteX107" fmla="*/ 271462 w 1466850"/>
                <a:gd name="connsiteY107" fmla="*/ 95250 h 1164431"/>
                <a:gd name="connsiteX108" fmla="*/ 316706 w 1466850"/>
                <a:gd name="connsiteY108" fmla="*/ 121444 h 1164431"/>
                <a:gd name="connsiteX109" fmla="*/ 302419 w 1466850"/>
                <a:gd name="connsiteY109" fmla="*/ 145256 h 1164431"/>
                <a:gd name="connsiteX110" fmla="*/ 247650 w 1466850"/>
                <a:gd name="connsiteY110" fmla="*/ 159544 h 1164431"/>
                <a:gd name="connsiteX111" fmla="*/ 214312 w 1466850"/>
                <a:gd name="connsiteY111" fmla="*/ 216694 h 1164431"/>
                <a:gd name="connsiteX112" fmla="*/ 183356 w 1466850"/>
                <a:gd name="connsiteY112" fmla="*/ 221456 h 1164431"/>
                <a:gd name="connsiteX113" fmla="*/ 183356 w 1466850"/>
                <a:gd name="connsiteY113" fmla="*/ 254794 h 1164431"/>
                <a:gd name="connsiteX114" fmla="*/ 161925 w 1466850"/>
                <a:gd name="connsiteY114" fmla="*/ 304800 h 1164431"/>
                <a:gd name="connsiteX115" fmla="*/ 140494 w 1466850"/>
                <a:gd name="connsiteY115" fmla="*/ 323850 h 1164431"/>
                <a:gd name="connsiteX116" fmla="*/ 71439 w 1466850"/>
                <a:gd name="connsiteY116" fmla="*/ 300039 h 1164431"/>
                <a:gd name="connsiteX117" fmla="*/ 59530 w 1466850"/>
                <a:gd name="connsiteY117" fmla="*/ 302418 h 1164431"/>
                <a:gd name="connsiteX118" fmla="*/ 30956 w 1466850"/>
                <a:gd name="connsiteY118" fmla="*/ 295274 h 1164431"/>
                <a:gd name="connsiteX0" fmla="*/ 30956 w 1466850"/>
                <a:gd name="connsiteY0" fmla="*/ 295274 h 1200149"/>
                <a:gd name="connsiteX1" fmla="*/ 19050 w 1466850"/>
                <a:gd name="connsiteY1" fmla="*/ 381000 h 1200149"/>
                <a:gd name="connsiteX2" fmla="*/ 19050 w 1466850"/>
                <a:gd name="connsiteY2" fmla="*/ 397669 h 1200149"/>
                <a:gd name="connsiteX3" fmla="*/ 0 w 1466850"/>
                <a:gd name="connsiteY3" fmla="*/ 459581 h 1200149"/>
                <a:gd name="connsiteX4" fmla="*/ 7144 w 1466850"/>
                <a:gd name="connsiteY4" fmla="*/ 497681 h 1200149"/>
                <a:gd name="connsiteX5" fmla="*/ 9525 w 1466850"/>
                <a:gd name="connsiteY5" fmla="*/ 535781 h 1200149"/>
                <a:gd name="connsiteX6" fmla="*/ 19050 w 1466850"/>
                <a:gd name="connsiteY6" fmla="*/ 583406 h 1200149"/>
                <a:gd name="connsiteX7" fmla="*/ 23812 w 1466850"/>
                <a:gd name="connsiteY7" fmla="*/ 688181 h 1200149"/>
                <a:gd name="connsiteX8" fmla="*/ 35719 w 1466850"/>
                <a:gd name="connsiteY8" fmla="*/ 747712 h 1200149"/>
                <a:gd name="connsiteX9" fmla="*/ 40481 w 1466850"/>
                <a:gd name="connsiteY9" fmla="*/ 778669 h 1200149"/>
                <a:gd name="connsiteX10" fmla="*/ 47625 w 1466850"/>
                <a:gd name="connsiteY10" fmla="*/ 831056 h 1200149"/>
                <a:gd name="connsiteX11" fmla="*/ 38100 w 1466850"/>
                <a:gd name="connsiteY11" fmla="*/ 919162 h 1200149"/>
                <a:gd name="connsiteX12" fmla="*/ 78581 w 1466850"/>
                <a:gd name="connsiteY12" fmla="*/ 1028700 h 1200149"/>
                <a:gd name="connsiteX13" fmla="*/ 71437 w 1466850"/>
                <a:gd name="connsiteY13" fmla="*/ 1095375 h 1200149"/>
                <a:gd name="connsiteX14" fmla="*/ 88106 w 1466850"/>
                <a:gd name="connsiteY14" fmla="*/ 1164431 h 1200149"/>
                <a:gd name="connsiteX15" fmla="*/ 166687 w 1466850"/>
                <a:gd name="connsiteY15" fmla="*/ 1200149 h 1200149"/>
                <a:gd name="connsiteX16" fmla="*/ 242887 w 1466850"/>
                <a:gd name="connsiteY16" fmla="*/ 1092994 h 1200149"/>
                <a:gd name="connsiteX17" fmla="*/ 238125 w 1466850"/>
                <a:gd name="connsiteY17" fmla="*/ 1045369 h 1200149"/>
                <a:gd name="connsiteX18" fmla="*/ 230981 w 1466850"/>
                <a:gd name="connsiteY18" fmla="*/ 1035844 h 1200149"/>
                <a:gd name="connsiteX19" fmla="*/ 252412 w 1466850"/>
                <a:gd name="connsiteY19" fmla="*/ 1019175 h 1200149"/>
                <a:gd name="connsiteX20" fmla="*/ 314325 w 1466850"/>
                <a:gd name="connsiteY20" fmla="*/ 995362 h 1200149"/>
                <a:gd name="connsiteX21" fmla="*/ 311944 w 1466850"/>
                <a:gd name="connsiteY21" fmla="*/ 959644 h 1200149"/>
                <a:gd name="connsiteX22" fmla="*/ 326231 w 1466850"/>
                <a:gd name="connsiteY22" fmla="*/ 942975 h 1200149"/>
                <a:gd name="connsiteX23" fmla="*/ 452437 w 1466850"/>
                <a:gd name="connsiteY23" fmla="*/ 950119 h 1200149"/>
                <a:gd name="connsiteX24" fmla="*/ 464344 w 1466850"/>
                <a:gd name="connsiteY24" fmla="*/ 933450 h 1200149"/>
                <a:gd name="connsiteX25" fmla="*/ 476250 w 1466850"/>
                <a:gd name="connsiteY25" fmla="*/ 883444 h 1200149"/>
                <a:gd name="connsiteX26" fmla="*/ 488156 w 1466850"/>
                <a:gd name="connsiteY26" fmla="*/ 857250 h 1200149"/>
                <a:gd name="connsiteX27" fmla="*/ 526256 w 1466850"/>
                <a:gd name="connsiteY27" fmla="*/ 862012 h 1200149"/>
                <a:gd name="connsiteX28" fmla="*/ 545306 w 1466850"/>
                <a:gd name="connsiteY28" fmla="*/ 909637 h 1200149"/>
                <a:gd name="connsiteX29" fmla="*/ 566737 w 1466850"/>
                <a:gd name="connsiteY29" fmla="*/ 881062 h 1200149"/>
                <a:gd name="connsiteX30" fmla="*/ 621506 w 1466850"/>
                <a:gd name="connsiteY30" fmla="*/ 845344 h 1200149"/>
                <a:gd name="connsiteX31" fmla="*/ 709612 w 1466850"/>
                <a:gd name="connsiteY31" fmla="*/ 814387 h 1200149"/>
                <a:gd name="connsiteX32" fmla="*/ 716756 w 1466850"/>
                <a:gd name="connsiteY32" fmla="*/ 769144 h 1200149"/>
                <a:gd name="connsiteX33" fmla="*/ 742950 w 1466850"/>
                <a:gd name="connsiteY33" fmla="*/ 750094 h 1200149"/>
                <a:gd name="connsiteX34" fmla="*/ 785812 w 1466850"/>
                <a:gd name="connsiteY34" fmla="*/ 726281 h 1200149"/>
                <a:gd name="connsiteX35" fmla="*/ 800100 w 1466850"/>
                <a:gd name="connsiteY35" fmla="*/ 716756 h 1200149"/>
                <a:gd name="connsiteX36" fmla="*/ 862012 w 1466850"/>
                <a:gd name="connsiteY36" fmla="*/ 721519 h 1200149"/>
                <a:gd name="connsiteX37" fmla="*/ 883444 w 1466850"/>
                <a:gd name="connsiteY37" fmla="*/ 721519 h 1200149"/>
                <a:gd name="connsiteX38" fmla="*/ 892969 w 1466850"/>
                <a:gd name="connsiteY38" fmla="*/ 697706 h 1200149"/>
                <a:gd name="connsiteX39" fmla="*/ 892969 w 1466850"/>
                <a:gd name="connsiteY39" fmla="*/ 697706 h 1200149"/>
                <a:gd name="connsiteX40" fmla="*/ 921544 w 1466850"/>
                <a:gd name="connsiteY40" fmla="*/ 609600 h 1200149"/>
                <a:gd name="connsiteX41" fmla="*/ 909637 w 1466850"/>
                <a:gd name="connsiteY41" fmla="*/ 552450 h 1200149"/>
                <a:gd name="connsiteX42" fmla="*/ 928687 w 1466850"/>
                <a:gd name="connsiteY42" fmla="*/ 540544 h 1200149"/>
                <a:gd name="connsiteX43" fmla="*/ 973931 w 1466850"/>
                <a:gd name="connsiteY43" fmla="*/ 535781 h 1200149"/>
                <a:gd name="connsiteX44" fmla="*/ 1014412 w 1466850"/>
                <a:gd name="connsiteY44" fmla="*/ 447675 h 1200149"/>
                <a:gd name="connsiteX45" fmla="*/ 1038225 w 1466850"/>
                <a:gd name="connsiteY45" fmla="*/ 445294 h 1200149"/>
                <a:gd name="connsiteX46" fmla="*/ 1073944 w 1466850"/>
                <a:gd name="connsiteY46" fmla="*/ 476250 h 1200149"/>
                <a:gd name="connsiteX47" fmla="*/ 1112044 w 1466850"/>
                <a:gd name="connsiteY47" fmla="*/ 514350 h 1200149"/>
                <a:gd name="connsiteX48" fmla="*/ 1171575 w 1466850"/>
                <a:gd name="connsiteY48" fmla="*/ 540544 h 1200149"/>
                <a:gd name="connsiteX49" fmla="*/ 1219200 w 1466850"/>
                <a:gd name="connsiteY49" fmla="*/ 521494 h 1200149"/>
                <a:gd name="connsiteX50" fmla="*/ 1245394 w 1466850"/>
                <a:gd name="connsiteY50" fmla="*/ 502444 h 1200149"/>
                <a:gd name="connsiteX51" fmla="*/ 1278731 w 1466850"/>
                <a:gd name="connsiteY51" fmla="*/ 511969 h 1200149"/>
                <a:gd name="connsiteX52" fmla="*/ 1295400 w 1466850"/>
                <a:gd name="connsiteY52" fmla="*/ 531019 h 1200149"/>
                <a:gd name="connsiteX53" fmla="*/ 1273969 w 1466850"/>
                <a:gd name="connsiteY53" fmla="*/ 573881 h 1200149"/>
                <a:gd name="connsiteX54" fmla="*/ 1271587 w 1466850"/>
                <a:gd name="connsiteY54" fmla="*/ 602456 h 1200149"/>
                <a:gd name="connsiteX55" fmla="*/ 1285875 w 1466850"/>
                <a:gd name="connsiteY55" fmla="*/ 611981 h 1200149"/>
                <a:gd name="connsiteX56" fmla="*/ 1300162 w 1466850"/>
                <a:gd name="connsiteY56" fmla="*/ 628650 h 1200149"/>
                <a:gd name="connsiteX57" fmla="*/ 1321594 w 1466850"/>
                <a:gd name="connsiteY57" fmla="*/ 666750 h 1200149"/>
                <a:gd name="connsiteX58" fmla="*/ 1347787 w 1466850"/>
                <a:gd name="connsiteY58" fmla="*/ 681037 h 1200149"/>
                <a:gd name="connsiteX59" fmla="*/ 1371600 w 1466850"/>
                <a:gd name="connsiteY59" fmla="*/ 681037 h 1200149"/>
                <a:gd name="connsiteX60" fmla="*/ 1376362 w 1466850"/>
                <a:gd name="connsiteY60" fmla="*/ 628650 h 1200149"/>
                <a:gd name="connsiteX61" fmla="*/ 1395412 w 1466850"/>
                <a:gd name="connsiteY61" fmla="*/ 578644 h 1200149"/>
                <a:gd name="connsiteX62" fmla="*/ 1426369 w 1466850"/>
                <a:gd name="connsiteY62" fmla="*/ 571500 h 1200149"/>
                <a:gd name="connsiteX63" fmla="*/ 1466850 w 1466850"/>
                <a:gd name="connsiteY63" fmla="*/ 552450 h 1200149"/>
                <a:gd name="connsiteX64" fmla="*/ 1443037 w 1466850"/>
                <a:gd name="connsiteY64" fmla="*/ 509587 h 1200149"/>
                <a:gd name="connsiteX65" fmla="*/ 1414462 w 1466850"/>
                <a:gd name="connsiteY65" fmla="*/ 464344 h 1200149"/>
                <a:gd name="connsiteX66" fmla="*/ 1388269 w 1466850"/>
                <a:gd name="connsiteY66" fmla="*/ 438150 h 1200149"/>
                <a:gd name="connsiteX67" fmla="*/ 1404937 w 1466850"/>
                <a:gd name="connsiteY67" fmla="*/ 400050 h 1200149"/>
                <a:gd name="connsiteX68" fmla="*/ 1404937 w 1466850"/>
                <a:gd name="connsiteY68" fmla="*/ 383381 h 1200149"/>
                <a:gd name="connsiteX69" fmla="*/ 1431131 w 1466850"/>
                <a:gd name="connsiteY69" fmla="*/ 338137 h 1200149"/>
                <a:gd name="connsiteX70" fmla="*/ 1419225 w 1466850"/>
                <a:gd name="connsiteY70" fmla="*/ 264319 h 1200149"/>
                <a:gd name="connsiteX71" fmla="*/ 1438275 w 1466850"/>
                <a:gd name="connsiteY71" fmla="*/ 202406 h 1200149"/>
                <a:gd name="connsiteX72" fmla="*/ 1435894 w 1466850"/>
                <a:gd name="connsiteY72" fmla="*/ 173831 h 1200149"/>
                <a:gd name="connsiteX73" fmla="*/ 1404937 w 1466850"/>
                <a:gd name="connsiteY73" fmla="*/ 164306 h 1200149"/>
                <a:gd name="connsiteX74" fmla="*/ 1364456 w 1466850"/>
                <a:gd name="connsiteY74" fmla="*/ 154781 h 1200149"/>
                <a:gd name="connsiteX75" fmla="*/ 1293019 w 1466850"/>
                <a:gd name="connsiteY75" fmla="*/ 154781 h 1200149"/>
                <a:gd name="connsiteX76" fmla="*/ 1233487 w 1466850"/>
                <a:gd name="connsiteY76" fmla="*/ 121444 h 1200149"/>
                <a:gd name="connsiteX77" fmla="*/ 1207294 w 1466850"/>
                <a:gd name="connsiteY77" fmla="*/ 114300 h 1200149"/>
                <a:gd name="connsiteX78" fmla="*/ 1188244 w 1466850"/>
                <a:gd name="connsiteY78" fmla="*/ 126206 h 1200149"/>
                <a:gd name="connsiteX79" fmla="*/ 1133475 w 1466850"/>
                <a:gd name="connsiteY79" fmla="*/ 188119 h 1200149"/>
                <a:gd name="connsiteX80" fmla="*/ 1116806 w 1466850"/>
                <a:gd name="connsiteY80" fmla="*/ 188119 h 1200149"/>
                <a:gd name="connsiteX81" fmla="*/ 1078706 w 1466850"/>
                <a:gd name="connsiteY81" fmla="*/ 142875 h 1200149"/>
                <a:gd name="connsiteX82" fmla="*/ 1054894 w 1466850"/>
                <a:gd name="connsiteY82" fmla="*/ 138112 h 1200149"/>
                <a:gd name="connsiteX83" fmla="*/ 997744 w 1466850"/>
                <a:gd name="connsiteY83" fmla="*/ 157162 h 1200149"/>
                <a:gd name="connsiteX84" fmla="*/ 973931 w 1466850"/>
                <a:gd name="connsiteY84" fmla="*/ 178594 h 1200149"/>
                <a:gd name="connsiteX85" fmla="*/ 928687 w 1466850"/>
                <a:gd name="connsiteY85" fmla="*/ 173831 h 1200149"/>
                <a:gd name="connsiteX86" fmla="*/ 878681 w 1466850"/>
                <a:gd name="connsiteY86" fmla="*/ 164306 h 1200149"/>
                <a:gd name="connsiteX87" fmla="*/ 864394 w 1466850"/>
                <a:gd name="connsiteY87" fmla="*/ 83344 h 1200149"/>
                <a:gd name="connsiteX88" fmla="*/ 845344 w 1466850"/>
                <a:gd name="connsiteY88" fmla="*/ 69056 h 1200149"/>
                <a:gd name="connsiteX89" fmla="*/ 747712 w 1466850"/>
                <a:gd name="connsiteY89" fmla="*/ 119062 h 1200149"/>
                <a:gd name="connsiteX90" fmla="*/ 721519 w 1466850"/>
                <a:gd name="connsiteY90" fmla="*/ 140494 h 1200149"/>
                <a:gd name="connsiteX91" fmla="*/ 709612 w 1466850"/>
                <a:gd name="connsiteY91" fmla="*/ 190500 h 1200149"/>
                <a:gd name="connsiteX92" fmla="*/ 707231 w 1466850"/>
                <a:gd name="connsiteY92" fmla="*/ 195262 h 1200149"/>
                <a:gd name="connsiteX93" fmla="*/ 654844 w 1466850"/>
                <a:gd name="connsiteY93" fmla="*/ 190500 h 1200149"/>
                <a:gd name="connsiteX94" fmla="*/ 633412 w 1466850"/>
                <a:gd name="connsiteY94" fmla="*/ 180975 h 1200149"/>
                <a:gd name="connsiteX95" fmla="*/ 614362 w 1466850"/>
                <a:gd name="connsiteY95" fmla="*/ 142875 h 1200149"/>
                <a:gd name="connsiteX96" fmla="*/ 590550 w 1466850"/>
                <a:gd name="connsiteY96" fmla="*/ 130969 h 1200149"/>
                <a:gd name="connsiteX97" fmla="*/ 540544 w 1466850"/>
                <a:gd name="connsiteY97" fmla="*/ 161925 h 1200149"/>
                <a:gd name="connsiteX98" fmla="*/ 507206 w 1466850"/>
                <a:gd name="connsiteY98" fmla="*/ 154781 h 1200149"/>
                <a:gd name="connsiteX99" fmla="*/ 495300 w 1466850"/>
                <a:gd name="connsiteY99" fmla="*/ 123825 h 1200149"/>
                <a:gd name="connsiteX100" fmla="*/ 490537 w 1466850"/>
                <a:gd name="connsiteY100" fmla="*/ 114300 h 1200149"/>
                <a:gd name="connsiteX101" fmla="*/ 431006 w 1466850"/>
                <a:gd name="connsiteY101" fmla="*/ 97631 h 1200149"/>
                <a:gd name="connsiteX102" fmla="*/ 442912 w 1466850"/>
                <a:gd name="connsiteY102" fmla="*/ 33337 h 1200149"/>
                <a:gd name="connsiteX103" fmla="*/ 423862 w 1466850"/>
                <a:gd name="connsiteY103" fmla="*/ 19050 h 1200149"/>
                <a:gd name="connsiteX104" fmla="*/ 335756 w 1466850"/>
                <a:gd name="connsiteY104" fmla="*/ 0 h 1200149"/>
                <a:gd name="connsiteX105" fmla="*/ 302419 w 1466850"/>
                <a:gd name="connsiteY105" fmla="*/ 35719 h 1200149"/>
                <a:gd name="connsiteX106" fmla="*/ 266700 w 1466850"/>
                <a:gd name="connsiteY106" fmla="*/ 50006 h 1200149"/>
                <a:gd name="connsiteX107" fmla="*/ 271462 w 1466850"/>
                <a:gd name="connsiteY107" fmla="*/ 95250 h 1200149"/>
                <a:gd name="connsiteX108" fmla="*/ 316706 w 1466850"/>
                <a:gd name="connsiteY108" fmla="*/ 121444 h 1200149"/>
                <a:gd name="connsiteX109" fmla="*/ 302419 w 1466850"/>
                <a:gd name="connsiteY109" fmla="*/ 145256 h 1200149"/>
                <a:gd name="connsiteX110" fmla="*/ 247650 w 1466850"/>
                <a:gd name="connsiteY110" fmla="*/ 159544 h 1200149"/>
                <a:gd name="connsiteX111" fmla="*/ 214312 w 1466850"/>
                <a:gd name="connsiteY111" fmla="*/ 216694 h 1200149"/>
                <a:gd name="connsiteX112" fmla="*/ 183356 w 1466850"/>
                <a:gd name="connsiteY112" fmla="*/ 221456 h 1200149"/>
                <a:gd name="connsiteX113" fmla="*/ 183356 w 1466850"/>
                <a:gd name="connsiteY113" fmla="*/ 254794 h 1200149"/>
                <a:gd name="connsiteX114" fmla="*/ 161925 w 1466850"/>
                <a:gd name="connsiteY114" fmla="*/ 304800 h 1200149"/>
                <a:gd name="connsiteX115" fmla="*/ 140494 w 1466850"/>
                <a:gd name="connsiteY115" fmla="*/ 323850 h 1200149"/>
                <a:gd name="connsiteX116" fmla="*/ 71439 w 1466850"/>
                <a:gd name="connsiteY116" fmla="*/ 300039 h 1200149"/>
                <a:gd name="connsiteX117" fmla="*/ 59530 w 1466850"/>
                <a:gd name="connsiteY117" fmla="*/ 302418 h 1200149"/>
                <a:gd name="connsiteX118" fmla="*/ 30956 w 1466850"/>
                <a:gd name="connsiteY118" fmla="*/ 295274 h 1200149"/>
                <a:gd name="connsiteX0" fmla="*/ 30956 w 1466850"/>
                <a:gd name="connsiteY0" fmla="*/ 295274 h 1200149"/>
                <a:gd name="connsiteX1" fmla="*/ 19050 w 1466850"/>
                <a:gd name="connsiteY1" fmla="*/ 381000 h 1200149"/>
                <a:gd name="connsiteX2" fmla="*/ 19050 w 1466850"/>
                <a:gd name="connsiteY2" fmla="*/ 397669 h 1200149"/>
                <a:gd name="connsiteX3" fmla="*/ 0 w 1466850"/>
                <a:gd name="connsiteY3" fmla="*/ 459581 h 1200149"/>
                <a:gd name="connsiteX4" fmla="*/ 7144 w 1466850"/>
                <a:gd name="connsiteY4" fmla="*/ 497681 h 1200149"/>
                <a:gd name="connsiteX5" fmla="*/ 9525 w 1466850"/>
                <a:gd name="connsiteY5" fmla="*/ 535781 h 1200149"/>
                <a:gd name="connsiteX6" fmla="*/ 19050 w 1466850"/>
                <a:gd name="connsiteY6" fmla="*/ 583406 h 1200149"/>
                <a:gd name="connsiteX7" fmla="*/ 23812 w 1466850"/>
                <a:gd name="connsiteY7" fmla="*/ 688181 h 1200149"/>
                <a:gd name="connsiteX8" fmla="*/ 35719 w 1466850"/>
                <a:gd name="connsiteY8" fmla="*/ 747712 h 1200149"/>
                <a:gd name="connsiteX9" fmla="*/ 40481 w 1466850"/>
                <a:gd name="connsiteY9" fmla="*/ 778669 h 1200149"/>
                <a:gd name="connsiteX10" fmla="*/ 47625 w 1466850"/>
                <a:gd name="connsiteY10" fmla="*/ 831056 h 1200149"/>
                <a:gd name="connsiteX11" fmla="*/ 38100 w 1466850"/>
                <a:gd name="connsiteY11" fmla="*/ 919162 h 1200149"/>
                <a:gd name="connsiteX12" fmla="*/ 78581 w 1466850"/>
                <a:gd name="connsiteY12" fmla="*/ 1028700 h 1200149"/>
                <a:gd name="connsiteX13" fmla="*/ 71437 w 1466850"/>
                <a:gd name="connsiteY13" fmla="*/ 1095375 h 1200149"/>
                <a:gd name="connsiteX14" fmla="*/ 88106 w 1466850"/>
                <a:gd name="connsiteY14" fmla="*/ 1164431 h 1200149"/>
                <a:gd name="connsiteX15" fmla="*/ 166687 w 1466850"/>
                <a:gd name="connsiteY15" fmla="*/ 1200149 h 1200149"/>
                <a:gd name="connsiteX16" fmla="*/ 185737 w 1466850"/>
                <a:gd name="connsiteY16" fmla="*/ 1173956 h 1200149"/>
                <a:gd name="connsiteX17" fmla="*/ 242887 w 1466850"/>
                <a:gd name="connsiteY17" fmla="*/ 1092994 h 1200149"/>
                <a:gd name="connsiteX18" fmla="*/ 238125 w 1466850"/>
                <a:gd name="connsiteY18" fmla="*/ 1045369 h 1200149"/>
                <a:gd name="connsiteX19" fmla="*/ 230981 w 1466850"/>
                <a:gd name="connsiteY19" fmla="*/ 1035844 h 1200149"/>
                <a:gd name="connsiteX20" fmla="*/ 252412 w 1466850"/>
                <a:gd name="connsiteY20" fmla="*/ 1019175 h 1200149"/>
                <a:gd name="connsiteX21" fmla="*/ 314325 w 1466850"/>
                <a:gd name="connsiteY21" fmla="*/ 995362 h 1200149"/>
                <a:gd name="connsiteX22" fmla="*/ 311944 w 1466850"/>
                <a:gd name="connsiteY22" fmla="*/ 959644 h 1200149"/>
                <a:gd name="connsiteX23" fmla="*/ 326231 w 1466850"/>
                <a:gd name="connsiteY23" fmla="*/ 942975 h 1200149"/>
                <a:gd name="connsiteX24" fmla="*/ 452437 w 1466850"/>
                <a:gd name="connsiteY24" fmla="*/ 950119 h 1200149"/>
                <a:gd name="connsiteX25" fmla="*/ 464344 w 1466850"/>
                <a:gd name="connsiteY25" fmla="*/ 933450 h 1200149"/>
                <a:gd name="connsiteX26" fmla="*/ 476250 w 1466850"/>
                <a:gd name="connsiteY26" fmla="*/ 883444 h 1200149"/>
                <a:gd name="connsiteX27" fmla="*/ 488156 w 1466850"/>
                <a:gd name="connsiteY27" fmla="*/ 857250 h 1200149"/>
                <a:gd name="connsiteX28" fmla="*/ 526256 w 1466850"/>
                <a:gd name="connsiteY28" fmla="*/ 862012 h 1200149"/>
                <a:gd name="connsiteX29" fmla="*/ 545306 w 1466850"/>
                <a:gd name="connsiteY29" fmla="*/ 909637 h 1200149"/>
                <a:gd name="connsiteX30" fmla="*/ 566737 w 1466850"/>
                <a:gd name="connsiteY30" fmla="*/ 881062 h 1200149"/>
                <a:gd name="connsiteX31" fmla="*/ 621506 w 1466850"/>
                <a:gd name="connsiteY31" fmla="*/ 845344 h 1200149"/>
                <a:gd name="connsiteX32" fmla="*/ 709612 w 1466850"/>
                <a:gd name="connsiteY32" fmla="*/ 814387 h 1200149"/>
                <a:gd name="connsiteX33" fmla="*/ 716756 w 1466850"/>
                <a:gd name="connsiteY33" fmla="*/ 769144 h 1200149"/>
                <a:gd name="connsiteX34" fmla="*/ 742950 w 1466850"/>
                <a:gd name="connsiteY34" fmla="*/ 750094 h 1200149"/>
                <a:gd name="connsiteX35" fmla="*/ 785812 w 1466850"/>
                <a:gd name="connsiteY35" fmla="*/ 726281 h 1200149"/>
                <a:gd name="connsiteX36" fmla="*/ 800100 w 1466850"/>
                <a:gd name="connsiteY36" fmla="*/ 716756 h 1200149"/>
                <a:gd name="connsiteX37" fmla="*/ 862012 w 1466850"/>
                <a:gd name="connsiteY37" fmla="*/ 721519 h 1200149"/>
                <a:gd name="connsiteX38" fmla="*/ 883444 w 1466850"/>
                <a:gd name="connsiteY38" fmla="*/ 721519 h 1200149"/>
                <a:gd name="connsiteX39" fmla="*/ 892969 w 1466850"/>
                <a:gd name="connsiteY39" fmla="*/ 697706 h 1200149"/>
                <a:gd name="connsiteX40" fmla="*/ 892969 w 1466850"/>
                <a:gd name="connsiteY40" fmla="*/ 697706 h 1200149"/>
                <a:gd name="connsiteX41" fmla="*/ 921544 w 1466850"/>
                <a:gd name="connsiteY41" fmla="*/ 609600 h 1200149"/>
                <a:gd name="connsiteX42" fmla="*/ 909637 w 1466850"/>
                <a:gd name="connsiteY42" fmla="*/ 552450 h 1200149"/>
                <a:gd name="connsiteX43" fmla="*/ 928687 w 1466850"/>
                <a:gd name="connsiteY43" fmla="*/ 540544 h 1200149"/>
                <a:gd name="connsiteX44" fmla="*/ 973931 w 1466850"/>
                <a:gd name="connsiteY44" fmla="*/ 535781 h 1200149"/>
                <a:gd name="connsiteX45" fmla="*/ 1014412 w 1466850"/>
                <a:gd name="connsiteY45" fmla="*/ 447675 h 1200149"/>
                <a:gd name="connsiteX46" fmla="*/ 1038225 w 1466850"/>
                <a:gd name="connsiteY46" fmla="*/ 445294 h 1200149"/>
                <a:gd name="connsiteX47" fmla="*/ 1073944 w 1466850"/>
                <a:gd name="connsiteY47" fmla="*/ 476250 h 1200149"/>
                <a:gd name="connsiteX48" fmla="*/ 1112044 w 1466850"/>
                <a:gd name="connsiteY48" fmla="*/ 514350 h 1200149"/>
                <a:gd name="connsiteX49" fmla="*/ 1171575 w 1466850"/>
                <a:gd name="connsiteY49" fmla="*/ 540544 h 1200149"/>
                <a:gd name="connsiteX50" fmla="*/ 1219200 w 1466850"/>
                <a:gd name="connsiteY50" fmla="*/ 521494 h 1200149"/>
                <a:gd name="connsiteX51" fmla="*/ 1245394 w 1466850"/>
                <a:gd name="connsiteY51" fmla="*/ 502444 h 1200149"/>
                <a:gd name="connsiteX52" fmla="*/ 1278731 w 1466850"/>
                <a:gd name="connsiteY52" fmla="*/ 511969 h 1200149"/>
                <a:gd name="connsiteX53" fmla="*/ 1295400 w 1466850"/>
                <a:gd name="connsiteY53" fmla="*/ 531019 h 1200149"/>
                <a:gd name="connsiteX54" fmla="*/ 1273969 w 1466850"/>
                <a:gd name="connsiteY54" fmla="*/ 573881 h 1200149"/>
                <a:gd name="connsiteX55" fmla="*/ 1271587 w 1466850"/>
                <a:gd name="connsiteY55" fmla="*/ 602456 h 1200149"/>
                <a:gd name="connsiteX56" fmla="*/ 1285875 w 1466850"/>
                <a:gd name="connsiteY56" fmla="*/ 611981 h 1200149"/>
                <a:gd name="connsiteX57" fmla="*/ 1300162 w 1466850"/>
                <a:gd name="connsiteY57" fmla="*/ 628650 h 1200149"/>
                <a:gd name="connsiteX58" fmla="*/ 1321594 w 1466850"/>
                <a:gd name="connsiteY58" fmla="*/ 666750 h 1200149"/>
                <a:gd name="connsiteX59" fmla="*/ 1347787 w 1466850"/>
                <a:gd name="connsiteY59" fmla="*/ 681037 h 1200149"/>
                <a:gd name="connsiteX60" fmla="*/ 1371600 w 1466850"/>
                <a:gd name="connsiteY60" fmla="*/ 681037 h 1200149"/>
                <a:gd name="connsiteX61" fmla="*/ 1376362 w 1466850"/>
                <a:gd name="connsiteY61" fmla="*/ 628650 h 1200149"/>
                <a:gd name="connsiteX62" fmla="*/ 1395412 w 1466850"/>
                <a:gd name="connsiteY62" fmla="*/ 578644 h 1200149"/>
                <a:gd name="connsiteX63" fmla="*/ 1426369 w 1466850"/>
                <a:gd name="connsiteY63" fmla="*/ 571500 h 1200149"/>
                <a:gd name="connsiteX64" fmla="*/ 1466850 w 1466850"/>
                <a:gd name="connsiteY64" fmla="*/ 552450 h 1200149"/>
                <a:gd name="connsiteX65" fmla="*/ 1443037 w 1466850"/>
                <a:gd name="connsiteY65" fmla="*/ 509587 h 1200149"/>
                <a:gd name="connsiteX66" fmla="*/ 1414462 w 1466850"/>
                <a:gd name="connsiteY66" fmla="*/ 464344 h 1200149"/>
                <a:gd name="connsiteX67" fmla="*/ 1388269 w 1466850"/>
                <a:gd name="connsiteY67" fmla="*/ 438150 h 1200149"/>
                <a:gd name="connsiteX68" fmla="*/ 1404937 w 1466850"/>
                <a:gd name="connsiteY68" fmla="*/ 400050 h 1200149"/>
                <a:gd name="connsiteX69" fmla="*/ 1404937 w 1466850"/>
                <a:gd name="connsiteY69" fmla="*/ 383381 h 1200149"/>
                <a:gd name="connsiteX70" fmla="*/ 1431131 w 1466850"/>
                <a:gd name="connsiteY70" fmla="*/ 338137 h 1200149"/>
                <a:gd name="connsiteX71" fmla="*/ 1419225 w 1466850"/>
                <a:gd name="connsiteY71" fmla="*/ 264319 h 1200149"/>
                <a:gd name="connsiteX72" fmla="*/ 1438275 w 1466850"/>
                <a:gd name="connsiteY72" fmla="*/ 202406 h 1200149"/>
                <a:gd name="connsiteX73" fmla="*/ 1435894 w 1466850"/>
                <a:gd name="connsiteY73" fmla="*/ 173831 h 1200149"/>
                <a:gd name="connsiteX74" fmla="*/ 1404937 w 1466850"/>
                <a:gd name="connsiteY74" fmla="*/ 164306 h 1200149"/>
                <a:gd name="connsiteX75" fmla="*/ 1364456 w 1466850"/>
                <a:gd name="connsiteY75" fmla="*/ 154781 h 1200149"/>
                <a:gd name="connsiteX76" fmla="*/ 1293019 w 1466850"/>
                <a:gd name="connsiteY76" fmla="*/ 154781 h 1200149"/>
                <a:gd name="connsiteX77" fmla="*/ 1233487 w 1466850"/>
                <a:gd name="connsiteY77" fmla="*/ 121444 h 1200149"/>
                <a:gd name="connsiteX78" fmla="*/ 1207294 w 1466850"/>
                <a:gd name="connsiteY78" fmla="*/ 114300 h 1200149"/>
                <a:gd name="connsiteX79" fmla="*/ 1188244 w 1466850"/>
                <a:gd name="connsiteY79" fmla="*/ 126206 h 1200149"/>
                <a:gd name="connsiteX80" fmla="*/ 1133475 w 1466850"/>
                <a:gd name="connsiteY80" fmla="*/ 188119 h 1200149"/>
                <a:gd name="connsiteX81" fmla="*/ 1116806 w 1466850"/>
                <a:gd name="connsiteY81" fmla="*/ 188119 h 1200149"/>
                <a:gd name="connsiteX82" fmla="*/ 1078706 w 1466850"/>
                <a:gd name="connsiteY82" fmla="*/ 142875 h 1200149"/>
                <a:gd name="connsiteX83" fmla="*/ 1054894 w 1466850"/>
                <a:gd name="connsiteY83" fmla="*/ 138112 h 1200149"/>
                <a:gd name="connsiteX84" fmla="*/ 997744 w 1466850"/>
                <a:gd name="connsiteY84" fmla="*/ 157162 h 1200149"/>
                <a:gd name="connsiteX85" fmla="*/ 973931 w 1466850"/>
                <a:gd name="connsiteY85" fmla="*/ 178594 h 1200149"/>
                <a:gd name="connsiteX86" fmla="*/ 928687 w 1466850"/>
                <a:gd name="connsiteY86" fmla="*/ 173831 h 1200149"/>
                <a:gd name="connsiteX87" fmla="*/ 878681 w 1466850"/>
                <a:gd name="connsiteY87" fmla="*/ 164306 h 1200149"/>
                <a:gd name="connsiteX88" fmla="*/ 864394 w 1466850"/>
                <a:gd name="connsiteY88" fmla="*/ 83344 h 1200149"/>
                <a:gd name="connsiteX89" fmla="*/ 845344 w 1466850"/>
                <a:gd name="connsiteY89" fmla="*/ 69056 h 1200149"/>
                <a:gd name="connsiteX90" fmla="*/ 747712 w 1466850"/>
                <a:gd name="connsiteY90" fmla="*/ 119062 h 1200149"/>
                <a:gd name="connsiteX91" fmla="*/ 721519 w 1466850"/>
                <a:gd name="connsiteY91" fmla="*/ 140494 h 1200149"/>
                <a:gd name="connsiteX92" fmla="*/ 709612 w 1466850"/>
                <a:gd name="connsiteY92" fmla="*/ 190500 h 1200149"/>
                <a:gd name="connsiteX93" fmla="*/ 707231 w 1466850"/>
                <a:gd name="connsiteY93" fmla="*/ 195262 h 1200149"/>
                <a:gd name="connsiteX94" fmla="*/ 654844 w 1466850"/>
                <a:gd name="connsiteY94" fmla="*/ 190500 h 1200149"/>
                <a:gd name="connsiteX95" fmla="*/ 633412 w 1466850"/>
                <a:gd name="connsiteY95" fmla="*/ 180975 h 1200149"/>
                <a:gd name="connsiteX96" fmla="*/ 614362 w 1466850"/>
                <a:gd name="connsiteY96" fmla="*/ 142875 h 1200149"/>
                <a:gd name="connsiteX97" fmla="*/ 590550 w 1466850"/>
                <a:gd name="connsiteY97" fmla="*/ 130969 h 1200149"/>
                <a:gd name="connsiteX98" fmla="*/ 540544 w 1466850"/>
                <a:gd name="connsiteY98" fmla="*/ 161925 h 1200149"/>
                <a:gd name="connsiteX99" fmla="*/ 507206 w 1466850"/>
                <a:gd name="connsiteY99" fmla="*/ 154781 h 1200149"/>
                <a:gd name="connsiteX100" fmla="*/ 495300 w 1466850"/>
                <a:gd name="connsiteY100" fmla="*/ 123825 h 1200149"/>
                <a:gd name="connsiteX101" fmla="*/ 490537 w 1466850"/>
                <a:gd name="connsiteY101" fmla="*/ 114300 h 1200149"/>
                <a:gd name="connsiteX102" fmla="*/ 431006 w 1466850"/>
                <a:gd name="connsiteY102" fmla="*/ 97631 h 1200149"/>
                <a:gd name="connsiteX103" fmla="*/ 442912 w 1466850"/>
                <a:gd name="connsiteY103" fmla="*/ 33337 h 1200149"/>
                <a:gd name="connsiteX104" fmla="*/ 423862 w 1466850"/>
                <a:gd name="connsiteY104" fmla="*/ 19050 h 1200149"/>
                <a:gd name="connsiteX105" fmla="*/ 335756 w 1466850"/>
                <a:gd name="connsiteY105" fmla="*/ 0 h 1200149"/>
                <a:gd name="connsiteX106" fmla="*/ 302419 w 1466850"/>
                <a:gd name="connsiteY106" fmla="*/ 35719 h 1200149"/>
                <a:gd name="connsiteX107" fmla="*/ 266700 w 1466850"/>
                <a:gd name="connsiteY107" fmla="*/ 50006 h 1200149"/>
                <a:gd name="connsiteX108" fmla="*/ 271462 w 1466850"/>
                <a:gd name="connsiteY108" fmla="*/ 95250 h 1200149"/>
                <a:gd name="connsiteX109" fmla="*/ 316706 w 1466850"/>
                <a:gd name="connsiteY109" fmla="*/ 121444 h 1200149"/>
                <a:gd name="connsiteX110" fmla="*/ 302419 w 1466850"/>
                <a:gd name="connsiteY110" fmla="*/ 145256 h 1200149"/>
                <a:gd name="connsiteX111" fmla="*/ 247650 w 1466850"/>
                <a:gd name="connsiteY111" fmla="*/ 159544 h 1200149"/>
                <a:gd name="connsiteX112" fmla="*/ 214312 w 1466850"/>
                <a:gd name="connsiteY112" fmla="*/ 216694 h 1200149"/>
                <a:gd name="connsiteX113" fmla="*/ 183356 w 1466850"/>
                <a:gd name="connsiteY113" fmla="*/ 221456 h 1200149"/>
                <a:gd name="connsiteX114" fmla="*/ 183356 w 1466850"/>
                <a:gd name="connsiteY114" fmla="*/ 254794 h 1200149"/>
                <a:gd name="connsiteX115" fmla="*/ 161925 w 1466850"/>
                <a:gd name="connsiteY115" fmla="*/ 304800 h 1200149"/>
                <a:gd name="connsiteX116" fmla="*/ 140494 w 1466850"/>
                <a:gd name="connsiteY116" fmla="*/ 323850 h 1200149"/>
                <a:gd name="connsiteX117" fmla="*/ 71439 w 1466850"/>
                <a:gd name="connsiteY117" fmla="*/ 300039 h 1200149"/>
                <a:gd name="connsiteX118" fmla="*/ 59530 w 1466850"/>
                <a:gd name="connsiteY118" fmla="*/ 302418 h 1200149"/>
                <a:gd name="connsiteX119" fmla="*/ 30956 w 1466850"/>
                <a:gd name="connsiteY119" fmla="*/ 295274 h 1200149"/>
                <a:gd name="connsiteX0" fmla="*/ 30956 w 1466850"/>
                <a:gd name="connsiteY0" fmla="*/ 295274 h 1209675"/>
                <a:gd name="connsiteX1" fmla="*/ 19050 w 1466850"/>
                <a:gd name="connsiteY1" fmla="*/ 381000 h 1209675"/>
                <a:gd name="connsiteX2" fmla="*/ 19050 w 1466850"/>
                <a:gd name="connsiteY2" fmla="*/ 397669 h 1209675"/>
                <a:gd name="connsiteX3" fmla="*/ 0 w 1466850"/>
                <a:gd name="connsiteY3" fmla="*/ 459581 h 1209675"/>
                <a:gd name="connsiteX4" fmla="*/ 7144 w 1466850"/>
                <a:gd name="connsiteY4" fmla="*/ 497681 h 1209675"/>
                <a:gd name="connsiteX5" fmla="*/ 9525 w 1466850"/>
                <a:gd name="connsiteY5" fmla="*/ 535781 h 1209675"/>
                <a:gd name="connsiteX6" fmla="*/ 19050 w 1466850"/>
                <a:gd name="connsiteY6" fmla="*/ 583406 h 1209675"/>
                <a:gd name="connsiteX7" fmla="*/ 23812 w 1466850"/>
                <a:gd name="connsiteY7" fmla="*/ 688181 h 1209675"/>
                <a:gd name="connsiteX8" fmla="*/ 35719 w 1466850"/>
                <a:gd name="connsiteY8" fmla="*/ 747712 h 1209675"/>
                <a:gd name="connsiteX9" fmla="*/ 40481 w 1466850"/>
                <a:gd name="connsiteY9" fmla="*/ 778669 h 1209675"/>
                <a:gd name="connsiteX10" fmla="*/ 47625 w 1466850"/>
                <a:gd name="connsiteY10" fmla="*/ 831056 h 1209675"/>
                <a:gd name="connsiteX11" fmla="*/ 38100 w 1466850"/>
                <a:gd name="connsiteY11" fmla="*/ 919162 h 1209675"/>
                <a:gd name="connsiteX12" fmla="*/ 78581 w 1466850"/>
                <a:gd name="connsiteY12" fmla="*/ 1028700 h 1209675"/>
                <a:gd name="connsiteX13" fmla="*/ 71437 w 1466850"/>
                <a:gd name="connsiteY13" fmla="*/ 1095375 h 1209675"/>
                <a:gd name="connsiteX14" fmla="*/ 88106 w 1466850"/>
                <a:gd name="connsiteY14" fmla="*/ 1164431 h 1209675"/>
                <a:gd name="connsiteX15" fmla="*/ 166687 w 1466850"/>
                <a:gd name="connsiteY15" fmla="*/ 1200149 h 1209675"/>
                <a:gd name="connsiteX16" fmla="*/ 202406 w 1466850"/>
                <a:gd name="connsiteY16" fmla="*/ 1209675 h 1209675"/>
                <a:gd name="connsiteX17" fmla="*/ 242887 w 1466850"/>
                <a:gd name="connsiteY17" fmla="*/ 1092994 h 1209675"/>
                <a:gd name="connsiteX18" fmla="*/ 238125 w 1466850"/>
                <a:gd name="connsiteY18" fmla="*/ 1045369 h 1209675"/>
                <a:gd name="connsiteX19" fmla="*/ 230981 w 1466850"/>
                <a:gd name="connsiteY19" fmla="*/ 1035844 h 1209675"/>
                <a:gd name="connsiteX20" fmla="*/ 252412 w 1466850"/>
                <a:gd name="connsiteY20" fmla="*/ 1019175 h 1209675"/>
                <a:gd name="connsiteX21" fmla="*/ 314325 w 1466850"/>
                <a:gd name="connsiteY21" fmla="*/ 995362 h 1209675"/>
                <a:gd name="connsiteX22" fmla="*/ 311944 w 1466850"/>
                <a:gd name="connsiteY22" fmla="*/ 959644 h 1209675"/>
                <a:gd name="connsiteX23" fmla="*/ 326231 w 1466850"/>
                <a:gd name="connsiteY23" fmla="*/ 942975 h 1209675"/>
                <a:gd name="connsiteX24" fmla="*/ 452437 w 1466850"/>
                <a:gd name="connsiteY24" fmla="*/ 950119 h 1209675"/>
                <a:gd name="connsiteX25" fmla="*/ 464344 w 1466850"/>
                <a:gd name="connsiteY25" fmla="*/ 933450 h 1209675"/>
                <a:gd name="connsiteX26" fmla="*/ 476250 w 1466850"/>
                <a:gd name="connsiteY26" fmla="*/ 883444 h 1209675"/>
                <a:gd name="connsiteX27" fmla="*/ 488156 w 1466850"/>
                <a:gd name="connsiteY27" fmla="*/ 857250 h 1209675"/>
                <a:gd name="connsiteX28" fmla="*/ 526256 w 1466850"/>
                <a:gd name="connsiteY28" fmla="*/ 862012 h 1209675"/>
                <a:gd name="connsiteX29" fmla="*/ 545306 w 1466850"/>
                <a:gd name="connsiteY29" fmla="*/ 909637 h 1209675"/>
                <a:gd name="connsiteX30" fmla="*/ 566737 w 1466850"/>
                <a:gd name="connsiteY30" fmla="*/ 881062 h 1209675"/>
                <a:gd name="connsiteX31" fmla="*/ 621506 w 1466850"/>
                <a:gd name="connsiteY31" fmla="*/ 845344 h 1209675"/>
                <a:gd name="connsiteX32" fmla="*/ 709612 w 1466850"/>
                <a:gd name="connsiteY32" fmla="*/ 814387 h 1209675"/>
                <a:gd name="connsiteX33" fmla="*/ 716756 w 1466850"/>
                <a:gd name="connsiteY33" fmla="*/ 769144 h 1209675"/>
                <a:gd name="connsiteX34" fmla="*/ 742950 w 1466850"/>
                <a:gd name="connsiteY34" fmla="*/ 750094 h 1209675"/>
                <a:gd name="connsiteX35" fmla="*/ 785812 w 1466850"/>
                <a:gd name="connsiteY35" fmla="*/ 726281 h 1209675"/>
                <a:gd name="connsiteX36" fmla="*/ 800100 w 1466850"/>
                <a:gd name="connsiteY36" fmla="*/ 716756 h 1209675"/>
                <a:gd name="connsiteX37" fmla="*/ 862012 w 1466850"/>
                <a:gd name="connsiteY37" fmla="*/ 721519 h 1209675"/>
                <a:gd name="connsiteX38" fmla="*/ 883444 w 1466850"/>
                <a:gd name="connsiteY38" fmla="*/ 721519 h 1209675"/>
                <a:gd name="connsiteX39" fmla="*/ 892969 w 1466850"/>
                <a:gd name="connsiteY39" fmla="*/ 697706 h 1209675"/>
                <a:gd name="connsiteX40" fmla="*/ 892969 w 1466850"/>
                <a:gd name="connsiteY40" fmla="*/ 697706 h 1209675"/>
                <a:gd name="connsiteX41" fmla="*/ 921544 w 1466850"/>
                <a:gd name="connsiteY41" fmla="*/ 609600 h 1209675"/>
                <a:gd name="connsiteX42" fmla="*/ 909637 w 1466850"/>
                <a:gd name="connsiteY42" fmla="*/ 552450 h 1209675"/>
                <a:gd name="connsiteX43" fmla="*/ 928687 w 1466850"/>
                <a:gd name="connsiteY43" fmla="*/ 540544 h 1209675"/>
                <a:gd name="connsiteX44" fmla="*/ 973931 w 1466850"/>
                <a:gd name="connsiteY44" fmla="*/ 535781 h 1209675"/>
                <a:gd name="connsiteX45" fmla="*/ 1014412 w 1466850"/>
                <a:gd name="connsiteY45" fmla="*/ 447675 h 1209675"/>
                <a:gd name="connsiteX46" fmla="*/ 1038225 w 1466850"/>
                <a:gd name="connsiteY46" fmla="*/ 445294 h 1209675"/>
                <a:gd name="connsiteX47" fmla="*/ 1073944 w 1466850"/>
                <a:gd name="connsiteY47" fmla="*/ 476250 h 1209675"/>
                <a:gd name="connsiteX48" fmla="*/ 1112044 w 1466850"/>
                <a:gd name="connsiteY48" fmla="*/ 514350 h 1209675"/>
                <a:gd name="connsiteX49" fmla="*/ 1171575 w 1466850"/>
                <a:gd name="connsiteY49" fmla="*/ 540544 h 1209675"/>
                <a:gd name="connsiteX50" fmla="*/ 1219200 w 1466850"/>
                <a:gd name="connsiteY50" fmla="*/ 521494 h 1209675"/>
                <a:gd name="connsiteX51" fmla="*/ 1245394 w 1466850"/>
                <a:gd name="connsiteY51" fmla="*/ 502444 h 1209675"/>
                <a:gd name="connsiteX52" fmla="*/ 1278731 w 1466850"/>
                <a:gd name="connsiteY52" fmla="*/ 511969 h 1209675"/>
                <a:gd name="connsiteX53" fmla="*/ 1295400 w 1466850"/>
                <a:gd name="connsiteY53" fmla="*/ 531019 h 1209675"/>
                <a:gd name="connsiteX54" fmla="*/ 1273969 w 1466850"/>
                <a:gd name="connsiteY54" fmla="*/ 573881 h 1209675"/>
                <a:gd name="connsiteX55" fmla="*/ 1271587 w 1466850"/>
                <a:gd name="connsiteY55" fmla="*/ 602456 h 1209675"/>
                <a:gd name="connsiteX56" fmla="*/ 1285875 w 1466850"/>
                <a:gd name="connsiteY56" fmla="*/ 611981 h 1209675"/>
                <a:gd name="connsiteX57" fmla="*/ 1300162 w 1466850"/>
                <a:gd name="connsiteY57" fmla="*/ 628650 h 1209675"/>
                <a:gd name="connsiteX58" fmla="*/ 1321594 w 1466850"/>
                <a:gd name="connsiteY58" fmla="*/ 666750 h 1209675"/>
                <a:gd name="connsiteX59" fmla="*/ 1347787 w 1466850"/>
                <a:gd name="connsiteY59" fmla="*/ 681037 h 1209675"/>
                <a:gd name="connsiteX60" fmla="*/ 1371600 w 1466850"/>
                <a:gd name="connsiteY60" fmla="*/ 681037 h 1209675"/>
                <a:gd name="connsiteX61" fmla="*/ 1376362 w 1466850"/>
                <a:gd name="connsiteY61" fmla="*/ 628650 h 1209675"/>
                <a:gd name="connsiteX62" fmla="*/ 1395412 w 1466850"/>
                <a:gd name="connsiteY62" fmla="*/ 578644 h 1209675"/>
                <a:gd name="connsiteX63" fmla="*/ 1426369 w 1466850"/>
                <a:gd name="connsiteY63" fmla="*/ 571500 h 1209675"/>
                <a:gd name="connsiteX64" fmla="*/ 1466850 w 1466850"/>
                <a:gd name="connsiteY64" fmla="*/ 552450 h 1209675"/>
                <a:gd name="connsiteX65" fmla="*/ 1443037 w 1466850"/>
                <a:gd name="connsiteY65" fmla="*/ 509587 h 1209675"/>
                <a:gd name="connsiteX66" fmla="*/ 1414462 w 1466850"/>
                <a:gd name="connsiteY66" fmla="*/ 464344 h 1209675"/>
                <a:gd name="connsiteX67" fmla="*/ 1388269 w 1466850"/>
                <a:gd name="connsiteY67" fmla="*/ 438150 h 1209675"/>
                <a:gd name="connsiteX68" fmla="*/ 1404937 w 1466850"/>
                <a:gd name="connsiteY68" fmla="*/ 400050 h 1209675"/>
                <a:gd name="connsiteX69" fmla="*/ 1404937 w 1466850"/>
                <a:gd name="connsiteY69" fmla="*/ 383381 h 1209675"/>
                <a:gd name="connsiteX70" fmla="*/ 1431131 w 1466850"/>
                <a:gd name="connsiteY70" fmla="*/ 338137 h 1209675"/>
                <a:gd name="connsiteX71" fmla="*/ 1419225 w 1466850"/>
                <a:gd name="connsiteY71" fmla="*/ 264319 h 1209675"/>
                <a:gd name="connsiteX72" fmla="*/ 1438275 w 1466850"/>
                <a:gd name="connsiteY72" fmla="*/ 202406 h 1209675"/>
                <a:gd name="connsiteX73" fmla="*/ 1435894 w 1466850"/>
                <a:gd name="connsiteY73" fmla="*/ 173831 h 1209675"/>
                <a:gd name="connsiteX74" fmla="*/ 1404937 w 1466850"/>
                <a:gd name="connsiteY74" fmla="*/ 164306 h 1209675"/>
                <a:gd name="connsiteX75" fmla="*/ 1364456 w 1466850"/>
                <a:gd name="connsiteY75" fmla="*/ 154781 h 1209675"/>
                <a:gd name="connsiteX76" fmla="*/ 1293019 w 1466850"/>
                <a:gd name="connsiteY76" fmla="*/ 154781 h 1209675"/>
                <a:gd name="connsiteX77" fmla="*/ 1233487 w 1466850"/>
                <a:gd name="connsiteY77" fmla="*/ 121444 h 1209675"/>
                <a:gd name="connsiteX78" fmla="*/ 1207294 w 1466850"/>
                <a:gd name="connsiteY78" fmla="*/ 114300 h 1209675"/>
                <a:gd name="connsiteX79" fmla="*/ 1188244 w 1466850"/>
                <a:gd name="connsiteY79" fmla="*/ 126206 h 1209675"/>
                <a:gd name="connsiteX80" fmla="*/ 1133475 w 1466850"/>
                <a:gd name="connsiteY80" fmla="*/ 188119 h 1209675"/>
                <a:gd name="connsiteX81" fmla="*/ 1116806 w 1466850"/>
                <a:gd name="connsiteY81" fmla="*/ 188119 h 1209675"/>
                <a:gd name="connsiteX82" fmla="*/ 1078706 w 1466850"/>
                <a:gd name="connsiteY82" fmla="*/ 142875 h 1209675"/>
                <a:gd name="connsiteX83" fmla="*/ 1054894 w 1466850"/>
                <a:gd name="connsiteY83" fmla="*/ 138112 h 1209675"/>
                <a:gd name="connsiteX84" fmla="*/ 997744 w 1466850"/>
                <a:gd name="connsiteY84" fmla="*/ 157162 h 1209675"/>
                <a:gd name="connsiteX85" fmla="*/ 973931 w 1466850"/>
                <a:gd name="connsiteY85" fmla="*/ 178594 h 1209675"/>
                <a:gd name="connsiteX86" fmla="*/ 928687 w 1466850"/>
                <a:gd name="connsiteY86" fmla="*/ 173831 h 1209675"/>
                <a:gd name="connsiteX87" fmla="*/ 878681 w 1466850"/>
                <a:gd name="connsiteY87" fmla="*/ 164306 h 1209675"/>
                <a:gd name="connsiteX88" fmla="*/ 864394 w 1466850"/>
                <a:gd name="connsiteY88" fmla="*/ 83344 h 1209675"/>
                <a:gd name="connsiteX89" fmla="*/ 845344 w 1466850"/>
                <a:gd name="connsiteY89" fmla="*/ 69056 h 1209675"/>
                <a:gd name="connsiteX90" fmla="*/ 747712 w 1466850"/>
                <a:gd name="connsiteY90" fmla="*/ 119062 h 1209675"/>
                <a:gd name="connsiteX91" fmla="*/ 721519 w 1466850"/>
                <a:gd name="connsiteY91" fmla="*/ 140494 h 1209675"/>
                <a:gd name="connsiteX92" fmla="*/ 709612 w 1466850"/>
                <a:gd name="connsiteY92" fmla="*/ 190500 h 1209675"/>
                <a:gd name="connsiteX93" fmla="*/ 707231 w 1466850"/>
                <a:gd name="connsiteY93" fmla="*/ 195262 h 1209675"/>
                <a:gd name="connsiteX94" fmla="*/ 654844 w 1466850"/>
                <a:gd name="connsiteY94" fmla="*/ 190500 h 1209675"/>
                <a:gd name="connsiteX95" fmla="*/ 633412 w 1466850"/>
                <a:gd name="connsiteY95" fmla="*/ 180975 h 1209675"/>
                <a:gd name="connsiteX96" fmla="*/ 614362 w 1466850"/>
                <a:gd name="connsiteY96" fmla="*/ 142875 h 1209675"/>
                <a:gd name="connsiteX97" fmla="*/ 590550 w 1466850"/>
                <a:gd name="connsiteY97" fmla="*/ 130969 h 1209675"/>
                <a:gd name="connsiteX98" fmla="*/ 540544 w 1466850"/>
                <a:gd name="connsiteY98" fmla="*/ 161925 h 1209675"/>
                <a:gd name="connsiteX99" fmla="*/ 507206 w 1466850"/>
                <a:gd name="connsiteY99" fmla="*/ 154781 h 1209675"/>
                <a:gd name="connsiteX100" fmla="*/ 495300 w 1466850"/>
                <a:gd name="connsiteY100" fmla="*/ 123825 h 1209675"/>
                <a:gd name="connsiteX101" fmla="*/ 490537 w 1466850"/>
                <a:gd name="connsiteY101" fmla="*/ 114300 h 1209675"/>
                <a:gd name="connsiteX102" fmla="*/ 431006 w 1466850"/>
                <a:gd name="connsiteY102" fmla="*/ 97631 h 1209675"/>
                <a:gd name="connsiteX103" fmla="*/ 442912 w 1466850"/>
                <a:gd name="connsiteY103" fmla="*/ 33337 h 1209675"/>
                <a:gd name="connsiteX104" fmla="*/ 423862 w 1466850"/>
                <a:gd name="connsiteY104" fmla="*/ 19050 h 1209675"/>
                <a:gd name="connsiteX105" fmla="*/ 335756 w 1466850"/>
                <a:gd name="connsiteY105" fmla="*/ 0 h 1209675"/>
                <a:gd name="connsiteX106" fmla="*/ 302419 w 1466850"/>
                <a:gd name="connsiteY106" fmla="*/ 35719 h 1209675"/>
                <a:gd name="connsiteX107" fmla="*/ 266700 w 1466850"/>
                <a:gd name="connsiteY107" fmla="*/ 50006 h 1209675"/>
                <a:gd name="connsiteX108" fmla="*/ 271462 w 1466850"/>
                <a:gd name="connsiteY108" fmla="*/ 95250 h 1209675"/>
                <a:gd name="connsiteX109" fmla="*/ 316706 w 1466850"/>
                <a:gd name="connsiteY109" fmla="*/ 121444 h 1209675"/>
                <a:gd name="connsiteX110" fmla="*/ 302419 w 1466850"/>
                <a:gd name="connsiteY110" fmla="*/ 145256 h 1209675"/>
                <a:gd name="connsiteX111" fmla="*/ 247650 w 1466850"/>
                <a:gd name="connsiteY111" fmla="*/ 159544 h 1209675"/>
                <a:gd name="connsiteX112" fmla="*/ 214312 w 1466850"/>
                <a:gd name="connsiteY112" fmla="*/ 216694 h 1209675"/>
                <a:gd name="connsiteX113" fmla="*/ 183356 w 1466850"/>
                <a:gd name="connsiteY113" fmla="*/ 221456 h 1209675"/>
                <a:gd name="connsiteX114" fmla="*/ 183356 w 1466850"/>
                <a:gd name="connsiteY114" fmla="*/ 254794 h 1209675"/>
                <a:gd name="connsiteX115" fmla="*/ 161925 w 1466850"/>
                <a:gd name="connsiteY115" fmla="*/ 304800 h 1209675"/>
                <a:gd name="connsiteX116" fmla="*/ 140494 w 1466850"/>
                <a:gd name="connsiteY116" fmla="*/ 323850 h 1209675"/>
                <a:gd name="connsiteX117" fmla="*/ 71439 w 1466850"/>
                <a:gd name="connsiteY117" fmla="*/ 300039 h 1209675"/>
                <a:gd name="connsiteX118" fmla="*/ 59530 w 1466850"/>
                <a:gd name="connsiteY118" fmla="*/ 302418 h 1209675"/>
                <a:gd name="connsiteX119" fmla="*/ 30956 w 1466850"/>
                <a:gd name="connsiteY119" fmla="*/ 295274 h 1209675"/>
                <a:gd name="connsiteX0" fmla="*/ 30956 w 1466850"/>
                <a:gd name="connsiteY0" fmla="*/ 295274 h 1209675"/>
                <a:gd name="connsiteX1" fmla="*/ 19050 w 1466850"/>
                <a:gd name="connsiteY1" fmla="*/ 381000 h 1209675"/>
                <a:gd name="connsiteX2" fmla="*/ 19050 w 1466850"/>
                <a:gd name="connsiteY2" fmla="*/ 397669 h 1209675"/>
                <a:gd name="connsiteX3" fmla="*/ 0 w 1466850"/>
                <a:gd name="connsiteY3" fmla="*/ 459581 h 1209675"/>
                <a:gd name="connsiteX4" fmla="*/ 7144 w 1466850"/>
                <a:gd name="connsiteY4" fmla="*/ 497681 h 1209675"/>
                <a:gd name="connsiteX5" fmla="*/ 9525 w 1466850"/>
                <a:gd name="connsiteY5" fmla="*/ 535781 h 1209675"/>
                <a:gd name="connsiteX6" fmla="*/ 19050 w 1466850"/>
                <a:gd name="connsiteY6" fmla="*/ 583406 h 1209675"/>
                <a:gd name="connsiteX7" fmla="*/ 23812 w 1466850"/>
                <a:gd name="connsiteY7" fmla="*/ 688181 h 1209675"/>
                <a:gd name="connsiteX8" fmla="*/ 35719 w 1466850"/>
                <a:gd name="connsiteY8" fmla="*/ 747712 h 1209675"/>
                <a:gd name="connsiteX9" fmla="*/ 40481 w 1466850"/>
                <a:gd name="connsiteY9" fmla="*/ 778669 h 1209675"/>
                <a:gd name="connsiteX10" fmla="*/ 47625 w 1466850"/>
                <a:gd name="connsiteY10" fmla="*/ 831056 h 1209675"/>
                <a:gd name="connsiteX11" fmla="*/ 38100 w 1466850"/>
                <a:gd name="connsiteY11" fmla="*/ 919162 h 1209675"/>
                <a:gd name="connsiteX12" fmla="*/ 78581 w 1466850"/>
                <a:gd name="connsiteY12" fmla="*/ 1028700 h 1209675"/>
                <a:gd name="connsiteX13" fmla="*/ 71437 w 1466850"/>
                <a:gd name="connsiteY13" fmla="*/ 1095375 h 1209675"/>
                <a:gd name="connsiteX14" fmla="*/ 88106 w 1466850"/>
                <a:gd name="connsiteY14" fmla="*/ 1164431 h 1209675"/>
                <a:gd name="connsiteX15" fmla="*/ 166687 w 1466850"/>
                <a:gd name="connsiteY15" fmla="*/ 1200149 h 1209675"/>
                <a:gd name="connsiteX16" fmla="*/ 202406 w 1466850"/>
                <a:gd name="connsiteY16" fmla="*/ 1209675 h 1209675"/>
                <a:gd name="connsiteX17" fmla="*/ 219075 w 1466850"/>
                <a:gd name="connsiteY17" fmla="*/ 1150144 h 1209675"/>
                <a:gd name="connsiteX18" fmla="*/ 242887 w 1466850"/>
                <a:gd name="connsiteY18" fmla="*/ 1092994 h 1209675"/>
                <a:gd name="connsiteX19" fmla="*/ 238125 w 1466850"/>
                <a:gd name="connsiteY19" fmla="*/ 1045369 h 1209675"/>
                <a:gd name="connsiteX20" fmla="*/ 230981 w 1466850"/>
                <a:gd name="connsiteY20" fmla="*/ 1035844 h 1209675"/>
                <a:gd name="connsiteX21" fmla="*/ 252412 w 1466850"/>
                <a:gd name="connsiteY21" fmla="*/ 1019175 h 1209675"/>
                <a:gd name="connsiteX22" fmla="*/ 314325 w 1466850"/>
                <a:gd name="connsiteY22" fmla="*/ 995362 h 1209675"/>
                <a:gd name="connsiteX23" fmla="*/ 311944 w 1466850"/>
                <a:gd name="connsiteY23" fmla="*/ 959644 h 1209675"/>
                <a:gd name="connsiteX24" fmla="*/ 326231 w 1466850"/>
                <a:gd name="connsiteY24" fmla="*/ 942975 h 1209675"/>
                <a:gd name="connsiteX25" fmla="*/ 452437 w 1466850"/>
                <a:gd name="connsiteY25" fmla="*/ 950119 h 1209675"/>
                <a:gd name="connsiteX26" fmla="*/ 464344 w 1466850"/>
                <a:gd name="connsiteY26" fmla="*/ 933450 h 1209675"/>
                <a:gd name="connsiteX27" fmla="*/ 476250 w 1466850"/>
                <a:gd name="connsiteY27" fmla="*/ 883444 h 1209675"/>
                <a:gd name="connsiteX28" fmla="*/ 488156 w 1466850"/>
                <a:gd name="connsiteY28" fmla="*/ 857250 h 1209675"/>
                <a:gd name="connsiteX29" fmla="*/ 526256 w 1466850"/>
                <a:gd name="connsiteY29" fmla="*/ 862012 h 1209675"/>
                <a:gd name="connsiteX30" fmla="*/ 545306 w 1466850"/>
                <a:gd name="connsiteY30" fmla="*/ 909637 h 1209675"/>
                <a:gd name="connsiteX31" fmla="*/ 566737 w 1466850"/>
                <a:gd name="connsiteY31" fmla="*/ 881062 h 1209675"/>
                <a:gd name="connsiteX32" fmla="*/ 621506 w 1466850"/>
                <a:gd name="connsiteY32" fmla="*/ 845344 h 1209675"/>
                <a:gd name="connsiteX33" fmla="*/ 709612 w 1466850"/>
                <a:gd name="connsiteY33" fmla="*/ 814387 h 1209675"/>
                <a:gd name="connsiteX34" fmla="*/ 716756 w 1466850"/>
                <a:gd name="connsiteY34" fmla="*/ 769144 h 1209675"/>
                <a:gd name="connsiteX35" fmla="*/ 742950 w 1466850"/>
                <a:gd name="connsiteY35" fmla="*/ 750094 h 1209675"/>
                <a:gd name="connsiteX36" fmla="*/ 785812 w 1466850"/>
                <a:gd name="connsiteY36" fmla="*/ 726281 h 1209675"/>
                <a:gd name="connsiteX37" fmla="*/ 800100 w 1466850"/>
                <a:gd name="connsiteY37" fmla="*/ 716756 h 1209675"/>
                <a:gd name="connsiteX38" fmla="*/ 862012 w 1466850"/>
                <a:gd name="connsiteY38" fmla="*/ 721519 h 1209675"/>
                <a:gd name="connsiteX39" fmla="*/ 883444 w 1466850"/>
                <a:gd name="connsiteY39" fmla="*/ 721519 h 1209675"/>
                <a:gd name="connsiteX40" fmla="*/ 892969 w 1466850"/>
                <a:gd name="connsiteY40" fmla="*/ 697706 h 1209675"/>
                <a:gd name="connsiteX41" fmla="*/ 892969 w 1466850"/>
                <a:gd name="connsiteY41" fmla="*/ 697706 h 1209675"/>
                <a:gd name="connsiteX42" fmla="*/ 921544 w 1466850"/>
                <a:gd name="connsiteY42" fmla="*/ 609600 h 1209675"/>
                <a:gd name="connsiteX43" fmla="*/ 909637 w 1466850"/>
                <a:gd name="connsiteY43" fmla="*/ 552450 h 1209675"/>
                <a:gd name="connsiteX44" fmla="*/ 928687 w 1466850"/>
                <a:gd name="connsiteY44" fmla="*/ 540544 h 1209675"/>
                <a:gd name="connsiteX45" fmla="*/ 973931 w 1466850"/>
                <a:gd name="connsiteY45" fmla="*/ 535781 h 1209675"/>
                <a:gd name="connsiteX46" fmla="*/ 1014412 w 1466850"/>
                <a:gd name="connsiteY46" fmla="*/ 447675 h 1209675"/>
                <a:gd name="connsiteX47" fmla="*/ 1038225 w 1466850"/>
                <a:gd name="connsiteY47" fmla="*/ 445294 h 1209675"/>
                <a:gd name="connsiteX48" fmla="*/ 1073944 w 1466850"/>
                <a:gd name="connsiteY48" fmla="*/ 476250 h 1209675"/>
                <a:gd name="connsiteX49" fmla="*/ 1112044 w 1466850"/>
                <a:gd name="connsiteY49" fmla="*/ 514350 h 1209675"/>
                <a:gd name="connsiteX50" fmla="*/ 1171575 w 1466850"/>
                <a:gd name="connsiteY50" fmla="*/ 540544 h 1209675"/>
                <a:gd name="connsiteX51" fmla="*/ 1219200 w 1466850"/>
                <a:gd name="connsiteY51" fmla="*/ 521494 h 1209675"/>
                <a:gd name="connsiteX52" fmla="*/ 1245394 w 1466850"/>
                <a:gd name="connsiteY52" fmla="*/ 502444 h 1209675"/>
                <a:gd name="connsiteX53" fmla="*/ 1278731 w 1466850"/>
                <a:gd name="connsiteY53" fmla="*/ 511969 h 1209675"/>
                <a:gd name="connsiteX54" fmla="*/ 1295400 w 1466850"/>
                <a:gd name="connsiteY54" fmla="*/ 531019 h 1209675"/>
                <a:gd name="connsiteX55" fmla="*/ 1273969 w 1466850"/>
                <a:gd name="connsiteY55" fmla="*/ 573881 h 1209675"/>
                <a:gd name="connsiteX56" fmla="*/ 1271587 w 1466850"/>
                <a:gd name="connsiteY56" fmla="*/ 602456 h 1209675"/>
                <a:gd name="connsiteX57" fmla="*/ 1285875 w 1466850"/>
                <a:gd name="connsiteY57" fmla="*/ 611981 h 1209675"/>
                <a:gd name="connsiteX58" fmla="*/ 1300162 w 1466850"/>
                <a:gd name="connsiteY58" fmla="*/ 628650 h 1209675"/>
                <a:gd name="connsiteX59" fmla="*/ 1321594 w 1466850"/>
                <a:gd name="connsiteY59" fmla="*/ 666750 h 1209675"/>
                <a:gd name="connsiteX60" fmla="*/ 1347787 w 1466850"/>
                <a:gd name="connsiteY60" fmla="*/ 681037 h 1209675"/>
                <a:gd name="connsiteX61" fmla="*/ 1371600 w 1466850"/>
                <a:gd name="connsiteY61" fmla="*/ 681037 h 1209675"/>
                <a:gd name="connsiteX62" fmla="*/ 1376362 w 1466850"/>
                <a:gd name="connsiteY62" fmla="*/ 628650 h 1209675"/>
                <a:gd name="connsiteX63" fmla="*/ 1395412 w 1466850"/>
                <a:gd name="connsiteY63" fmla="*/ 578644 h 1209675"/>
                <a:gd name="connsiteX64" fmla="*/ 1426369 w 1466850"/>
                <a:gd name="connsiteY64" fmla="*/ 571500 h 1209675"/>
                <a:gd name="connsiteX65" fmla="*/ 1466850 w 1466850"/>
                <a:gd name="connsiteY65" fmla="*/ 552450 h 1209675"/>
                <a:gd name="connsiteX66" fmla="*/ 1443037 w 1466850"/>
                <a:gd name="connsiteY66" fmla="*/ 509587 h 1209675"/>
                <a:gd name="connsiteX67" fmla="*/ 1414462 w 1466850"/>
                <a:gd name="connsiteY67" fmla="*/ 464344 h 1209675"/>
                <a:gd name="connsiteX68" fmla="*/ 1388269 w 1466850"/>
                <a:gd name="connsiteY68" fmla="*/ 438150 h 1209675"/>
                <a:gd name="connsiteX69" fmla="*/ 1404937 w 1466850"/>
                <a:gd name="connsiteY69" fmla="*/ 400050 h 1209675"/>
                <a:gd name="connsiteX70" fmla="*/ 1404937 w 1466850"/>
                <a:gd name="connsiteY70" fmla="*/ 383381 h 1209675"/>
                <a:gd name="connsiteX71" fmla="*/ 1431131 w 1466850"/>
                <a:gd name="connsiteY71" fmla="*/ 338137 h 1209675"/>
                <a:gd name="connsiteX72" fmla="*/ 1419225 w 1466850"/>
                <a:gd name="connsiteY72" fmla="*/ 264319 h 1209675"/>
                <a:gd name="connsiteX73" fmla="*/ 1438275 w 1466850"/>
                <a:gd name="connsiteY73" fmla="*/ 202406 h 1209675"/>
                <a:gd name="connsiteX74" fmla="*/ 1435894 w 1466850"/>
                <a:gd name="connsiteY74" fmla="*/ 173831 h 1209675"/>
                <a:gd name="connsiteX75" fmla="*/ 1404937 w 1466850"/>
                <a:gd name="connsiteY75" fmla="*/ 164306 h 1209675"/>
                <a:gd name="connsiteX76" fmla="*/ 1364456 w 1466850"/>
                <a:gd name="connsiteY76" fmla="*/ 154781 h 1209675"/>
                <a:gd name="connsiteX77" fmla="*/ 1293019 w 1466850"/>
                <a:gd name="connsiteY77" fmla="*/ 154781 h 1209675"/>
                <a:gd name="connsiteX78" fmla="*/ 1233487 w 1466850"/>
                <a:gd name="connsiteY78" fmla="*/ 121444 h 1209675"/>
                <a:gd name="connsiteX79" fmla="*/ 1207294 w 1466850"/>
                <a:gd name="connsiteY79" fmla="*/ 114300 h 1209675"/>
                <a:gd name="connsiteX80" fmla="*/ 1188244 w 1466850"/>
                <a:gd name="connsiteY80" fmla="*/ 126206 h 1209675"/>
                <a:gd name="connsiteX81" fmla="*/ 1133475 w 1466850"/>
                <a:gd name="connsiteY81" fmla="*/ 188119 h 1209675"/>
                <a:gd name="connsiteX82" fmla="*/ 1116806 w 1466850"/>
                <a:gd name="connsiteY82" fmla="*/ 188119 h 1209675"/>
                <a:gd name="connsiteX83" fmla="*/ 1078706 w 1466850"/>
                <a:gd name="connsiteY83" fmla="*/ 142875 h 1209675"/>
                <a:gd name="connsiteX84" fmla="*/ 1054894 w 1466850"/>
                <a:gd name="connsiteY84" fmla="*/ 138112 h 1209675"/>
                <a:gd name="connsiteX85" fmla="*/ 997744 w 1466850"/>
                <a:gd name="connsiteY85" fmla="*/ 157162 h 1209675"/>
                <a:gd name="connsiteX86" fmla="*/ 973931 w 1466850"/>
                <a:gd name="connsiteY86" fmla="*/ 178594 h 1209675"/>
                <a:gd name="connsiteX87" fmla="*/ 928687 w 1466850"/>
                <a:gd name="connsiteY87" fmla="*/ 173831 h 1209675"/>
                <a:gd name="connsiteX88" fmla="*/ 878681 w 1466850"/>
                <a:gd name="connsiteY88" fmla="*/ 164306 h 1209675"/>
                <a:gd name="connsiteX89" fmla="*/ 864394 w 1466850"/>
                <a:gd name="connsiteY89" fmla="*/ 83344 h 1209675"/>
                <a:gd name="connsiteX90" fmla="*/ 845344 w 1466850"/>
                <a:gd name="connsiteY90" fmla="*/ 69056 h 1209675"/>
                <a:gd name="connsiteX91" fmla="*/ 747712 w 1466850"/>
                <a:gd name="connsiteY91" fmla="*/ 119062 h 1209675"/>
                <a:gd name="connsiteX92" fmla="*/ 721519 w 1466850"/>
                <a:gd name="connsiteY92" fmla="*/ 140494 h 1209675"/>
                <a:gd name="connsiteX93" fmla="*/ 709612 w 1466850"/>
                <a:gd name="connsiteY93" fmla="*/ 190500 h 1209675"/>
                <a:gd name="connsiteX94" fmla="*/ 707231 w 1466850"/>
                <a:gd name="connsiteY94" fmla="*/ 195262 h 1209675"/>
                <a:gd name="connsiteX95" fmla="*/ 654844 w 1466850"/>
                <a:gd name="connsiteY95" fmla="*/ 190500 h 1209675"/>
                <a:gd name="connsiteX96" fmla="*/ 633412 w 1466850"/>
                <a:gd name="connsiteY96" fmla="*/ 180975 h 1209675"/>
                <a:gd name="connsiteX97" fmla="*/ 614362 w 1466850"/>
                <a:gd name="connsiteY97" fmla="*/ 142875 h 1209675"/>
                <a:gd name="connsiteX98" fmla="*/ 590550 w 1466850"/>
                <a:gd name="connsiteY98" fmla="*/ 130969 h 1209675"/>
                <a:gd name="connsiteX99" fmla="*/ 540544 w 1466850"/>
                <a:gd name="connsiteY99" fmla="*/ 161925 h 1209675"/>
                <a:gd name="connsiteX100" fmla="*/ 507206 w 1466850"/>
                <a:gd name="connsiteY100" fmla="*/ 154781 h 1209675"/>
                <a:gd name="connsiteX101" fmla="*/ 495300 w 1466850"/>
                <a:gd name="connsiteY101" fmla="*/ 123825 h 1209675"/>
                <a:gd name="connsiteX102" fmla="*/ 490537 w 1466850"/>
                <a:gd name="connsiteY102" fmla="*/ 114300 h 1209675"/>
                <a:gd name="connsiteX103" fmla="*/ 431006 w 1466850"/>
                <a:gd name="connsiteY103" fmla="*/ 97631 h 1209675"/>
                <a:gd name="connsiteX104" fmla="*/ 442912 w 1466850"/>
                <a:gd name="connsiteY104" fmla="*/ 33337 h 1209675"/>
                <a:gd name="connsiteX105" fmla="*/ 423862 w 1466850"/>
                <a:gd name="connsiteY105" fmla="*/ 19050 h 1209675"/>
                <a:gd name="connsiteX106" fmla="*/ 335756 w 1466850"/>
                <a:gd name="connsiteY106" fmla="*/ 0 h 1209675"/>
                <a:gd name="connsiteX107" fmla="*/ 302419 w 1466850"/>
                <a:gd name="connsiteY107" fmla="*/ 35719 h 1209675"/>
                <a:gd name="connsiteX108" fmla="*/ 266700 w 1466850"/>
                <a:gd name="connsiteY108" fmla="*/ 50006 h 1209675"/>
                <a:gd name="connsiteX109" fmla="*/ 271462 w 1466850"/>
                <a:gd name="connsiteY109" fmla="*/ 95250 h 1209675"/>
                <a:gd name="connsiteX110" fmla="*/ 316706 w 1466850"/>
                <a:gd name="connsiteY110" fmla="*/ 121444 h 1209675"/>
                <a:gd name="connsiteX111" fmla="*/ 302419 w 1466850"/>
                <a:gd name="connsiteY111" fmla="*/ 145256 h 1209675"/>
                <a:gd name="connsiteX112" fmla="*/ 247650 w 1466850"/>
                <a:gd name="connsiteY112" fmla="*/ 159544 h 1209675"/>
                <a:gd name="connsiteX113" fmla="*/ 214312 w 1466850"/>
                <a:gd name="connsiteY113" fmla="*/ 216694 h 1209675"/>
                <a:gd name="connsiteX114" fmla="*/ 183356 w 1466850"/>
                <a:gd name="connsiteY114" fmla="*/ 221456 h 1209675"/>
                <a:gd name="connsiteX115" fmla="*/ 183356 w 1466850"/>
                <a:gd name="connsiteY115" fmla="*/ 254794 h 1209675"/>
                <a:gd name="connsiteX116" fmla="*/ 161925 w 1466850"/>
                <a:gd name="connsiteY116" fmla="*/ 304800 h 1209675"/>
                <a:gd name="connsiteX117" fmla="*/ 140494 w 1466850"/>
                <a:gd name="connsiteY117" fmla="*/ 323850 h 1209675"/>
                <a:gd name="connsiteX118" fmla="*/ 71439 w 1466850"/>
                <a:gd name="connsiteY118" fmla="*/ 300039 h 1209675"/>
                <a:gd name="connsiteX119" fmla="*/ 59530 w 1466850"/>
                <a:gd name="connsiteY119" fmla="*/ 302418 h 1209675"/>
                <a:gd name="connsiteX120" fmla="*/ 30956 w 1466850"/>
                <a:gd name="connsiteY120" fmla="*/ 295274 h 1209675"/>
                <a:gd name="connsiteX0" fmla="*/ 30956 w 1466850"/>
                <a:gd name="connsiteY0" fmla="*/ 295274 h 1209675"/>
                <a:gd name="connsiteX1" fmla="*/ 19050 w 1466850"/>
                <a:gd name="connsiteY1" fmla="*/ 381000 h 1209675"/>
                <a:gd name="connsiteX2" fmla="*/ 19050 w 1466850"/>
                <a:gd name="connsiteY2" fmla="*/ 397669 h 1209675"/>
                <a:gd name="connsiteX3" fmla="*/ 0 w 1466850"/>
                <a:gd name="connsiteY3" fmla="*/ 459581 h 1209675"/>
                <a:gd name="connsiteX4" fmla="*/ 7144 w 1466850"/>
                <a:gd name="connsiteY4" fmla="*/ 497681 h 1209675"/>
                <a:gd name="connsiteX5" fmla="*/ 9525 w 1466850"/>
                <a:gd name="connsiteY5" fmla="*/ 535781 h 1209675"/>
                <a:gd name="connsiteX6" fmla="*/ 19050 w 1466850"/>
                <a:gd name="connsiteY6" fmla="*/ 583406 h 1209675"/>
                <a:gd name="connsiteX7" fmla="*/ 23812 w 1466850"/>
                <a:gd name="connsiteY7" fmla="*/ 688181 h 1209675"/>
                <a:gd name="connsiteX8" fmla="*/ 35719 w 1466850"/>
                <a:gd name="connsiteY8" fmla="*/ 747712 h 1209675"/>
                <a:gd name="connsiteX9" fmla="*/ 40481 w 1466850"/>
                <a:gd name="connsiteY9" fmla="*/ 778669 h 1209675"/>
                <a:gd name="connsiteX10" fmla="*/ 47625 w 1466850"/>
                <a:gd name="connsiteY10" fmla="*/ 831056 h 1209675"/>
                <a:gd name="connsiteX11" fmla="*/ 38100 w 1466850"/>
                <a:gd name="connsiteY11" fmla="*/ 919162 h 1209675"/>
                <a:gd name="connsiteX12" fmla="*/ 78581 w 1466850"/>
                <a:gd name="connsiteY12" fmla="*/ 1028700 h 1209675"/>
                <a:gd name="connsiteX13" fmla="*/ 71437 w 1466850"/>
                <a:gd name="connsiteY13" fmla="*/ 1095375 h 1209675"/>
                <a:gd name="connsiteX14" fmla="*/ 88106 w 1466850"/>
                <a:gd name="connsiteY14" fmla="*/ 1164431 h 1209675"/>
                <a:gd name="connsiteX15" fmla="*/ 166687 w 1466850"/>
                <a:gd name="connsiteY15" fmla="*/ 1200149 h 1209675"/>
                <a:gd name="connsiteX16" fmla="*/ 202406 w 1466850"/>
                <a:gd name="connsiteY16" fmla="*/ 1209675 h 1209675"/>
                <a:gd name="connsiteX17" fmla="*/ 159544 w 1466850"/>
                <a:gd name="connsiteY17" fmla="*/ 1112044 h 1209675"/>
                <a:gd name="connsiteX18" fmla="*/ 242887 w 1466850"/>
                <a:gd name="connsiteY18" fmla="*/ 1092994 h 1209675"/>
                <a:gd name="connsiteX19" fmla="*/ 238125 w 1466850"/>
                <a:gd name="connsiteY19" fmla="*/ 1045369 h 1209675"/>
                <a:gd name="connsiteX20" fmla="*/ 230981 w 1466850"/>
                <a:gd name="connsiteY20" fmla="*/ 1035844 h 1209675"/>
                <a:gd name="connsiteX21" fmla="*/ 252412 w 1466850"/>
                <a:gd name="connsiteY21" fmla="*/ 1019175 h 1209675"/>
                <a:gd name="connsiteX22" fmla="*/ 314325 w 1466850"/>
                <a:gd name="connsiteY22" fmla="*/ 995362 h 1209675"/>
                <a:gd name="connsiteX23" fmla="*/ 311944 w 1466850"/>
                <a:gd name="connsiteY23" fmla="*/ 959644 h 1209675"/>
                <a:gd name="connsiteX24" fmla="*/ 326231 w 1466850"/>
                <a:gd name="connsiteY24" fmla="*/ 942975 h 1209675"/>
                <a:gd name="connsiteX25" fmla="*/ 452437 w 1466850"/>
                <a:gd name="connsiteY25" fmla="*/ 950119 h 1209675"/>
                <a:gd name="connsiteX26" fmla="*/ 464344 w 1466850"/>
                <a:gd name="connsiteY26" fmla="*/ 933450 h 1209675"/>
                <a:gd name="connsiteX27" fmla="*/ 476250 w 1466850"/>
                <a:gd name="connsiteY27" fmla="*/ 883444 h 1209675"/>
                <a:gd name="connsiteX28" fmla="*/ 488156 w 1466850"/>
                <a:gd name="connsiteY28" fmla="*/ 857250 h 1209675"/>
                <a:gd name="connsiteX29" fmla="*/ 526256 w 1466850"/>
                <a:gd name="connsiteY29" fmla="*/ 862012 h 1209675"/>
                <a:gd name="connsiteX30" fmla="*/ 545306 w 1466850"/>
                <a:gd name="connsiteY30" fmla="*/ 909637 h 1209675"/>
                <a:gd name="connsiteX31" fmla="*/ 566737 w 1466850"/>
                <a:gd name="connsiteY31" fmla="*/ 881062 h 1209675"/>
                <a:gd name="connsiteX32" fmla="*/ 621506 w 1466850"/>
                <a:gd name="connsiteY32" fmla="*/ 845344 h 1209675"/>
                <a:gd name="connsiteX33" fmla="*/ 709612 w 1466850"/>
                <a:gd name="connsiteY33" fmla="*/ 814387 h 1209675"/>
                <a:gd name="connsiteX34" fmla="*/ 716756 w 1466850"/>
                <a:gd name="connsiteY34" fmla="*/ 769144 h 1209675"/>
                <a:gd name="connsiteX35" fmla="*/ 742950 w 1466850"/>
                <a:gd name="connsiteY35" fmla="*/ 750094 h 1209675"/>
                <a:gd name="connsiteX36" fmla="*/ 785812 w 1466850"/>
                <a:gd name="connsiteY36" fmla="*/ 726281 h 1209675"/>
                <a:gd name="connsiteX37" fmla="*/ 800100 w 1466850"/>
                <a:gd name="connsiteY37" fmla="*/ 716756 h 1209675"/>
                <a:gd name="connsiteX38" fmla="*/ 862012 w 1466850"/>
                <a:gd name="connsiteY38" fmla="*/ 721519 h 1209675"/>
                <a:gd name="connsiteX39" fmla="*/ 883444 w 1466850"/>
                <a:gd name="connsiteY39" fmla="*/ 721519 h 1209675"/>
                <a:gd name="connsiteX40" fmla="*/ 892969 w 1466850"/>
                <a:gd name="connsiteY40" fmla="*/ 697706 h 1209675"/>
                <a:gd name="connsiteX41" fmla="*/ 892969 w 1466850"/>
                <a:gd name="connsiteY41" fmla="*/ 697706 h 1209675"/>
                <a:gd name="connsiteX42" fmla="*/ 921544 w 1466850"/>
                <a:gd name="connsiteY42" fmla="*/ 609600 h 1209675"/>
                <a:gd name="connsiteX43" fmla="*/ 909637 w 1466850"/>
                <a:gd name="connsiteY43" fmla="*/ 552450 h 1209675"/>
                <a:gd name="connsiteX44" fmla="*/ 928687 w 1466850"/>
                <a:gd name="connsiteY44" fmla="*/ 540544 h 1209675"/>
                <a:gd name="connsiteX45" fmla="*/ 973931 w 1466850"/>
                <a:gd name="connsiteY45" fmla="*/ 535781 h 1209675"/>
                <a:gd name="connsiteX46" fmla="*/ 1014412 w 1466850"/>
                <a:gd name="connsiteY46" fmla="*/ 447675 h 1209675"/>
                <a:gd name="connsiteX47" fmla="*/ 1038225 w 1466850"/>
                <a:gd name="connsiteY47" fmla="*/ 445294 h 1209675"/>
                <a:gd name="connsiteX48" fmla="*/ 1073944 w 1466850"/>
                <a:gd name="connsiteY48" fmla="*/ 476250 h 1209675"/>
                <a:gd name="connsiteX49" fmla="*/ 1112044 w 1466850"/>
                <a:gd name="connsiteY49" fmla="*/ 514350 h 1209675"/>
                <a:gd name="connsiteX50" fmla="*/ 1171575 w 1466850"/>
                <a:gd name="connsiteY50" fmla="*/ 540544 h 1209675"/>
                <a:gd name="connsiteX51" fmla="*/ 1219200 w 1466850"/>
                <a:gd name="connsiteY51" fmla="*/ 521494 h 1209675"/>
                <a:gd name="connsiteX52" fmla="*/ 1245394 w 1466850"/>
                <a:gd name="connsiteY52" fmla="*/ 502444 h 1209675"/>
                <a:gd name="connsiteX53" fmla="*/ 1278731 w 1466850"/>
                <a:gd name="connsiteY53" fmla="*/ 511969 h 1209675"/>
                <a:gd name="connsiteX54" fmla="*/ 1295400 w 1466850"/>
                <a:gd name="connsiteY54" fmla="*/ 531019 h 1209675"/>
                <a:gd name="connsiteX55" fmla="*/ 1273969 w 1466850"/>
                <a:gd name="connsiteY55" fmla="*/ 573881 h 1209675"/>
                <a:gd name="connsiteX56" fmla="*/ 1271587 w 1466850"/>
                <a:gd name="connsiteY56" fmla="*/ 602456 h 1209675"/>
                <a:gd name="connsiteX57" fmla="*/ 1285875 w 1466850"/>
                <a:gd name="connsiteY57" fmla="*/ 611981 h 1209675"/>
                <a:gd name="connsiteX58" fmla="*/ 1300162 w 1466850"/>
                <a:gd name="connsiteY58" fmla="*/ 628650 h 1209675"/>
                <a:gd name="connsiteX59" fmla="*/ 1321594 w 1466850"/>
                <a:gd name="connsiteY59" fmla="*/ 666750 h 1209675"/>
                <a:gd name="connsiteX60" fmla="*/ 1347787 w 1466850"/>
                <a:gd name="connsiteY60" fmla="*/ 681037 h 1209675"/>
                <a:gd name="connsiteX61" fmla="*/ 1371600 w 1466850"/>
                <a:gd name="connsiteY61" fmla="*/ 681037 h 1209675"/>
                <a:gd name="connsiteX62" fmla="*/ 1376362 w 1466850"/>
                <a:gd name="connsiteY62" fmla="*/ 628650 h 1209675"/>
                <a:gd name="connsiteX63" fmla="*/ 1395412 w 1466850"/>
                <a:gd name="connsiteY63" fmla="*/ 578644 h 1209675"/>
                <a:gd name="connsiteX64" fmla="*/ 1426369 w 1466850"/>
                <a:gd name="connsiteY64" fmla="*/ 571500 h 1209675"/>
                <a:gd name="connsiteX65" fmla="*/ 1466850 w 1466850"/>
                <a:gd name="connsiteY65" fmla="*/ 552450 h 1209675"/>
                <a:gd name="connsiteX66" fmla="*/ 1443037 w 1466850"/>
                <a:gd name="connsiteY66" fmla="*/ 509587 h 1209675"/>
                <a:gd name="connsiteX67" fmla="*/ 1414462 w 1466850"/>
                <a:gd name="connsiteY67" fmla="*/ 464344 h 1209675"/>
                <a:gd name="connsiteX68" fmla="*/ 1388269 w 1466850"/>
                <a:gd name="connsiteY68" fmla="*/ 438150 h 1209675"/>
                <a:gd name="connsiteX69" fmla="*/ 1404937 w 1466850"/>
                <a:gd name="connsiteY69" fmla="*/ 400050 h 1209675"/>
                <a:gd name="connsiteX70" fmla="*/ 1404937 w 1466850"/>
                <a:gd name="connsiteY70" fmla="*/ 383381 h 1209675"/>
                <a:gd name="connsiteX71" fmla="*/ 1431131 w 1466850"/>
                <a:gd name="connsiteY71" fmla="*/ 338137 h 1209675"/>
                <a:gd name="connsiteX72" fmla="*/ 1419225 w 1466850"/>
                <a:gd name="connsiteY72" fmla="*/ 264319 h 1209675"/>
                <a:gd name="connsiteX73" fmla="*/ 1438275 w 1466850"/>
                <a:gd name="connsiteY73" fmla="*/ 202406 h 1209675"/>
                <a:gd name="connsiteX74" fmla="*/ 1435894 w 1466850"/>
                <a:gd name="connsiteY74" fmla="*/ 173831 h 1209675"/>
                <a:gd name="connsiteX75" fmla="*/ 1404937 w 1466850"/>
                <a:gd name="connsiteY75" fmla="*/ 164306 h 1209675"/>
                <a:gd name="connsiteX76" fmla="*/ 1364456 w 1466850"/>
                <a:gd name="connsiteY76" fmla="*/ 154781 h 1209675"/>
                <a:gd name="connsiteX77" fmla="*/ 1293019 w 1466850"/>
                <a:gd name="connsiteY77" fmla="*/ 154781 h 1209675"/>
                <a:gd name="connsiteX78" fmla="*/ 1233487 w 1466850"/>
                <a:gd name="connsiteY78" fmla="*/ 121444 h 1209675"/>
                <a:gd name="connsiteX79" fmla="*/ 1207294 w 1466850"/>
                <a:gd name="connsiteY79" fmla="*/ 114300 h 1209675"/>
                <a:gd name="connsiteX80" fmla="*/ 1188244 w 1466850"/>
                <a:gd name="connsiteY80" fmla="*/ 126206 h 1209675"/>
                <a:gd name="connsiteX81" fmla="*/ 1133475 w 1466850"/>
                <a:gd name="connsiteY81" fmla="*/ 188119 h 1209675"/>
                <a:gd name="connsiteX82" fmla="*/ 1116806 w 1466850"/>
                <a:gd name="connsiteY82" fmla="*/ 188119 h 1209675"/>
                <a:gd name="connsiteX83" fmla="*/ 1078706 w 1466850"/>
                <a:gd name="connsiteY83" fmla="*/ 142875 h 1209675"/>
                <a:gd name="connsiteX84" fmla="*/ 1054894 w 1466850"/>
                <a:gd name="connsiteY84" fmla="*/ 138112 h 1209675"/>
                <a:gd name="connsiteX85" fmla="*/ 997744 w 1466850"/>
                <a:gd name="connsiteY85" fmla="*/ 157162 h 1209675"/>
                <a:gd name="connsiteX86" fmla="*/ 973931 w 1466850"/>
                <a:gd name="connsiteY86" fmla="*/ 178594 h 1209675"/>
                <a:gd name="connsiteX87" fmla="*/ 928687 w 1466850"/>
                <a:gd name="connsiteY87" fmla="*/ 173831 h 1209675"/>
                <a:gd name="connsiteX88" fmla="*/ 878681 w 1466850"/>
                <a:gd name="connsiteY88" fmla="*/ 164306 h 1209675"/>
                <a:gd name="connsiteX89" fmla="*/ 864394 w 1466850"/>
                <a:gd name="connsiteY89" fmla="*/ 83344 h 1209675"/>
                <a:gd name="connsiteX90" fmla="*/ 845344 w 1466850"/>
                <a:gd name="connsiteY90" fmla="*/ 69056 h 1209675"/>
                <a:gd name="connsiteX91" fmla="*/ 747712 w 1466850"/>
                <a:gd name="connsiteY91" fmla="*/ 119062 h 1209675"/>
                <a:gd name="connsiteX92" fmla="*/ 721519 w 1466850"/>
                <a:gd name="connsiteY92" fmla="*/ 140494 h 1209675"/>
                <a:gd name="connsiteX93" fmla="*/ 709612 w 1466850"/>
                <a:gd name="connsiteY93" fmla="*/ 190500 h 1209675"/>
                <a:gd name="connsiteX94" fmla="*/ 707231 w 1466850"/>
                <a:gd name="connsiteY94" fmla="*/ 195262 h 1209675"/>
                <a:gd name="connsiteX95" fmla="*/ 654844 w 1466850"/>
                <a:gd name="connsiteY95" fmla="*/ 190500 h 1209675"/>
                <a:gd name="connsiteX96" fmla="*/ 633412 w 1466850"/>
                <a:gd name="connsiteY96" fmla="*/ 180975 h 1209675"/>
                <a:gd name="connsiteX97" fmla="*/ 614362 w 1466850"/>
                <a:gd name="connsiteY97" fmla="*/ 142875 h 1209675"/>
                <a:gd name="connsiteX98" fmla="*/ 590550 w 1466850"/>
                <a:gd name="connsiteY98" fmla="*/ 130969 h 1209675"/>
                <a:gd name="connsiteX99" fmla="*/ 540544 w 1466850"/>
                <a:gd name="connsiteY99" fmla="*/ 161925 h 1209675"/>
                <a:gd name="connsiteX100" fmla="*/ 507206 w 1466850"/>
                <a:gd name="connsiteY100" fmla="*/ 154781 h 1209675"/>
                <a:gd name="connsiteX101" fmla="*/ 495300 w 1466850"/>
                <a:gd name="connsiteY101" fmla="*/ 123825 h 1209675"/>
                <a:gd name="connsiteX102" fmla="*/ 490537 w 1466850"/>
                <a:gd name="connsiteY102" fmla="*/ 114300 h 1209675"/>
                <a:gd name="connsiteX103" fmla="*/ 431006 w 1466850"/>
                <a:gd name="connsiteY103" fmla="*/ 97631 h 1209675"/>
                <a:gd name="connsiteX104" fmla="*/ 442912 w 1466850"/>
                <a:gd name="connsiteY104" fmla="*/ 33337 h 1209675"/>
                <a:gd name="connsiteX105" fmla="*/ 423862 w 1466850"/>
                <a:gd name="connsiteY105" fmla="*/ 19050 h 1209675"/>
                <a:gd name="connsiteX106" fmla="*/ 335756 w 1466850"/>
                <a:gd name="connsiteY106" fmla="*/ 0 h 1209675"/>
                <a:gd name="connsiteX107" fmla="*/ 302419 w 1466850"/>
                <a:gd name="connsiteY107" fmla="*/ 35719 h 1209675"/>
                <a:gd name="connsiteX108" fmla="*/ 266700 w 1466850"/>
                <a:gd name="connsiteY108" fmla="*/ 50006 h 1209675"/>
                <a:gd name="connsiteX109" fmla="*/ 271462 w 1466850"/>
                <a:gd name="connsiteY109" fmla="*/ 95250 h 1209675"/>
                <a:gd name="connsiteX110" fmla="*/ 316706 w 1466850"/>
                <a:gd name="connsiteY110" fmla="*/ 121444 h 1209675"/>
                <a:gd name="connsiteX111" fmla="*/ 302419 w 1466850"/>
                <a:gd name="connsiteY111" fmla="*/ 145256 h 1209675"/>
                <a:gd name="connsiteX112" fmla="*/ 247650 w 1466850"/>
                <a:gd name="connsiteY112" fmla="*/ 159544 h 1209675"/>
                <a:gd name="connsiteX113" fmla="*/ 214312 w 1466850"/>
                <a:gd name="connsiteY113" fmla="*/ 216694 h 1209675"/>
                <a:gd name="connsiteX114" fmla="*/ 183356 w 1466850"/>
                <a:gd name="connsiteY114" fmla="*/ 221456 h 1209675"/>
                <a:gd name="connsiteX115" fmla="*/ 183356 w 1466850"/>
                <a:gd name="connsiteY115" fmla="*/ 254794 h 1209675"/>
                <a:gd name="connsiteX116" fmla="*/ 161925 w 1466850"/>
                <a:gd name="connsiteY116" fmla="*/ 304800 h 1209675"/>
                <a:gd name="connsiteX117" fmla="*/ 140494 w 1466850"/>
                <a:gd name="connsiteY117" fmla="*/ 323850 h 1209675"/>
                <a:gd name="connsiteX118" fmla="*/ 71439 w 1466850"/>
                <a:gd name="connsiteY118" fmla="*/ 300039 h 1209675"/>
                <a:gd name="connsiteX119" fmla="*/ 59530 w 1466850"/>
                <a:gd name="connsiteY119" fmla="*/ 302418 h 1209675"/>
                <a:gd name="connsiteX120" fmla="*/ 30956 w 1466850"/>
                <a:gd name="connsiteY120" fmla="*/ 295274 h 1209675"/>
                <a:gd name="connsiteX0" fmla="*/ 30956 w 1466850"/>
                <a:gd name="connsiteY0" fmla="*/ 295274 h 1209675"/>
                <a:gd name="connsiteX1" fmla="*/ 19050 w 1466850"/>
                <a:gd name="connsiteY1" fmla="*/ 381000 h 1209675"/>
                <a:gd name="connsiteX2" fmla="*/ 19050 w 1466850"/>
                <a:gd name="connsiteY2" fmla="*/ 397669 h 1209675"/>
                <a:gd name="connsiteX3" fmla="*/ 0 w 1466850"/>
                <a:gd name="connsiteY3" fmla="*/ 459581 h 1209675"/>
                <a:gd name="connsiteX4" fmla="*/ 7144 w 1466850"/>
                <a:gd name="connsiteY4" fmla="*/ 497681 h 1209675"/>
                <a:gd name="connsiteX5" fmla="*/ 9525 w 1466850"/>
                <a:gd name="connsiteY5" fmla="*/ 535781 h 1209675"/>
                <a:gd name="connsiteX6" fmla="*/ 19050 w 1466850"/>
                <a:gd name="connsiteY6" fmla="*/ 583406 h 1209675"/>
                <a:gd name="connsiteX7" fmla="*/ 23812 w 1466850"/>
                <a:gd name="connsiteY7" fmla="*/ 688181 h 1209675"/>
                <a:gd name="connsiteX8" fmla="*/ 35719 w 1466850"/>
                <a:gd name="connsiteY8" fmla="*/ 747712 h 1209675"/>
                <a:gd name="connsiteX9" fmla="*/ 40481 w 1466850"/>
                <a:gd name="connsiteY9" fmla="*/ 778669 h 1209675"/>
                <a:gd name="connsiteX10" fmla="*/ 47625 w 1466850"/>
                <a:gd name="connsiteY10" fmla="*/ 831056 h 1209675"/>
                <a:gd name="connsiteX11" fmla="*/ 38100 w 1466850"/>
                <a:gd name="connsiteY11" fmla="*/ 919162 h 1209675"/>
                <a:gd name="connsiteX12" fmla="*/ 78581 w 1466850"/>
                <a:gd name="connsiteY12" fmla="*/ 1028700 h 1209675"/>
                <a:gd name="connsiteX13" fmla="*/ 71437 w 1466850"/>
                <a:gd name="connsiteY13" fmla="*/ 1095375 h 1209675"/>
                <a:gd name="connsiteX14" fmla="*/ 88106 w 1466850"/>
                <a:gd name="connsiteY14" fmla="*/ 1164431 h 1209675"/>
                <a:gd name="connsiteX15" fmla="*/ 166687 w 1466850"/>
                <a:gd name="connsiteY15" fmla="*/ 1200149 h 1209675"/>
                <a:gd name="connsiteX16" fmla="*/ 202406 w 1466850"/>
                <a:gd name="connsiteY16" fmla="*/ 1209675 h 1209675"/>
                <a:gd name="connsiteX17" fmla="*/ 188119 w 1466850"/>
                <a:gd name="connsiteY17" fmla="*/ 1145381 h 1209675"/>
                <a:gd name="connsiteX18" fmla="*/ 242887 w 1466850"/>
                <a:gd name="connsiteY18" fmla="*/ 1092994 h 1209675"/>
                <a:gd name="connsiteX19" fmla="*/ 238125 w 1466850"/>
                <a:gd name="connsiteY19" fmla="*/ 1045369 h 1209675"/>
                <a:gd name="connsiteX20" fmla="*/ 230981 w 1466850"/>
                <a:gd name="connsiteY20" fmla="*/ 1035844 h 1209675"/>
                <a:gd name="connsiteX21" fmla="*/ 252412 w 1466850"/>
                <a:gd name="connsiteY21" fmla="*/ 1019175 h 1209675"/>
                <a:gd name="connsiteX22" fmla="*/ 314325 w 1466850"/>
                <a:gd name="connsiteY22" fmla="*/ 995362 h 1209675"/>
                <a:gd name="connsiteX23" fmla="*/ 311944 w 1466850"/>
                <a:gd name="connsiteY23" fmla="*/ 959644 h 1209675"/>
                <a:gd name="connsiteX24" fmla="*/ 326231 w 1466850"/>
                <a:gd name="connsiteY24" fmla="*/ 942975 h 1209675"/>
                <a:gd name="connsiteX25" fmla="*/ 452437 w 1466850"/>
                <a:gd name="connsiteY25" fmla="*/ 950119 h 1209675"/>
                <a:gd name="connsiteX26" fmla="*/ 464344 w 1466850"/>
                <a:gd name="connsiteY26" fmla="*/ 933450 h 1209675"/>
                <a:gd name="connsiteX27" fmla="*/ 476250 w 1466850"/>
                <a:gd name="connsiteY27" fmla="*/ 883444 h 1209675"/>
                <a:gd name="connsiteX28" fmla="*/ 488156 w 1466850"/>
                <a:gd name="connsiteY28" fmla="*/ 857250 h 1209675"/>
                <a:gd name="connsiteX29" fmla="*/ 526256 w 1466850"/>
                <a:gd name="connsiteY29" fmla="*/ 862012 h 1209675"/>
                <a:gd name="connsiteX30" fmla="*/ 545306 w 1466850"/>
                <a:gd name="connsiteY30" fmla="*/ 909637 h 1209675"/>
                <a:gd name="connsiteX31" fmla="*/ 566737 w 1466850"/>
                <a:gd name="connsiteY31" fmla="*/ 881062 h 1209675"/>
                <a:gd name="connsiteX32" fmla="*/ 621506 w 1466850"/>
                <a:gd name="connsiteY32" fmla="*/ 845344 h 1209675"/>
                <a:gd name="connsiteX33" fmla="*/ 709612 w 1466850"/>
                <a:gd name="connsiteY33" fmla="*/ 814387 h 1209675"/>
                <a:gd name="connsiteX34" fmla="*/ 716756 w 1466850"/>
                <a:gd name="connsiteY34" fmla="*/ 769144 h 1209675"/>
                <a:gd name="connsiteX35" fmla="*/ 742950 w 1466850"/>
                <a:gd name="connsiteY35" fmla="*/ 750094 h 1209675"/>
                <a:gd name="connsiteX36" fmla="*/ 785812 w 1466850"/>
                <a:gd name="connsiteY36" fmla="*/ 726281 h 1209675"/>
                <a:gd name="connsiteX37" fmla="*/ 800100 w 1466850"/>
                <a:gd name="connsiteY37" fmla="*/ 716756 h 1209675"/>
                <a:gd name="connsiteX38" fmla="*/ 862012 w 1466850"/>
                <a:gd name="connsiteY38" fmla="*/ 721519 h 1209675"/>
                <a:gd name="connsiteX39" fmla="*/ 883444 w 1466850"/>
                <a:gd name="connsiteY39" fmla="*/ 721519 h 1209675"/>
                <a:gd name="connsiteX40" fmla="*/ 892969 w 1466850"/>
                <a:gd name="connsiteY40" fmla="*/ 697706 h 1209675"/>
                <a:gd name="connsiteX41" fmla="*/ 892969 w 1466850"/>
                <a:gd name="connsiteY41" fmla="*/ 697706 h 1209675"/>
                <a:gd name="connsiteX42" fmla="*/ 921544 w 1466850"/>
                <a:gd name="connsiteY42" fmla="*/ 609600 h 1209675"/>
                <a:gd name="connsiteX43" fmla="*/ 909637 w 1466850"/>
                <a:gd name="connsiteY43" fmla="*/ 552450 h 1209675"/>
                <a:gd name="connsiteX44" fmla="*/ 928687 w 1466850"/>
                <a:gd name="connsiteY44" fmla="*/ 540544 h 1209675"/>
                <a:gd name="connsiteX45" fmla="*/ 973931 w 1466850"/>
                <a:gd name="connsiteY45" fmla="*/ 535781 h 1209675"/>
                <a:gd name="connsiteX46" fmla="*/ 1014412 w 1466850"/>
                <a:gd name="connsiteY46" fmla="*/ 447675 h 1209675"/>
                <a:gd name="connsiteX47" fmla="*/ 1038225 w 1466850"/>
                <a:gd name="connsiteY47" fmla="*/ 445294 h 1209675"/>
                <a:gd name="connsiteX48" fmla="*/ 1073944 w 1466850"/>
                <a:gd name="connsiteY48" fmla="*/ 476250 h 1209675"/>
                <a:gd name="connsiteX49" fmla="*/ 1112044 w 1466850"/>
                <a:gd name="connsiteY49" fmla="*/ 514350 h 1209675"/>
                <a:gd name="connsiteX50" fmla="*/ 1171575 w 1466850"/>
                <a:gd name="connsiteY50" fmla="*/ 540544 h 1209675"/>
                <a:gd name="connsiteX51" fmla="*/ 1219200 w 1466850"/>
                <a:gd name="connsiteY51" fmla="*/ 521494 h 1209675"/>
                <a:gd name="connsiteX52" fmla="*/ 1245394 w 1466850"/>
                <a:gd name="connsiteY52" fmla="*/ 502444 h 1209675"/>
                <a:gd name="connsiteX53" fmla="*/ 1278731 w 1466850"/>
                <a:gd name="connsiteY53" fmla="*/ 511969 h 1209675"/>
                <a:gd name="connsiteX54" fmla="*/ 1295400 w 1466850"/>
                <a:gd name="connsiteY54" fmla="*/ 531019 h 1209675"/>
                <a:gd name="connsiteX55" fmla="*/ 1273969 w 1466850"/>
                <a:gd name="connsiteY55" fmla="*/ 573881 h 1209675"/>
                <a:gd name="connsiteX56" fmla="*/ 1271587 w 1466850"/>
                <a:gd name="connsiteY56" fmla="*/ 602456 h 1209675"/>
                <a:gd name="connsiteX57" fmla="*/ 1285875 w 1466850"/>
                <a:gd name="connsiteY57" fmla="*/ 611981 h 1209675"/>
                <a:gd name="connsiteX58" fmla="*/ 1300162 w 1466850"/>
                <a:gd name="connsiteY58" fmla="*/ 628650 h 1209675"/>
                <a:gd name="connsiteX59" fmla="*/ 1321594 w 1466850"/>
                <a:gd name="connsiteY59" fmla="*/ 666750 h 1209675"/>
                <a:gd name="connsiteX60" fmla="*/ 1347787 w 1466850"/>
                <a:gd name="connsiteY60" fmla="*/ 681037 h 1209675"/>
                <a:gd name="connsiteX61" fmla="*/ 1371600 w 1466850"/>
                <a:gd name="connsiteY61" fmla="*/ 681037 h 1209675"/>
                <a:gd name="connsiteX62" fmla="*/ 1376362 w 1466850"/>
                <a:gd name="connsiteY62" fmla="*/ 628650 h 1209675"/>
                <a:gd name="connsiteX63" fmla="*/ 1395412 w 1466850"/>
                <a:gd name="connsiteY63" fmla="*/ 578644 h 1209675"/>
                <a:gd name="connsiteX64" fmla="*/ 1426369 w 1466850"/>
                <a:gd name="connsiteY64" fmla="*/ 571500 h 1209675"/>
                <a:gd name="connsiteX65" fmla="*/ 1466850 w 1466850"/>
                <a:gd name="connsiteY65" fmla="*/ 552450 h 1209675"/>
                <a:gd name="connsiteX66" fmla="*/ 1443037 w 1466850"/>
                <a:gd name="connsiteY66" fmla="*/ 509587 h 1209675"/>
                <a:gd name="connsiteX67" fmla="*/ 1414462 w 1466850"/>
                <a:gd name="connsiteY67" fmla="*/ 464344 h 1209675"/>
                <a:gd name="connsiteX68" fmla="*/ 1388269 w 1466850"/>
                <a:gd name="connsiteY68" fmla="*/ 438150 h 1209675"/>
                <a:gd name="connsiteX69" fmla="*/ 1404937 w 1466850"/>
                <a:gd name="connsiteY69" fmla="*/ 400050 h 1209675"/>
                <a:gd name="connsiteX70" fmla="*/ 1404937 w 1466850"/>
                <a:gd name="connsiteY70" fmla="*/ 383381 h 1209675"/>
                <a:gd name="connsiteX71" fmla="*/ 1431131 w 1466850"/>
                <a:gd name="connsiteY71" fmla="*/ 338137 h 1209675"/>
                <a:gd name="connsiteX72" fmla="*/ 1419225 w 1466850"/>
                <a:gd name="connsiteY72" fmla="*/ 264319 h 1209675"/>
                <a:gd name="connsiteX73" fmla="*/ 1438275 w 1466850"/>
                <a:gd name="connsiteY73" fmla="*/ 202406 h 1209675"/>
                <a:gd name="connsiteX74" fmla="*/ 1435894 w 1466850"/>
                <a:gd name="connsiteY74" fmla="*/ 173831 h 1209675"/>
                <a:gd name="connsiteX75" fmla="*/ 1404937 w 1466850"/>
                <a:gd name="connsiteY75" fmla="*/ 164306 h 1209675"/>
                <a:gd name="connsiteX76" fmla="*/ 1364456 w 1466850"/>
                <a:gd name="connsiteY76" fmla="*/ 154781 h 1209675"/>
                <a:gd name="connsiteX77" fmla="*/ 1293019 w 1466850"/>
                <a:gd name="connsiteY77" fmla="*/ 154781 h 1209675"/>
                <a:gd name="connsiteX78" fmla="*/ 1233487 w 1466850"/>
                <a:gd name="connsiteY78" fmla="*/ 121444 h 1209675"/>
                <a:gd name="connsiteX79" fmla="*/ 1207294 w 1466850"/>
                <a:gd name="connsiteY79" fmla="*/ 114300 h 1209675"/>
                <a:gd name="connsiteX80" fmla="*/ 1188244 w 1466850"/>
                <a:gd name="connsiteY80" fmla="*/ 126206 h 1209675"/>
                <a:gd name="connsiteX81" fmla="*/ 1133475 w 1466850"/>
                <a:gd name="connsiteY81" fmla="*/ 188119 h 1209675"/>
                <a:gd name="connsiteX82" fmla="*/ 1116806 w 1466850"/>
                <a:gd name="connsiteY82" fmla="*/ 188119 h 1209675"/>
                <a:gd name="connsiteX83" fmla="*/ 1078706 w 1466850"/>
                <a:gd name="connsiteY83" fmla="*/ 142875 h 1209675"/>
                <a:gd name="connsiteX84" fmla="*/ 1054894 w 1466850"/>
                <a:gd name="connsiteY84" fmla="*/ 138112 h 1209675"/>
                <a:gd name="connsiteX85" fmla="*/ 997744 w 1466850"/>
                <a:gd name="connsiteY85" fmla="*/ 157162 h 1209675"/>
                <a:gd name="connsiteX86" fmla="*/ 973931 w 1466850"/>
                <a:gd name="connsiteY86" fmla="*/ 178594 h 1209675"/>
                <a:gd name="connsiteX87" fmla="*/ 928687 w 1466850"/>
                <a:gd name="connsiteY87" fmla="*/ 173831 h 1209675"/>
                <a:gd name="connsiteX88" fmla="*/ 878681 w 1466850"/>
                <a:gd name="connsiteY88" fmla="*/ 164306 h 1209675"/>
                <a:gd name="connsiteX89" fmla="*/ 864394 w 1466850"/>
                <a:gd name="connsiteY89" fmla="*/ 83344 h 1209675"/>
                <a:gd name="connsiteX90" fmla="*/ 845344 w 1466850"/>
                <a:gd name="connsiteY90" fmla="*/ 69056 h 1209675"/>
                <a:gd name="connsiteX91" fmla="*/ 747712 w 1466850"/>
                <a:gd name="connsiteY91" fmla="*/ 119062 h 1209675"/>
                <a:gd name="connsiteX92" fmla="*/ 721519 w 1466850"/>
                <a:gd name="connsiteY92" fmla="*/ 140494 h 1209675"/>
                <a:gd name="connsiteX93" fmla="*/ 709612 w 1466850"/>
                <a:gd name="connsiteY93" fmla="*/ 190500 h 1209675"/>
                <a:gd name="connsiteX94" fmla="*/ 707231 w 1466850"/>
                <a:gd name="connsiteY94" fmla="*/ 195262 h 1209675"/>
                <a:gd name="connsiteX95" fmla="*/ 654844 w 1466850"/>
                <a:gd name="connsiteY95" fmla="*/ 190500 h 1209675"/>
                <a:gd name="connsiteX96" fmla="*/ 633412 w 1466850"/>
                <a:gd name="connsiteY96" fmla="*/ 180975 h 1209675"/>
                <a:gd name="connsiteX97" fmla="*/ 614362 w 1466850"/>
                <a:gd name="connsiteY97" fmla="*/ 142875 h 1209675"/>
                <a:gd name="connsiteX98" fmla="*/ 590550 w 1466850"/>
                <a:gd name="connsiteY98" fmla="*/ 130969 h 1209675"/>
                <a:gd name="connsiteX99" fmla="*/ 540544 w 1466850"/>
                <a:gd name="connsiteY99" fmla="*/ 161925 h 1209675"/>
                <a:gd name="connsiteX100" fmla="*/ 507206 w 1466850"/>
                <a:gd name="connsiteY100" fmla="*/ 154781 h 1209675"/>
                <a:gd name="connsiteX101" fmla="*/ 495300 w 1466850"/>
                <a:gd name="connsiteY101" fmla="*/ 123825 h 1209675"/>
                <a:gd name="connsiteX102" fmla="*/ 490537 w 1466850"/>
                <a:gd name="connsiteY102" fmla="*/ 114300 h 1209675"/>
                <a:gd name="connsiteX103" fmla="*/ 431006 w 1466850"/>
                <a:gd name="connsiteY103" fmla="*/ 97631 h 1209675"/>
                <a:gd name="connsiteX104" fmla="*/ 442912 w 1466850"/>
                <a:gd name="connsiteY104" fmla="*/ 33337 h 1209675"/>
                <a:gd name="connsiteX105" fmla="*/ 423862 w 1466850"/>
                <a:gd name="connsiteY105" fmla="*/ 19050 h 1209675"/>
                <a:gd name="connsiteX106" fmla="*/ 335756 w 1466850"/>
                <a:gd name="connsiteY106" fmla="*/ 0 h 1209675"/>
                <a:gd name="connsiteX107" fmla="*/ 302419 w 1466850"/>
                <a:gd name="connsiteY107" fmla="*/ 35719 h 1209675"/>
                <a:gd name="connsiteX108" fmla="*/ 266700 w 1466850"/>
                <a:gd name="connsiteY108" fmla="*/ 50006 h 1209675"/>
                <a:gd name="connsiteX109" fmla="*/ 271462 w 1466850"/>
                <a:gd name="connsiteY109" fmla="*/ 95250 h 1209675"/>
                <a:gd name="connsiteX110" fmla="*/ 316706 w 1466850"/>
                <a:gd name="connsiteY110" fmla="*/ 121444 h 1209675"/>
                <a:gd name="connsiteX111" fmla="*/ 302419 w 1466850"/>
                <a:gd name="connsiteY111" fmla="*/ 145256 h 1209675"/>
                <a:gd name="connsiteX112" fmla="*/ 247650 w 1466850"/>
                <a:gd name="connsiteY112" fmla="*/ 159544 h 1209675"/>
                <a:gd name="connsiteX113" fmla="*/ 214312 w 1466850"/>
                <a:gd name="connsiteY113" fmla="*/ 216694 h 1209675"/>
                <a:gd name="connsiteX114" fmla="*/ 183356 w 1466850"/>
                <a:gd name="connsiteY114" fmla="*/ 221456 h 1209675"/>
                <a:gd name="connsiteX115" fmla="*/ 183356 w 1466850"/>
                <a:gd name="connsiteY115" fmla="*/ 254794 h 1209675"/>
                <a:gd name="connsiteX116" fmla="*/ 161925 w 1466850"/>
                <a:gd name="connsiteY116" fmla="*/ 304800 h 1209675"/>
                <a:gd name="connsiteX117" fmla="*/ 140494 w 1466850"/>
                <a:gd name="connsiteY117" fmla="*/ 323850 h 1209675"/>
                <a:gd name="connsiteX118" fmla="*/ 71439 w 1466850"/>
                <a:gd name="connsiteY118" fmla="*/ 300039 h 1209675"/>
                <a:gd name="connsiteX119" fmla="*/ 59530 w 1466850"/>
                <a:gd name="connsiteY119" fmla="*/ 302418 h 1209675"/>
                <a:gd name="connsiteX120" fmla="*/ 30956 w 1466850"/>
                <a:gd name="connsiteY120" fmla="*/ 295274 h 1209675"/>
                <a:gd name="connsiteX0" fmla="*/ 30956 w 1466850"/>
                <a:gd name="connsiteY0" fmla="*/ 295274 h 1209675"/>
                <a:gd name="connsiteX1" fmla="*/ 19050 w 1466850"/>
                <a:gd name="connsiteY1" fmla="*/ 381000 h 1209675"/>
                <a:gd name="connsiteX2" fmla="*/ 19050 w 1466850"/>
                <a:gd name="connsiteY2" fmla="*/ 397669 h 1209675"/>
                <a:gd name="connsiteX3" fmla="*/ 0 w 1466850"/>
                <a:gd name="connsiteY3" fmla="*/ 459581 h 1209675"/>
                <a:gd name="connsiteX4" fmla="*/ 7144 w 1466850"/>
                <a:gd name="connsiteY4" fmla="*/ 497681 h 1209675"/>
                <a:gd name="connsiteX5" fmla="*/ 9525 w 1466850"/>
                <a:gd name="connsiteY5" fmla="*/ 535781 h 1209675"/>
                <a:gd name="connsiteX6" fmla="*/ 19050 w 1466850"/>
                <a:gd name="connsiteY6" fmla="*/ 583406 h 1209675"/>
                <a:gd name="connsiteX7" fmla="*/ 23812 w 1466850"/>
                <a:gd name="connsiteY7" fmla="*/ 688181 h 1209675"/>
                <a:gd name="connsiteX8" fmla="*/ 35719 w 1466850"/>
                <a:gd name="connsiteY8" fmla="*/ 747712 h 1209675"/>
                <a:gd name="connsiteX9" fmla="*/ 40481 w 1466850"/>
                <a:gd name="connsiteY9" fmla="*/ 778669 h 1209675"/>
                <a:gd name="connsiteX10" fmla="*/ 47625 w 1466850"/>
                <a:gd name="connsiteY10" fmla="*/ 831056 h 1209675"/>
                <a:gd name="connsiteX11" fmla="*/ 38100 w 1466850"/>
                <a:gd name="connsiteY11" fmla="*/ 919162 h 1209675"/>
                <a:gd name="connsiteX12" fmla="*/ 78581 w 1466850"/>
                <a:gd name="connsiteY12" fmla="*/ 1028700 h 1209675"/>
                <a:gd name="connsiteX13" fmla="*/ 71437 w 1466850"/>
                <a:gd name="connsiteY13" fmla="*/ 1095375 h 1209675"/>
                <a:gd name="connsiteX14" fmla="*/ 88106 w 1466850"/>
                <a:gd name="connsiteY14" fmla="*/ 1164431 h 1209675"/>
                <a:gd name="connsiteX15" fmla="*/ 166687 w 1466850"/>
                <a:gd name="connsiteY15" fmla="*/ 1200149 h 1209675"/>
                <a:gd name="connsiteX16" fmla="*/ 202406 w 1466850"/>
                <a:gd name="connsiteY16" fmla="*/ 1209675 h 1209675"/>
                <a:gd name="connsiteX17" fmla="*/ 188119 w 1466850"/>
                <a:gd name="connsiteY17" fmla="*/ 1145381 h 1209675"/>
                <a:gd name="connsiteX18" fmla="*/ 242887 w 1466850"/>
                <a:gd name="connsiteY18" fmla="*/ 1092994 h 1209675"/>
                <a:gd name="connsiteX19" fmla="*/ 238125 w 1466850"/>
                <a:gd name="connsiteY19" fmla="*/ 1045369 h 1209675"/>
                <a:gd name="connsiteX20" fmla="*/ 230981 w 1466850"/>
                <a:gd name="connsiteY20" fmla="*/ 1035844 h 1209675"/>
                <a:gd name="connsiteX21" fmla="*/ 252412 w 1466850"/>
                <a:gd name="connsiteY21" fmla="*/ 1019175 h 1209675"/>
                <a:gd name="connsiteX22" fmla="*/ 314325 w 1466850"/>
                <a:gd name="connsiteY22" fmla="*/ 995362 h 1209675"/>
                <a:gd name="connsiteX23" fmla="*/ 311944 w 1466850"/>
                <a:gd name="connsiteY23" fmla="*/ 959644 h 1209675"/>
                <a:gd name="connsiteX24" fmla="*/ 326231 w 1466850"/>
                <a:gd name="connsiteY24" fmla="*/ 942975 h 1209675"/>
                <a:gd name="connsiteX25" fmla="*/ 452437 w 1466850"/>
                <a:gd name="connsiteY25" fmla="*/ 950119 h 1209675"/>
                <a:gd name="connsiteX26" fmla="*/ 464344 w 1466850"/>
                <a:gd name="connsiteY26" fmla="*/ 933450 h 1209675"/>
                <a:gd name="connsiteX27" fmla="*/ 476250 w 1466850"/>
                <a:gd name="connsiteY27" fmla="*/ 883444 h 1209675"/>
                <a:gd name="connsiteX28" fmla="*/ 488156 w 1466850"/>
                <a:gd name="connsiteY28" fmla="*/ 857250 h 1209675"/>
                <a:gd name="connsiteX29" fmla="*/ 526256 w 1466850"/>
                <a:gd name="connsiteY29" fmla="*/ 862012 h 1209675"/>
                <a:gd name="connsiteX30" fmla="*/ 545306 w 1466850"/>
                <a:gd name="connsiteY30" fmla="*/ 909637 h 1209675"/>
                <a:gd name="connsiteX31" fmla="*/ 566737 w 1466850"/>
                <a:gd name="connsiteY31" fmla="*/ 881062 h 1209675"/>
                <a:gd name="connsiteX32" fmla="*/ 621506 w 1466850"/>
                <a:gd name="connsiteY32" fmla="*/ 845344 h 1209675"/>
                <a:gd name="connsiteX33" fmla="*/ 709612 w 1466850"/>
                <a:gd name="connsiteY33" fmla="*/ 814387 h 1209675"/>
                <a:gd name="connsiteX34" fmla="*/ 716756 w 1466850"/>
                <a:gd name="connsiteY34" fmla="*/ 769144 h 1209675"/>
                <a:gd name="connsiteX35" fmla="*/ 742950 w 1466850"/>
                <a:gd name="connsiteY35" fmla="*/ 750094 h 1209675"/>
                <a:gd name="connsiteX36" fmla="*/ 785812 w 1466850"/>
                <a:gd name="connsiteY36" fmla="*/ 726281 h 1209675"/>
                <a:gd name="connsiteX37" fmla="*/ 800100 w 1466850"/>
                <a:gd name="connsiteY37" fmla="*/ 716756 h 1209675"/>
                <a:gd name="connsiteX38" fmla="*/ 862012 w 1466850"/>
                <a:gd name="connsiteY38" fmla="*/ 721519 h 1209675"/>
                <a:gd name="connsiteX39" fmla="*/ 883444 w 1466850"/>
                <a:gd name="connsiteY39" fmla="*/ 721519 h 1209675"/>
                <a:gd name="connsiteX40" fmla="*/ 892969 w 1466850"/>
                <a:gd name="connsiteY40" fmla="*/ 697706 h 1209675"/>
                <a:gd name="connsiteX41" fmla="*/ 892969 w 1466850"/>
                <a:gd name="connsiteY41" fmla="*/ 697706 h 1209675"/>
                <a:gd name="connsiteX42" fmla="*/ 921544 w 1466850"/>
                <a:gd name="connsiteY42" fmla="*/ 609600 h 1209675"/>
                <a:gd name="connsiteX43" fmla="*/ 909637 w 1466850"/>
                <a:gd name="connsiteY43" fmla="*/ 552450 h 1209675"/>
                <a:gd name="connsiteX44" fmla="*/ 928687 w 1466850"/>
                <a:gd name="connsiteY44" fmla="*/ 540544 h 1209675"/>
                <a:gd name="connsiteX45" fmla="*/ 973931 w 1466850"/>
                <a:gd name="connsiteY45" fmla="*/ 535781 h 1209675"/>
                <a:gd name="connsiteX46" fmla="*/ 1014412 w 1466850"/>
                <a:gd name="connsiteY46" fmla="*/ 447675 h 1209675"/>
                <a:gd name="connsiteX47" fmla="*/ 1038225 w 1466850"/>
                <a:gd name="connsiteY47" fmla="*/ 445294 h 1209675"/>
                <a:gd name="connsiteX48" fmla="*/ 1073944 w 1466850"/>
                <a:gd name="connsiteY48" fmla="*/ 476250 h 1209675"/>
                <a:gd name="connsiteX49" fmla="*/ 1112044 w 1466850"/>
                <a:gd name="connsiteY49" fmla="*/ 514350 h 1209675"/>
                <a:gd name="connsiteX50" fmla="*/ 1171575 w 1466850"/>
                <a:gd name="connsiteY50" fmla="*/ 540544 h 1209675"/>
                <a:gd name="connsiteX51" fmla="*/ 1219200 w 1466850"/>
                <a:gd name="connsiteY51" fmla="*/ 521494 h 1209675"/>
                <a:gd name="connsiteX52" fmla="*/ 1245394 w 1466850"/>
                <a:gd name="connsiteY52" fmla="*/ 502444 h 1209675"/>
                <a:gd name="connsiteX53" fmla="*/ 1278731 w 1466850"/>
                <a:gd name="connsiteY53" fmla="*/ 511969 h 1209675"/>
                <a:gd name="connsiteX54" fmla="*/ 1295400 w 1466850"/>
                <a:gd name="connsiteY54" fmla="*/ 531019 h 1209675"/>
                <a:gd name="connsiteX55" fmla="*/ 1273969 w 1466850"/>
                <a:gd name="connsiteY55" fmla="*/ 573881 h 1209675"/>
                <a:gd name="connsiteX56" fmla="*/ 1271587 w 1466850"/>
                <a:gd name="connsiteY56" fmla="*/ 602456 h 1209675"/>
                <a:gd name="connsiteX57" fmla="*/ 1285875 w 1466850"/>
                <a:gd name="connsiteY57" fmla="*/ 611981 h 1209675"/>
                <a:gd name="connsiteX58" fmla="*/ 1300162 w 1466850"/>
                <a:gd name="connsiteY58" fmla="*/ 628650 h 1209675"/>
                <a:gd name="connsiteX59" fmla="*/ 1321594 w 1466850"/>
                <a:gd name="connsiteY59" fmla="*/ 666750 h 1209675"/>
                <a:gd name="connsiteX60" fmla="*/ 1347787 w 1466850"/>
                <a:gd name="connsiteY60" fmla="*/ 681037 h 1209675"/>
                <a:gd name="connsiteX61" fmla="*/ 1371600 w 1466850"/>
                <a:gd name="connsiteY61" fmla="*/ 681037 h 1209675"/>
                <a:gd name="connsiteX62" fmla="*/ 1376362 w 1466850"/>
                <a:gd name="connsiteY62" fmla="*/ 628650 h 1209675"/>
                <a:gd name="connsiteX63" fmla="*/ 1395412 w 1466850"/>
                <a:gd name="connsiteY63" fmla="*/ 578644 h 1209675"/>
                <a:gd name="connsiteX64" fmla="*/ 1426369 w 1466850"/>
                <a:gd name="connsiteY64" fmla="*/ 571500 h 1209675"/>
                <a:gd name="connsiteX65" fmla="*/ 1466850 w 1466850"/>
                <a:gd name="connsiteY65" fmla="*/ 552450 h 1209675"/>
                <a:gd name="connsiteX66" fmla="*/ 1443037 w 1466850"/>
                <a:gd name="connsiteY66" fmla="*/ 509587 h 1209675"/>
                <a:gd name="connsiteX67" fmla="*/ 1414462 w 1466850"/>
                <a:gd name="connsiteY67" fmla="*/ 464344 h 1209675"/>
                <a:gd name="connsiteX68" fmla="*/ 1388269 w 1466850"/>
                <a:gd name="connsiteY68" fmla="*/ 438150 h 1209675"/>
                <a:gd name="connsiteX69" fmla="*/ 1404937 w 1466850"/>
                <a:gd name="connsiteY69" fmla="*/ 400050 h 1209675"/>
                <a:gd name="connsiteX70" fmla="*/ 1404937 w 1466850"/>
                <a:gd name="connsiteY70" fmla="*/ 383381 h 1209675"/>
                <a:gd name="connsiteX71" fmla="*/ 1431131 w 1466850"/>
                <a:gd name="connsiteY71" fmla="*/ 338137 h 1209675"/>
                <a:gd name="connsiteX72" fmla="*/ 1419225 w 1466850"/>
                <a:gd name="connsiteY72" fmla="*/ 264319 h 1209675"/>
                <a:gd name="connsiteX73" fmla="*/ 1438275 w 1466850"/>
                <a:gd name="connsiteY73" fmla="*/ 202406 h 1209675"/>
                <a:gd name="connsiteX74" fmla="*/ 1435894 w 1466850"/>
                <a:gd name="connsiteY74" fmla="*/ 173831 h 1209675"/>
                <a:gd name="connsiteX75" fmla="*/ 1404937 w 1466850"/>
                <a:gd name="connsiteY75" fmla="*/ 164306 h 1209675"/>
                <a:gd name="connsiteX76" fmla="*/ 1364456 w 1466850"/>
                <a:gd name="connsiteY76" fmla="*/ 154781 h 1209675"/>
                <a:gd name="connsiteX77" fmla="*/ 1293019 w 1466850"/>
                <a:gd name="connsiteY77" fmla="*/ 154781 h 1209675"/>
                <a:gd name="connsiteX78" fmla="*/ 1233487 w 1466850"/>
                <a:gd name="connsiteY78" fmla="*/ 121444 h 1209675"/>
                <a:gd name="connsiteX79" fmla="*/ 1207294 w 1466850"/>
                <a:gd name="connsiteY79" fmla="*/ 114300 h 1209675"/>
                <a:gd name="connsiteX80" fmla="*/ 1188244 w 1466850"/>
                <a:gd name="connsiteY80" fmla="*/ 126206 h 1209675"/>
                <a:gd name="connsiteX81" fmla="*/ 1133475 w 1466850"/>
                <a:gd name="connsiteY81" fmla="*/ 188119 h 1209675"/>
                <a:gd name="connsiteX82" fmla="*/ 1116806 w 1466850"/>
                <a:gd name="connsiteY82" fmla="*/ 188119 h 1209675"/>
                <a:gd name="connsiteX83" fmla="*/ 1078706 w 1466850"/>
                <a:gd name="connsiteY83" fmla="*/ 142875 h 1209675"/>
                <a:gd name="connsiteX84" fmla="*/ 1054894 w 1466850"/>
                <a:gd name="connsiteY84" fmla="*/ 138112 h 1209675"/>
                <a:gd name="connsiteX85" fmla="*/ 997744 w 1466850"/>
                <a:gd name="connsiteY85" fmla="*/ 157162 h 1209675"/>
                <a:gd name="connsiteX86" fmla="*/ 973931 w 1466850"/>
                <a:gd name="connsiteY86" fmla="*/ 178594 h 1209675"/>
                <a:gd name="connsiteX87" fmla="*/ 928687 w 1466850"/>
                <a:gd name="connsiteY87" fmla="*/ 173831 h 1209675"/>
                <a:gd name="connsiteX88" fmla="*/ 878681 w 1466850"/>
                <a:gd name="connsiteY88" fmla="*/ 164306 h 1209675"/>
                <a:gd name="connsiteX89" fmla="*/ 864394 w 1466850"/>
                <a:gd name="connsiteY89" fmla="*/ 83344 h 1209675"/>
                <a:gd name="connsiteX90" fmla="*/ 845344 w 1466850"/>
                <a:gd name="connsiteY90" fmla="*/ 69056 h 1209675"/>
                <a:gd name="connsiteX91" fmla="*/ 747712 w 1466850"/>
                <a:gd name="connsiteY91" fmla="*/ 119062 h 1209675"/>
                <a:gd name="connsiteX92" fmla="*/ 721519 w 1466850"/>
                <a:gd name="connsiteY92" fmla="*/ 140494 h 1209675"/>
                <a:gd name="connsiteX93" fmla="*/ 709612 w 1466850"/>
                <a:gd name="connsiteY93" fmla="*/ 190500 h 1209675"/>
                <a:gd name="connsiteX94" fmla="*/ 707231 w 1466850"/>
                <a:gd name="connsiteY94" fmla="*/ 195262 h 1209675"/>
                <a:gd name="connsiteX95" fmla="*/ 654844 w 1466850"/>
                <a:gd name="connsiteY95" fmla="*/ 190500 h 1209675"/>
                <a:gd name="connsiteX96" fmla="*/ 633412 w 1466850"/>
                <a:gd name="connsiteY96" fmla="*/ 180975 h 1209675"/>
                <a:gd name="connsiteX97" fmla="*/ 614362 w 1466850"/>
                <a:gd name="connsiteY97" fmla="*/ 142875 h 1209675"/>
                <a:gd name="connsiteX98" fmla="*/ 590550 w 1466850"/>
                <a:gd name="connsiteY98" fmla="*/ 130969 h 1209675"/>
                <a:gd name="connsiteX99" fmla="*/ 540544 w 1466850"/>
                <a:gd name="connsiteY99" fmla="*/ 161925 h 1209675"/>
                <a:gd name="connsiteX100" fmla="*/ 507206 w 1466850"/>
                <a:gd name="connsiteY100" fmla="*/ 154781 h 1209675"/>
                <a:gd name="connsiteX101" fmla="*/ 495300 w 1466850"/>
                <a:gd name="connsiteY101" fmla="*/ 123825 h 1209675"/>
                <a:gd name="connsiteX102" fmla="*/ 490537 w 1466850"/>
                <a:gd name="connsiteY102" fmla="*/ 114300 h 1209675"/>
                <a:gd name="connsiteX103" fmla="*/ 431006 w 1466850"/>
                <a:gd name="connsiteY103" fmla="*/ 97631 h 1209675"/>
                <a:gd name="connsiteX104" fmla="*/ 442912 w 1466850"/>
                <a:gd name="connsiteY104" fmla="*/ 33337 h 1209675"/>
                <a:gd name="connsiteX105" fmla="*/ 423862 w 1466850"/>
                <a:gd name="connsiteY105" fmla="*/ 19050 h 1209675"/>
                <a:gd name="connsiteX106" fmla="*/ 335756 w 1466850"/>
                <a:gd name="connsiteY106" fmla="*/ 0 h 1209675"/>
                <a:gd name="connsiteX107" fmla="*/ 302419 w 1466850"/>
                <a:gd name="connsiteY107" fmla="*/ 35719 h 1209675"/>
                <a:gd name="connsiteX108" fmla="*/ 266700 w 1466850"/>
                <a:gd name="connsiteY108" fmla="*/ 50006 h 1209675"/>
                <a:gd name="connsiteX109" fmla="*/ 271462 w 1466850"/>
                <a:gd name="connsiteY109" fmla="*/ 95250 h 1209675"/>
                <a:gd name="connsiteX110" fmla="*/ 316706 w 1466850"/>
                <a:gd name="connsiteY110" fmla="*/ 121444 h 1209675"/>
                <a:gd name="connsiteX111" fmla="*/ 302419 w 1466850"/>
                <a:gd name="connsiteY111" fmla="*/ 145256 h 1209675"/>
                <a:gd name="connsiteX112" fmla="*/ 247650 w 1466850"/>
                <a:gd name="connsiteY112" fmla="*/ 159544 h 1209675"/>
                <a:gd name="connsiteX113" fmla="*/ 214312 w 1466850"/>
                <a:gd name="connsiteY113" fmla="*/ 216694 h 1209675"/>
                <a:gd name="connsiteX114" fmla="*/ 183356 w 1466850"/>
                <a:gd name="connsiteY114" fmla="*/ 221456 h 1209675"/>
                <a:gd name="connsiteX115" fmla="*/ 183356 w 1466850"/>
                <a:gd name="connsiteY115" fmla="*/ 254794 h 1209675"/>
                <a:gd name="connsiteX116" fmla="*/ 161925 w 1466850"/>
                <a:gd name="connsiteY116" fmla="*/ 304800 h 1209675"/>
                <a:gd name="connsiteX117" fmla="*/ 140494 w 1466850"/>
                <a:gd name="connsiteY117" fmla="*/ 323850 h 1209675"/>
                <a:gd name="connsiteX118" fmla="*/ 71439 w 1466850"/>
                <a:gd name="connsiteY118" fmla="*/ 300039 h 1209675"/>
                <a:gd name="connsiteX119" fmla="*/ 59530 w 1466850"/>
                <a:gd name="connsiteY119" fmla="*/ 302418 h 1209675"/>
                <a:gd name="connsiteX120" fmla="*/ 30956 w 1466850"/>
                <a:gd name="connsiteY120" fmla="*/ 295274 h 1209675"/>
                <a:gd name="connsiteX0" fmla="*/ 30956 w 1466850"/>
                <a:gd name="connsiteY0" fmla="*/ 295274 h 1209675"/>
                <a:gd name="connsiteX1" fmla="*/ 19050 w 1466850"/>
                <a:gd name="connsiteY1" fmla="*/ 381000 h 1209675"/>
                <a:gd name="connsiteX2" fmla="*/ 19050 w 1466850"/>
                <a:gd name="connsiteY2" fmla="*/ 397669 h 1209675"/>
                <a:gd name="connsiteX3" fmla="*/ 0 w 1466850"/>
                <a:gd name="connsiteY3" fmla="*/ 459581 h 1209675"/>
                <a:gd name="connsiteX4" fmla="*/ 7144 w 1466850"/>
                <a:gd name="connsiteY4" fmla="*/ 497681 h 1209675"/>
                <a:gd name="connsiteX5" fmla="*/ 9525 w 1466850"/>
                <a:gd name="connsiteY5" fmla="*/ 535781 h 1209675"/>
                <a:gd name="connsiteX6" fmla="*/ 19050 w 1466850"/>
                <a:gd name="connsiteY6" fmla="*/ 583406 h 1209675"/>
                <a:gd name="connsiteX7" fmla="*/ 23812 w 1466850"/>
                <a:gd name="connsiteY7" fmla="*/ 688181 h 1209675"/>
                <a:gd name="connsiteX8" fmla="*/ 35719 w 1466850"/>
                <a:gd name="connsiteY8" fmla="*/ 747712 h 1209675"/>
                <a:gd name="connsiteX9" fmla="*/ 40481 w 1466850"/>
                <a:gd name="connsiteY9" fmla="*/ 778669 h 1209675"/>
                <a:gd name="connsiteX10" fmla="*/ 47625 w 1466850"/>
                <a:gd name="connsiteY10" fmla="*/ 831056 h 1209675"/>
                <a:gd name="connsiteX11" fmla="*/ 38100 w 1466850"/>
                <a:gd name="connsiteY11" fmla="*/ 919162 h 1209675"/>
                <a:gd name="connsiteX12" fmla="*/ 78581 w 1466850"/>
                <a:gd name="connsiteY12" fmla="*/ 1028700 h 1209675"/>
                <a:gd name="connsiteX13" fmla="*/ 71437 w 1466850"/>
                <a:gd name="connsiteY13" fmla="*/ 1095375 h 1209675"/>
                <a:gd name="connsiteX14" fmla="*/ 88106 w 1466850"/>
                <a:gd name="connsiteY14" fmla="*/ 1164431 h 1209675"/>
                <a:gd name="connsiteX15" fmla="*/ 166687 w 1466850"/>
                <a:gd name="connsiteY15" fmla="*/ 1200149 h 1209675"/>
                <a:gd name="connsiteX16" fmla="*/ 202406 w 1466850"/>
                <a:gd name="connsiteY16" fmla="*/ 1209675 h 1209675"/>
                <a:gd name="connsiteX17" fmla="*/ 188119 w 1466850"/>
                <a:gd name="connsiteY17" fmla="*/ 1145381 h 1209675"/>
                <a:gd name="connsiteX18" fmla="*/ 242887 w 1466850"/>
                <a:gd name="connsiteY18" fmla="*/ 1092994 h 1209675"/>
                <a:gd name="connsiteX19" fmla="*/ 238125 w 1466850"/>
                <a:gd name="connsiteY19" fmla="*/ 1045369 h 1209675"/>
                <a:gd name="connsiteX20" fmla="*/ 230981 w 1466850"/>
                <a:gd name="connsiteY20" fmla="*/ 1035844 h 1209675"/>
                <a:gd name="connsiteX21" fmla="*/ 252412 w 1466850"/>
                <a:gd name="connsiteY21" fmla="*/ 1019175 h 1209675"/>
                <a:gd name="connsiteX22" fmla="*/ 314325 w 1466850"/>
                <a:gd name="connsiteY22" fmla="*/ 995362 h 1209675"/>
                <a:gd name="connsiteX23" fmla="*/ 311944 w 1466850"/>
                <a:gd name="connsiteY23" fmla="*/ 959644 h 1209675"/>
                <a:gd name="connsiteX24" fmla="*/ 326231 w 1466850"/>
                <a:gd name="connsiteY24" fmla="*/ 942975 h 1209675"/>
                <a:gd name="connsiteX25" fmla="*/ 452437 w 1466850"/>
                <a:gd name="connsiteY25" fmla="*/ 950119 h 1209675"/>
                <a:gd name="connsiteX26" fmla="*/ 464344 w 1466850"/>
                <a:gd name="connsiteY26" fmla="*/ 933450 h 1209675"/>
                <a:gd name="connsiteX27" fmla="*/ 476250 w 1466850"/>
                <a:gd name="connsiteY27" fmla="*/ 883444 h 1209675"/>
                <a:gd name="connsiteX28" fmla="*/ 488156 w 1466850"/>
                <a:gd name="connsiteY28" fmla="*/ 857250 h 1209675"/>
                <a:gd name="connsiteX29" fmla="*/ 526256 w 1466850"/>
                <a:gd name="connsiteY29" fmla="*/ 862012 h 1209675"/>
                <a:gd name="connsiteX30" fmla="*/ 545306 w 1466850"/>
                <a:gd name="connsiteY30" fmla="*/ 909637 h 1209675"/>
                <a:gd name="connsiteX31" fmla="*/ 566737 w 1466850"/>
                <a:gd name="connsiteY31" fmla="*/ 881062 h 1209675"/>
                <a:gd name="connsiteX32" fmla="*/ 621506 w 1466850"/>
                <a:gd name="connsiteY32" fmla="*/ 845344 h 1209675"/>
                <a:gd name="connsiteX33" fmla="*/ 709612 w 1466850"/>
                <a:gd name="connsiteY33" fmla="*/ 814387 h 1209675"/>
                <a:gd name="connsiteX34" fmla="*/ 716756 w 1466850"/>
                <a:gd name="connsiteY34" fmla="*/ 769144 h 1209675"/>
                <a:gd name="connsiteX35" fmla="*/ 742950 w 1466850"/>
                <a:gd name="connsiteY35" fmla="*/ 750094 h 1209675"/>
                <a:gd name="connsiteX36" fmla="*/ 785812 w 1466850"/>
                <a:gd name="connsiteY36" fmla="*/ 726281 h 1209675"/>
                <a:gd name="connsiteX37" fmla="*/ 800100 w 1466850"/>
                <a:gd name="connsiteY37" fmla="*/ 716756 h 1209675"/>
                <a:gd name="connsiteX38" fmla="*/ 862012 w 1466850"/>
                <a:gd name="connsiteY38" fmla="*/ 721519 h 1209675"/>
                <a:gd name="connsiteX39" fmla="*/ 883444 w 1466850"/>
                <a:gd name="connsiteY39" fmla="*/ 721519 h 1209675"/>
                <a:gd name="connsiteX40" fmla="*/ 892969 w 1466850"/>
                <a:gd name="connsiteY40" fmla="*/ 697706 h 1209675"/>
                <a:gd name="connsiteX41" fmla="*/ 892969 w 1466850"/>
                <a:gd name="connsiteY41" fmla="*/ 697706 h 1209675"/>
                <a:gd name="connsiteX42" fmla="*/ 921544 w 1466850"/>
                <a:gd name="connsiteY42" fmla="*/ 609600 h 1209675"/>
                <a:gd name="connsiteX43" fmla="*/ 909637 w 1466850"/>
                <a:gd name="connsiteY43" fmla="*/ 552450 h 1209675"/>
                <a:gd name="connsiteX44" fmla="*/ 928687 w 1466850"/>
                <a:gd name="connsiteY44" fmla="*/ 540544 h 1209675"/>
                <a:gd name="connsiteX45" fmla="*/ 973931 w 1466850"/>
                <a:gd name="connsiteY45" fmla="*/ 535781 h 1209675"/>
                <a:gd name="connsiteX46" fmla="*/ 1014412 w 1466850"/>
                <a:gd name="connsiteY46" fmla="*/ 447675 h 1209675"/>
                <a:gd name="connsiteX47" fmla="*/ 1038225 w 1466850"/>
                <a:gd name="connsiteY47" fmla="*/ 445294 h 1209675"/>
                <a:gd name="connsiteX48" fmla="*/ 1073944 w 1466850"/>
                <a:gd name="connsiteY48" fmla="*/ 476250 h 1209675"/>
                <a:gd name="connsiteX49" fmla="*/ 1112044 w 1466850"/>
                <a:gd name="connsiteY49" fmla="*/ 514350 h 1209675"/>
                <a:gd name="connsiteX50" fmla="*/ 1171575 w 1466850"/>
                <a:gd name="connsiteY50" fmla="*/ 540544 h 1209675"/>
                <a:gd name="connsiteX51" fmla="*/ 1219200 w 1466850"/>
                <a:gd name="connsiteY51" fmla="*/ 521494 h 1209675"/>
                <a:gd name="connsiteX52" fmla="*/ 1245394 w 1466850"/>
                <a:gd name="connsiteY52" fmla="*/ 502444 h 1209675"/>
                <a:gd name="connsiteX53" fmla="*/ 1278731 w 1466850"/>
                <a:gd name="connsiteY53" fmla="*/ 511969 h 1209675"/>
                <a:gd name="connsiteX54" fmla="*/ 1295400 w 1466850"/>
                <a:gd name="connsiteY54" fmla="*/ 531019 h 1209675"/>
                <a:gd name="connsiteX55" fmla="*/ 1273969 w 1466850"/>
                <a:gd name="connsiteY55" fmla="*/ 573881 h 1209675"/>
                <a:gd name="connsiteX56" fmla="*/ 1285875 w 1466850"/>
                <a:gd name="connsiteY56" fmla="*/ 611981 h 1209675"/>
                <a:gd name="connsiteX57" fmla="*/ 1300162 w 1466850"/>
                <a:gd name="connsiteY57" fmla="*/ 628650 h 1209675"/>
                <a:gd name="connsiteX58" fmla="*/ 1321594 w 1466850"/>
                <a:gd name="connsiteY58" fmla="*/ 666750 h 1209675"/>
                <a:gd name="connsiteX59" fmla="*/ 1347787 w 1466850"/>
                <a:gd name="connsiteY59" fmla="*/ 681037 h 1209675"/>
                <a:gd name="connsiteX60" fmla="*/ 1371600 w 1466850"/>
                <a:gd name="connsiteY60" fmla="*/ 681037 h 1209675"/>
                <a:gd name="connsiteX61" fmla="*/ 1376362 w 1466850"/>
                <a:gd name="connsiteY61" fmla="*/ 628650 h 1209675"/>
                <a:gd name="connsiteX62" fmla="*/ 1395412 w 1466850"/>
                <a:gd name="connsiteY62" fmla="*/ 578644 h 1209675"/>
                <a:gd name="connsiteX63" fmla="*/ 1426369 w 1466850"/>
                <a:gd name="connsiteY63" fmla="*/ 571500 h 1209675"/>
                <a:gd name="connsiteX64" fmla="*/ 1466850 w 1466850"/>
                <a:gd name="connsiteY64" fmla="*/ 552450 h 1209675"/>
                <a:gd name="connsiteX65" fmla="*/ 1443037 w 1466850"/>
                <a:gd name="connsiteY65" fmla="*/ 509587 h 1209675"/>
                <a:gd name="connsiteX66" fmla="*/ 1414462 w 1466850"/>
                <a:gd name="connsiteY66" fmla="*/ 464344 h 1209675"/>
                <a:gd name="connsiteX67" fmla="*/ 1388269 w 1466850"/>
                <a:gd name="connsiteY67" fmla="*/ 438150 h 1209675"/>
                <a:gd name="connsiteX68" fmla="*/ 1404937 w 1466850"/>
                <a:gd name="connsiteY68" fmla="*/ 400050 h 1209675"/>
                <a:gd name="connsiteX69" fmla="*/ 1404937 w 1466850"/>
                <a:gd name="connsiteY69" fmla="*/ 383381 h 1209675"/>
                <a:gd name="connsiteX70" fmla="*/ 1431131 w 1466850"/>
                <a:gd name="connsiteY70" fmla="*/ 338137 h 1209675"/>
                <a:gd name="connsiteX71" fmla="*/ 1419225 w 1466850"/>
                <a:gd name="connsiteY71" fmla="*/ 264319 h 1209675"/>
                <a:gd name="connsiteX72" fmla="*/ 1438275 w 1466850"/>
                <a:gd name="connsiteY72" fmla="*/ 202406 h 1209675"/>
                <a:gd name="connsiteX73" fmla="*/ 1435894 w 1466850"/>
                <a:gd name="connsiteY73" fmla="*/ 173831 h 1209675"/>
                <a:gd name="connsiteX74" fmla="*/ 1404937 w 1466850"/>
                <a:gd name="connsiteY74" fmla="*/ 164306 h 1209675"/>
                <a:gd name="connsiteX75" fmla="*/ 1364456 w 1466850"/>
                <a:gd name="connsiteY75" fmla="*/ 154781 h 1209675"/>
                <a:gd name="connsiteX76" fmla="*/ 1293019 w 1466850"/>
                <a:gd name="connsiteY76" fmla="*/ 154781 h 1209675"/>
                <a:gd name="connsiteX77" fmla="*/ 1233487 w 1466850"/>
                <a:gd name="connsiteY77" fmla="*/ 121444 h 1209675"/>
                <a:gd name="connsiteX78" fmla="*/ 1207294 w 1466850"/>
                <a:gd name="connsiteY78" fmla="*/ 114300 h 1209675"/>
                <a:gd name="connsiteX79" fmla="*/ 1188244 w 1466850"/>
                <a:gd name="connsiteY79" fmla="*/ 126206 h 1209675"/>
                <a:gd name="connsiteX80" fmla="*/ 1133475 w 1466850"/>
                <a:gd name="connsiteY80" fmla="*/ 188119 h 1209675"/>
                <a:gd name="connsiteX81" fmla="*/ 1116806 w 1466850"/>
                <a:gd name="connsiteY81" fmla="*/ 188119 h 1209675"/>
                <a:gd name="connsiteX82" fmla="*/ 1078706 w 1466850"/>
                <a:gd name="connsiteY82" fmla="*/ 142875 h 1209675"/>
                <a:gd name="connsiteX83" fmla="*/ 1054894 w 1466850"/>
                <a:gd name="connsiteY83" fmla="*/ 138112 h 1209675"/>
                <a:gd name="connsiteX84" fmla="*/ 997744 w 1466850"/>
                <a:gd name="connsiteY84" fmla="*/ 157162 h 1209675"/>
                <a:gd name="connsiteX85" fmla="*/ 973931 w 1466850"/>
                <a:gd name="connsiteY85" fmla="*/ 178594 h 1209675"/>
                <a:gd name="connsiteX86" fmla="*/ 928687 w 1466850"/>
                <a:gd name="connsiteY86" fmla="*/ 173831 h 1209675"/>
                <a:gd name="connsiteX87" fmla="*/ 878681 w 1466850"/>
                <a:gd name="connsiteY87" fmla="*/ 164306 h 1209675"/>
                <a:gd name="connsiteX88" fmla="*/ 864394 w 1466850"/>
                <a:gd name="connsiteY88" fmla="*/ 83344 h 1209675"/>
                <a:gd name="connsiteX89" fmla="*/ 845344 w 1466850"/>
                <a:gd name="connsiteY89" fmla="*/ 69056 h 1209675"/>
                <a:gd name="connsiteX90" fmla="*/ 747712 w 1466850"/>
                <a:gd name="connsiteY90" fmla="*/ 119062 h 1209675"/>
                <a:gd name="connsiteX91" fmla="*/ 721519 w 1466850"/>
                <a:gd name="connsiteY91" fmla="*/ 140494 h 1209675"/>
                <a:gd name="connsiteX92" fmla="*/ 709612 w 1466850"/>
                <a:gd name="connsiteY92" fmla="*/ 190500 h 1209675"/>
                <a:gd name="connsiteX93" fmla="*/ 707231 w 1466850"/>
                <a:gd name="connsiteY93" fmla="*/ 195262 h 1209675"/>
                <a:gd name="connsiteX94" fmla="*/ 654844 w 1466850"/>
                <a:gd name="connsiteY94" fmla="*/ 190500 h 1209675"/>
                <a:gd name="connsiteX95" fmla="*/ 633412 w 1466850"/>
                <a:gd name="connsiteY95" fmla="*/ 180975 h 1209675"/>
                <a:gd name="connsiteX96" fmla="*/ 614362 w 1466850"/>
                <a:gd name="connsiteY96" fmla="*/ 142875 h 1209675"/>
                <a:gd name="connsiteX97" fmla="*/ 590550 w 1466850"/>
                <a:gd name="connsiteY97" fmla="*/ 130969 h 1209675"/>
                <a:gd name="connsiteX98" fmla="*/ 540544 w 1466850"/>
                <a:gd name="connsiteY98" fmla="*/ 161925 h 1209675"/>
                <a:gd name="connsiteX99" fmla="*/ 507206 w 1466850"/>
                <a:gd name="connsiteY99" fmla="*/ 154781 h 1209675"/>
                <a:gd name="connsiteX100" fmla="*/ 495300 w 1466850"/>
                <a:gd name="connsiteY100" fmla="*/ 123825 h 1209675"/>
                <a:gd name="connsiteX101" fmla="*/ 490537 w 1466850"/>
                <a:gd name="connsiteY101" fmla="*/ 114300 h 1209675"/>
                <a:gd name="connsiteX102" fmla="*/ 431006 w 1466850"/>
                <a:gd name="connsiteY102" fmla="*/ 97631 h 1209675"/>
                <a:gd name="connsiteX103" fmla="*/ 442912 w 1466850"/>
                <a:gd name="connsiteY103" fmla="*/ 33337 h 1209675"/>
                <a:gd name="connsiteX104" fmla="*/ 423862 w 1466850"/>
                <a:gd name="connsiteY104" fmla="*/ 19050 h 1209675"/>
                <a:gd name="connsiteX105" fmla="*/ 335756 w 1466850"/>
                <a:gd name="connsiteY105" fmla="*/ 0 h 1209675"/>
                <a:gd name="connsiteX106" fmla="*/ 302419 w 1466850"/>
                <a:gd name="connsiteY106" fmla="*/ 35719 h 1209675"/>
                <a:gd name="connsiteX107" fmla="*/ 266700 w 1466850"/>
                <a:gd name="connsiteY107" fmla="*/ 50006 h 1209675"/>
                <a:gd name="connsiteX108" fmla="*/ 271462 w 1466850"/>
                <a:gd name="connsiteY108" fmla="*/ 95250 h 1209675"/>
                <a:gd name="connsiteX109" fmla="*/ 316706 w 1466850"/>
                <a:gd name="connsiteY109" fmla="*/ 121444 h 1209675"/>
                <a:gd name="connsiteX110" fmla="*/ 302419 w 1466850"/>
                <a:gd name="connsiteY110" fmla="*/ 145256 h 1209675"/>
                <a:gd name="connsiteX111" fmla="*/ 247650 w 1466850"/>
                <a:gd name="connsiteY111" fmla="*/ 159544 h 1209675"/>
                <a:gd name="connsiteX112" fmla="*/ 214312 w 1466850"/>
                <a:gd name="connsiteY112" fmla="*/ 216694 h 1209675"/>
                <a:gd name="connsiteX113" fmla="*/ 183356 w 1466850"/>
                <a:gd name="connsiteY113" fmla="*/ 221456 h 1209675"/>
                <a:gd name="connsiteX114" fmla="*/ 183356 w 1466850"/>
                <a:gd name="connsiteY114" fmla="*/ 254794 h 1209675"/>
                <a:gd name="connsiteX115" fmla="*/ 161925 w 1466850"/>
                <a:gd name="connsiteY115" fmla="*/ 304800 h 1209675"/>
                <a:gd name="connsiteX116" fmla="*/ 140494 w 1466850"/>
                <a:gd name="connsiteY116" fmla="*/ 323850 h 1209675"/>
                <a:gd name="connsiteX117" fmla="*/ 71439 w 1466850"/>
                <a:gd name="connsiteY117" fmla="*/ 300039 h 1209675"/>
                <a:gd name="connsiteX118" fmla="*/ 59530 w 1466850"/>
                <a:gd name="connsiteY118" fmla="*/ 302418 h 1209675"/>
                <a:gd name="connsiteX119" fmla="*/ 30956 w 1466850"/>
                <a:gd name="connsiteY119" fmla="*/ 295274 h 1209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1466850" h="1209675">
                  <a:moveTo>
                    <a:pt x="30956" y="295274"/>
                  </a:moveTo>
                  <a:lnTo>
                    <a:pt x="19050" y="381000"/>
                  </a:lnTo>
                  <a:lnTo>
                    <a:pt x="19050" y="397669"/>
                  </a:lnTo>
                  <a:lnTo>
                    <a:pt x="0" y="459581"/>
                  </a:lnTo>
                  <a:lnTo>
                    <a:pt x="7144" y="497681"/>
                  </a:lnTo>
                  <a:lnTo>
                    <a:pt x="9525" y="535781"/>
                  </a:lnTo>
                  <a:lnTo>
                    <a:pt x="19050" y="583406"/>
                  </a:lnTo>
                  <a:lnTo>
                    <a:pt x="23812" y="688181"/>
                  </a:lnTo>
                  <a:lnTo>
                    <a:pt x="35719" y="747712"/>
                  </a:lnTo>
                  <a:lnTo>
                    <a:pt x="40481" y="778669"/>
                  </a:lnTo>
                  <a:lnTo>
                    <a:pt x="47625" y="831056"/>
                  </a:lnTo>
                  <a:lnTo>
                    <a:pt x="38100" y="919162"/>
                  </a:lnTo>
                  <a:lnTo>
                    <a:pt x="78581" y="1028700"/>
                  </a:lnTo>
                  <a:lnTo>
                    <a:pt x="71437" y="1095375"/>
                  </a:lnTo>
                  <a:lnTo>
                    <a:pt x="88106" y="1164431"/>
                  </a:lnTo>
                  <a:lnTo>
                    <a:pt x="166687" y="1200149"/>
                  </a:lnTo>
                  <a:lnTo>
                    <a:pt x="202406" y="1209675"/>
                  </a:lnTo>
                  <a:lnTo>
                    <a:pt x="188119" y="1145381"/>
                  </a:lnTo>
                  <a:cubicBezTo>
                    <a:pt x="211137" y="1135063"/>
                    <a:pt x="224631" y="1110456"/>
                    <a:pt x="242887" y="1092994"/>
                  </a:cubicBezTo>
                  <a:lnTo>
                    <a:pt x="238125" y="1045369"/>
                  </a:lnTo>
                  <a:lnTo>
                    <a:pt x="230981" y="1035844"/>
                  </a:lnTo>
                  <a:lnTo>
                    <a:pt x="252412" y="1019175"/>
                  </a:lnTo>
                  <a:lnTo>
                    <a:pt x="314325" y="995362"/>
                  </a:lnTo>
                  <a:lnTo>
                    <a:pt x="311944" y="959644"/>
                  </a:lnTo>
                  <a:lnTo>
                    <a:pt x="326231" y="942975"/>
                  </a:lnTo>
                  <a:lnTo>
                    <a:pt x="452437" y="950119"/>
                  </a:lnTo>
                  <a:lnTo>
                    <a:pt x="464344" y="933450"/>
                  </a:lnTo>
                  <a:lnTo>
                    <a:pt x="476250" y="883444"/>
                  </a:lnTo>
                  <a:lnTo>
                    <a:pt x="488156" y="857250"/>
                  </a:lnTo>
                  <a:lnTo>
                    <a:pt x="526256" y="862012"/>
                  </a:lnTo>
                  <a:lnTo>
                    <a:pt x="545306" y="909637"/>
                  </a:lnTo>
                  <a:lnTo>
                    <a:pt x="566737" y="881062"/>
                  </a:lnTo>
                  <a:lnTo>
                    <a:pt x="621506" y="845344"/>
                  </a:lnTo>
                  <a:lnTo>
                    <a:pt x="709612" y="814387"/>
                  </a:lnTo>
                  <a:lnTo>
                    <a:pt x="716756" y="769144"/>
                  </a:lnTo>
                  <a:lnTo>
                    <a:pt x="742950" y="750094"/>
                  </a:lnTo>
                  <a:lnTo>
                    <a:pt x="785812" y="726281"/>
                  </a:lnTo>
                  <a:lnTo>
                    <a:pt x="800100" y="716756"/>
                  </a:lnTo>
                  <a:lnTo>
                    <a:pt x="862012" y="721519"/>
                  </a:lnTo>
                  <a:lnTo>
                    <a:pt x="883444" y="721519"/>
                  </a:lnTo>
                  <a:lnTo>
                    <a:pt x="892969" y="697706"/>
                  </a:lnTo>
                  <a:lnTo>
                    <a:pt x="892969" y="697706"/>
                  </a:lnTo>
                  <a:lnTo>
                    <a:pt x="921544" y="609600"/>
                  </a:lnTo>
                  <a:lnTo>
                    <a:pt x="909637" y="552450"/>
                  </a:lnTo>
                  <a:lnTo>
                    <a:pt x="928687" y="540544"/>
                  </a:lnTo>
                  <a:lnTo>
                    <a:pt x="973931" y="535781"/>
                  </a:lnTo>
                  <a:lnTo>
                    <a:pt x="1014412" y="447675"/>
                  </a:lnTo>
                  <a:lnTo>
                    <a:pt x="1038225" y="445294"/>
                  </a:lnTo>
                  <a:lnTo>
                    <a:pt x="1073944" y="476250"/>
                  </a:lnTo>
                  <a:lnTo>
                    <a:pt x="1112044" y="514350"/>
                  </a:lnTo>
                  <a:lnTo>
                    <a:pt x="1171575" y="540544"/>
                  </a:lnTo>
                  <a:lnTo>
                    <a:pt x="1219200" y="521494"/>
                  </a:lnTo>
                  <a:lnTo>
                    <a:pt x="1245394" y="502444"/>
                  </a:lnTo>
                  <a:lnTo>
                    <a:pt x="1278731" y="511969"/>
                  </a:lnTo>
                  <a:lnTo>
                    <a:pt x="1295400" y="531019"/>
                  </a:lnTo>
                  <a:lnTo>
                    <a:pt x="1273969" y="573881"/>
                  </a:lnTo>
                  <a:lnTo>
                    <a:pt x="1285875" y="611981"/>
                  </a:lnTo>
                  <a:lnTo>
                    <a:pt x="1300162" y="628650"/>
                  </a:lnTo>
                  <a:lnTo>
                    <a:pt x="1321594" y="666750"/>
                  </a:lnTo>
                  <a:lnTo>
                    <a:pt x="1347787" y="681037"/>
                  </a:lnTo>
                  <a:lnTo>
                    <a:pt x="1371600" y="681037"/>
                  </a:lnTo>
                  <a:lnTo>
                    <a:pt x="1376362" y="628650"/>
                  </a:lnTo>
                  <a:lnTo>
                    <a:pt x="1395412" y="578644"/>
                  </a:lnTo>
                  <a:lnTo>
                    <a:pt x="1426369" y="571500"/>
                  </a:lnTo>
                  <a:lnTo>
                    <a:pt x="1466850" y="552450"/>
                  </a:lnTo>
                  <a:lnTo>
                    <a:pt x="1443037" y="509587"/>
                  </a:lnTo>
                  <a:lnTo>
                    <a:pt x="1414462" y="464344"/>
                  </a:lnTo>
                  <a:lnTo>
                    <a:pt x="1388269" y="438150"/>
                  </a:lnTo>
                  <a:lnTo>
                    <a:pt x="1404937" y="400050"/>
                  </a:lnTo>
                  <a:lnTo>
                    <a:pt x="1404937" y="383381"/>
                  </a:lnTo>
                  <a:lnTo>
                    <a:pt x="1431131" y="338137"/>
                  </a:lnTo>
                  <a:lnTo>
                    <a:pt x="1419225" y="264319"/>
                  </a:lnTo>
                  <a:lnTo>
                    <a:pt x="1438275" y="202406"/>
                  </a:lnTo>
                  <a:lnTo>
                    <a:pt x="1435894" y="173831"/>
                  </a:lnTo>
                  <a:lnTo>
                    <a:pt x="1404937" y="164306"/>
                  </a:lnTo>
                  <a:lnTo>
                    <a:pt x="1364456" y="154781"/>
                  </a:lnTo>
                  <a:lnTo>
                    <a:pt x="1293019" y="154781"/>
                  </a:lnTo>
                  <a:lnTo>
                    <a:pt x="1233487" y="121444"/>
                  </a:lnTo>
                  <a:lnTo>
                    <a:pt x="1207294" y="114300"/>
                  </a:lnTo>
                  <a:lnTo>
                    <a:pt x="1188244" y="126206"/>
                  </a:lnTo>
                  <a:lnTo>
                    <a:pt x="1133475" y="188119"/>
                  </a:lnTo>
                  <a:lnTo>
                    <a:pt x="1116806" y="188119"/>
                  </a:lnTo>
                  <a:lnTo>
                    <a:pt x="1078706" y="142875"/>
                  </a:lnTo>
                  <a:lnTo>
                    <a:pt x="1054894" y="138112"/>
                  </a:lnTo>
                  <a:lnTo>
                    <a:pt x="997744" y="157162"/>
                  </a:lnTo>
                  <a:lnTo>
                    <a:pt x="973931" y="178594"/>
                  </a:lnTo>
                  <a:lnTo>
                    <a:pt x="928687" y="173831"/>
                  </a:lnTo>
                  <a:lnTo>
                    <a:pt x="878681" y="164306"/>
                  </a:lnTo>
                  <a:lnTo>
                    <a:pt x="864394" y="83344"/>
                  </a:lnTo>
                  <a:lnTo>
                    <a:pt x="845344" y="69056"/>
                  </a:lnTo>
                  <a:lnTo>
                    <a:pt x="747712" y="119062"/>
                  </a:lnTo>
                  <a:lnTo>
                    <a:pt x="721519" y="140494"/>
                  </a:lnTo>
                  <a:lnTo>
                    <a:pt x="709612" y="190500"/>
                  </a:lnTo>
                  <a:lnTo>
                    <a:pt x="707231" y="195262"/>
                  </a:lnTo>
                  <a:lnTo>
                    <a:pt x="654844" y="190500"/>
                  </a:lnTo>
                  <a:lnTo>
                    <a:pt x="633412" y="180975"/>
                  </a:lnTo>
                  <a:lnTo>
                    <a:pt x="614362" y="142875"/>
                  </a:lnTo>
                  <a:lnTo>
                    <a:pt x="590550" y="130969"/>
                  </a:lnTo>
                  <a:lnTo>
                    <a:pt x="540544" y="161925"/>
                  </a:lnTo>
                  <a:lnTo>
                    <a:pt x="507206" y="154781"/>
                  </a:lnTo>
                  <a:lnTo>
                    <a:pt x="495300" y="123825"/>
                  </a:lnTo>
                  <a:lnTo>
                    <a:pt x="490537" y="114300"/>
                  </a:lnTo>
                  <a:lnTo>
                    <a:pt x="431006" y="97631"/>
                  </a:lnTo>
                  <a:lnTo>
                    <a:pt x="442912" y="33337"/>
                  </a:lnTo>
                  <a:lnTo>
                    <a:pt x="423862" y="19050"/>
                  </a:lnTo>
                  <a:lnTo>
                    <a:pt x="335756" y="0"/>
                  </a:lnTo>
                  <a:lnTo>
                    <a:pt x="302419" y="35719"/>
                  </a:lnTo>
                  <a:lnTo>
                    <a:pt x="266700" y="50006"/>
                  </a:lnTo>
                  <a:lnTo>
                    <a:pt x="271462" y="95250"/>
                  </a:lnTo>
                  <a:lnTo>
                    <a:pt x="316706" y="121444"/>
                  </a:lnTo>
                  <a:lnTo>
                    <a:pt x="302419" y="145256"/>
                  </a:lnTo>
                  <a:lnTo>
                    <a:pt x="247650" y="159544"/>
                  </a:lnTo>
                  <a:lnTo>
                    <a:pt x="214312" y="216694"/>
                  </a:lnTo>
                  <a:lnTo>
                    <a:pt x="183356" y="221456"/>
                  </a:lnTo>
                  <a:lnTo>
                    <a:pt x="183356" y="254794"/>
                  </a:lnTo>
                  <a:lnTo>
                    <a:pt x="161925" y="304800"/>
                  </a:lnTo>
                  <a:lnTo>
                    <a:pt x="140494" y="323850"/>
                  </a:lnTo>
                  <a:lnTo>
                    <a:pt x="71439" y="300039"/>
                  </a:lnTo>
                  <a:lnTo>
                    <a:pt x="59530" y="302418"/>
                  </a:lnTo>
                  <a:lnTo>
                    <a:pt x="30956" y="295274"/>
                  </a:lnTo>
                  <a:close/>
                </a:path>
              </a:pathLst>
            </a:custGeom>
            <a:solidFill>
              <a:schemeClr val="bg1"/>
            </a:solidFill>
            <a:ln w="317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a:lstStyle/>
            <a:p>
              <a:pPr>
                <a:defRPr/>
              </a:pPr>
              <a:endParaRPr lang="en-GB"/>
            </a:p>
          </p:txBody>
        </p:sp>
        <p:sp>
          <p:nvSpPr>
            <p:cNvPr id="54" name="Freeform 53"/>
            <p:cNvSpPr/>
            <p:nvPr/>
          </p:nvSpPr>
          <p:spPr>
            <a:xfrm>
              <a:off x="4037410" y="3894684"/>
              <a:ext cx="1562100" cy="1309687"/>
            </a:xfrm>
            <a:custGeom>
              <a:avLst/>
              <a:gdLst>
                <a:gd name="connsiteX0" fmla="*/ 688181 w 1562100"/>
                <a:gd name="connsiteY0" fmla="*/ 1000125 h 1126331"/>
                <a:gd name="connsiteX1" fmla="*/ 688181 w 1562100"/>
                <a:gd name="connsiteY1" fmla="*/ 914400 h 1126331"/>
                <a:gd name="connsiteX2" fmla="*/ 692944 w 1562100"/>
                <a:gd name="connsiteY2" fmla="*/ 871537 h 1126331"/>
                <a:gd name="connsiteX3" fmla="*/ 692944 w 1562100"/>
                <a:gd name="connsiteY3" fmla="*/ 826294 h 1126331"/>
                <a:gd name="connsiteX4" fmla="*/ 676275 w 1562100"/>
                <a:gd name="connsiteY4" fmla="*/ 802481 h 1126331"/>
                <a:gd name="connsiteX5" fmla="*/ 690563 w 1562100"/>
                <a:gd name="connsiteY5" fmla="*/ 750094 h 1126331"/>
                <a:gd name="connsiteX6" fmla="*/ 685800 w 1562100"/>
                <a:gd name="connsiteY6" fmla="*/ 723900 h 1126331"/>
                <a:gd name="connsiteX7" fmla="*/ 697706 w 1562100"/>
                <a:gd name="connsiteY7" fmla="*/ 678656 h 1126331"/>
                <a:gd name="connsiteX8" fmla="*/ 714375 w 1562100"/>
                <a:gd name="connsiteY8" fmla="*/ 654844 h 1126331"/>
                <a:gd name="connsiteX9" fmla="*/ 721519 w 1562100"/>
                <a:gd name="connsiteY9" fmla="*/ 621506 h 1126331"/>
                <a:gd name="connsiteX10" fmla="*/ 735806 w 1562100"/>
                <a:gd name="connsiteY10" fmla="*/ 602456 h 1126331"/>
                <a:gd name="connsiteX11" fmla="*/ 792956 w 1562100"/>
                <a:gd name="connsiteY11" fmla="*/ 592931 h 1126331"/>
                <a:gd name="connsiteX12" fmla="*/ 838200 w 1562100"/>
                <a:gd name="connsiteY12" fmla="*/ 576262 h 1126331"/>
                <a:gd name="connsiteX13" fmla="*/ 876300 w 1562100"/>
                <a:gd name="connsiteY13" fmla="*/ 535781 h 1126331"/>
                <a:gd name="connsiteX14" fmla="*/ 923925 w 1562100"/>
                <a:gd name="connsiteY14" fmla="*/ 521494 h 1126331"/>
                <a:gd name="connsiteX15" fmla="*/ 995363 w 1562100"/>
                <a:gd name="connsiteY15" fmla="*/ 516731 h 1126331"/>
                <a:gd name="connsiteX16" fmla="*/ 1040606 w 1562100"/>
                <a:gd name="connsiteY16" fmla="*/ 507206 h 1126331"/>
                <a:gd name="connsiteX17" fmla="*/ 1119188 w 1562100"/>
                <a:gd name="connsiteY17" fmla="*/ 400050 h 1126331"/>
                <a:gd name="connsiteX18" fmla="*/ 1126331 w 1562100"/>
                <a:gd name="connsiteY18" fmla="*/ 366712 h 1126331"/>
                <a:gd name="connsiteX19" fmla="*/ 1152525 w 1562100"/>
                <a:gd name="connsiteY19" fmla="*/ 338137 h 1126331"/>
                <a:gd name="connsiteX20" fmla="*/ 1197769 w 1562100"/>
                <a:gd name="connsiteY20" fmla="*/ 328612 h 1126331"/>
                <a:gd name="connsiteX21" fmla="*/ 1290638 w 1562100"/>
                <a:gd name="connsiteY21" fmla="*/ 252412 h 1126331"/>
                <a:gd name="connsiteX22" fmla="*/ 1314450 w 1562100"/>
                <a:gd name="connsiteY22" fmla="*/ 250031 h 1126331"/>
                <a:gd name="connsiteX23" fmla="*/ 1409700 w 1562100"/>
                <a:gd name="connsiteY23" fmla="*/ 169069 h 1126331"/>
                <a:gd name="connsiteX24" fmla="*/ 1414463 w 1562100"/>
                <a:gd name="connsiteY24" fmla="*/ 150019 h 1126331"/>
                <a:gd name="connsiteX25" fmla="*/ 1507331 w 1562100"/>
                <a:gd name="connsiteY25" fmla="*/ 95250 h 1126331"/>
                <a:gd name="connsiteX26" fmla="*/ 1543050 w 1562100"/>
                <a:gd name="connsiteY26" fmla="*/ 50006 h 1126331"/>
                <a:gd name="connsiteX27" fmla="*/ 1562100 w 1562100"/>
                <a:gd name="connsiteY27" fmla="*/ 11906 h 1126331"/>
                <a:gd name="connsiteX28" fmla="*/ 1512094 w 1562100"/>
                <a:gd name="connsiteY28" fmla="*/ 30956 h 1126331"/>
                <a:gd name="connsiteX29" fmla="*/ 1478756 w 1562100"/>
                <a:gd name="connsiteY29" fmla="*/ 30956 h 1126331"/>
                <a:gd name="connsiteX30" fmla="*/ 1452563 w 1562100"/>
                <a:gd name="connsiteY30" fmla="*/ 69056 h 1126331"/>
                <a:gd name="connsiteX31" fmla="*/ 1421606 w 1562100"/>
                <a:gd name="connsiteY31" fmla="*/ 66675 h 1126331"/>
                <a:gd name="connsiteX32" fmla="*/ 1366838 w 1562100"/>
                <a:gd name="connsiteY32" fmla="*/ 35719 h 1126331"/>
                <a:gd name="connsiteX33" fmla="*/ 1323975 w 1562100"/>
                <a:gd name="connsiteY33" fmla="*/ 23812 h 1126331"/>
                <a:gd name="connsiteX34" fmla="*/ 1238250 w 1562100"/>
                <a:gd name="connsiteY34" fmla="*/ 59531 h 1126331"/>
                <a:gd name="connsiteX35" fmla="*/ 1223963 w 1562100"/>
                <a:gd name="connsiteY35" fmla="*/ 97631 h 1126331"/>
                <a:gd name="connsiteX36" fmla="*/ 1195388 w 1562100"/>
                <a:gd name="connsiteY36" fmla="*/ 154781 h 1126331"/>
                <a:gd name="connsiteX37" fmla="*/ 1109663 w 1562100"/>
                <a:gd name="connsiteY37" fmla="*/ 116681 h 1126331"/>
                <a:gd name="connsiteX38" fmla="*/ 1097756 w 1562100"/>
                <a:gd name="connsiteY38" fmla="*/ 159544 h 1126331"/>
                <a:gd name="connsiteX39" fmla="*/ 1083469 w 1562100"/>
                <a:gd name="connsiteY39" fmla="*/ 192881 h 1126331"/>
                <a:gd name="connsiteX40" fmla="*/ 959644 w 1562100"/>
                <a:gd name="connsiteY40" fmla="*/ 223837 h 1126331"/>
                <a:gd name="connsiteX41" fmla="*/ 945356 w 1562100"/>
                <a:gd name="connsiteY41" fmla="*/ 219075 h 1126331"/>
                <a:gd name="connsiteX42" fmla="*/ 926306 w 1562100"/>
                <a:gd name="connsiteY42" fmla="*/ 240506 h 1126331"/>
                <a:gd name="connsiteX43" fmla="*/ 890588 w 1562100"/>
                <a:gd name="connsiteY43" fmla="*/ 247650 h 1126331"/>
                <a:gd name="connsiteX44" fmla="*/ 854869 w 1562100"/>
                <a:gd name="connsiteY44" fmla="*/ 197644 h 1126331"/>
                <a:gd name="connsiteX45" fmla="*/ 835819 w 1562100"/>
                <a:gd name="connsiteY45" fmla="*/ 185737 h 1126331"/>
                <a:gd name="connsiteX46" fmla="*/ 826294 w 1562100"/>
                <a:gd name="connsiteY46" fmla="*/ 140494 h 1126331"/>
                <a:gd name="connsiteX47" fmla="*/ 792956 w 1562100"/>
                <a:gd name="connsiteY47" fmla="*/ 123825 h 1126331"/>
                <a:gd name="connsiteX48" fmla="*/ 759619 w 1562100"/>
                <a:gd name="connsiteY48" fmla="*/ 116681 h 1126331"/>
                <a:gd name="connsiteX49" fmla="*/ 740569 w 1562100"/>
                <a:gd name="connsiteY49" fmla="*/ 111919 h 1126331"/>
                <a:gd name="connsiteX50" fmla="*/ 728663 w 1562100"/>
                <a:gd name="connsiteY50" fmla="*/ 102394 h 1126331"/>
                <a:gd name="connsiteX51" fmla="*/ 735806 w 1562100"/>
                <a:gd name="connsiteY51" fmla="*/ 76200 h 1126331"/>
                <a:gd name="connsiteX52" fmla="*/ 742950 w 1562100"/>
                <a:gd name="connsiteY52" fmla="*/ 52387 h 1126331"/>
                <a:gd name="connsiteX53" fmla="*/ 700088 w 1562100"/>
                <a:gd name="connsiteY53" fmla="*/ 2381 h 1126331"/>
                <a:gd name="connsiteX54" fmla="*/ 328613 w 1562100"/>
                <a:gd name="connsiteY54" fmla="*/ 0 h 1126331"/>
                <a:gd name="connsiteX55" fmla="*/ 292894 w 1562100"/>
                <a:gd name="connsiteY55" fmla="*/ 102394 h 1126331"/>
                <a:gd name="connsiteX56" fmla="*/ 264319 w 1562100"/>
                <a:gd name="connsiteY56" fmla="*/ 109537 h 1126331"/>
                <a:gd name="connsiteX57" fmla="*/ 261938 w 1562100"/>
                <a:gd name="connsiteY57" fmla="*/ 123825 h 1126331"/>
                <a:gd name="connsiteX58" fmla="*/ 261938 w 1562100"/>
                <a:gd name="connsiteY58" fmla="*/ 157162 h 1126331"/>
                <a:gd name="connsiteX59" fmla="*/ 228600 w 1562100"/>
                <a:gd name="connsiteY59" fmla="*/ 200025 h 1126331"/>
                <a:gd name="connsiteX60" fmla="*/ 271463 w 1562100"/>
                <a:gd name="connsiteY60" fmla="*/ 216694 h 1126331"/>
                <a:gd name="connsiteX61" fmla="*/ 278606 w 1562100"/>
                <a:gd name="connsiteY61" fmla="*/ 235744 h 1126331"/>
                <a:gd name="connsiteX62" fmla="*/ 257175 w 1562100"/>
                <a:gd name="connsiteY62" fmla="*/ 271462 h 1126331"/>
                <a:gd name="connsiteX63" fmla="*/ 221456 w 1562100"/>
                <a:gd name="connsiteY63" fmla="*/ 280987 h 1126331"/>
                <a:gd name="connsiteX64" fmla="*/ 221456 w 1562100"/>
                <a:gd name="connsiteY64" fmla="*/ 321469 h 1126331"/>
                <a:gd name="connsiteX65" fmla="*/ 254794 w 1562100"/>
                <a:gd name="connsiteY65" fmla="*/ 359569 h 1126331"/>
                <a:gd name="connsiteX66" fmla="*/ 226219 w 1562100"/>
                <a:gd name="connsiteY66" fmla="*/ 423862 h 1126331"/>
                <a:gd name="connsiteX67" fmla="*/ 180975 w 1562100"/>
                <a:gd name="connsiteY67" fmla="*/ 452437 h 1126331"/>
                <a:gd name="connsiteX68" fmla="*/ 183356 w 1562100"/>
                <a:gd name="connsiteY68" fmla="*/ 469106 h 1126331"/>
                <a:gd name="connsiteX69" fmla="*/ 204788 w 1562100"/>
                <a:gd name="connsiteY69" fmla="*/ 478631 h 1126331"/>
                <a:gd name="connsiteX70" fmla="*/ 219075 w 1562100"/>
                <a:gd name="connsiteY70" fmla="*/ 488156 h 1126331"/>
                <a:gd name="connsiteX71" fmla="*/ 223838 w 1562100"/>
                <a:gd name="connsiteY71" fmla="*/ 507206 h 1126331"/>
                <a:gd name="connsiteX72" fmla="*/ 195263 w 1562100"/>
                <a:gd name="connsiteY72" fmla="*/ 533400 h 1126331"/>
                <a:gd name="connsiteX73" fmla="*/ 123825 w 1562100"/>
                <a:gd name="connsiteY73" fmla="*/ 578644 h 1126331"/>
                <a:gd name="connsiteX74" fmla="*/ 123825 w 1562100"/>
                <a:gd name="connsiteY74" fmla="*/ 614362 h 1126331"/>
                <a:gd name="connsiteX75" fmla="*/ 135731 w 1562100"/>
                <a:gd name="connsiteY75" fmla="*/ 645319 h 1126331"/>
                <a:gd name="connsiteX76" fmla="*/ 123825 w 1562100"/>
                <a:gd name="connsiteY76" fmla="*/ 685800 h 1126331"/>
                <a:gd name="connsiteX77" fmla="*/ 76200 w 1562100"/>
                <a:gd name="connsiteY77" fmla="*/ 681037 h 1126331"/>
                <a:gd name="connsiteX78" fmla="*/ 52388 w 1562100"/>
                <a:gd name="connsiteY78" fmla="*/ 626269 h 1126331"/>
                <a:gd name="connsiteX79" fmla="*/ 33338 w 1562100"/>
                <a:gd name="connsiteY79" fmla="*/ 619125 h 1126331"/>
                <a:gd name="connsiteX80" fmla="*/ 23813 w 1562100"/>
                <a:gd name="connsiteY80" fmla="*/ 657225 h 1126331"/>
                <a:gd name="connsiteX81" fmla="*/ 21431 w 1562100"/>
                <a:gd name="connsiteY81" fmla="*/ 666750 h 1126331"/>
                <a:gd name="connsiteX82" fmla="*/ 7144 w 1562100"/>
                <a:gd name="connsiteY82" fmla="*/ 683419 h 1126331"/>
                <a:gd name="connsiteX83" fmla="*/ 0 w 1562100"/>
                <a:gd name="connsiteY83" fmla="*/ 740569 h 1126331"/>
                <a:gd name="connsiteX84" fmla="*/ 23813 w 1562100"/>
                <a:gd name="connsiteY84" fmla="*/ 769144 h 1126331"/>
                <a:gd name="connsiteX85" fmla="*/ 16669 w 1562100"/>
                <a:gd name="connsiteY85" fmla="*/ 809625 h 1126331"/>
                <a:gd name="connsiteX86" fmla="*/ 35719 w 1562100"/>
                <a:gd name="connsiteY86" fmla="*/ 814387 h 1126331"/>
                <a:gd name="connsiteX87" fmla="*/ 69056 w 1562100"/>
                <a:gd name="connsiteY87" fmla="*/ 814387 h 1126331"/>
                <a:gd name="connsiteX88" fmla="*/ 85725 w 1562100"/>
                <a:gd name="connsiteY88" fmla="*/ 804862 h 1126331"/>
                <a:gd name="connsiteX89" fmla="*/ 135731 w 1562100"/>
                <a:gd name="connsiteY89" fmla="*/ 862012 h 1126331"/>
                <a:gd name="connsiteX90" fmla="*/ 123825 w 1562100"/>
                <a:gd name="connsiteY90" fmla="*/ 881062 h 1126331"/>
                <a:gd name="connsiteX91" fmla="*/ 133350 w 1562100"/>
                <a:gd name="connsiteY91" fmla="*/ 909637 h 1126331"/>
                <a:gd name="connsiteX92" fmla="*/ 164306 w 1562100"/>
                <a:gd name="connsiteY92" fmla="*/ 928687 h 1126331"/>
                <a:gd name="connsiteX93" fmla="*/ 190500 w 1562100"/>
                <a:gd name="connsiteY93" fmla="*/ 938212 h 1126331"/>
                <a:gd name="connsiteX94" fmla="*/ 216694 w 1562100"/>
                <a:gd name="connsiteY94" fmla="*/ 945356 h 1126331"/>
                <a:gd name="connsiteX95" fmla="*/ 228600 w 1562100"/>
                <a:gd name="connsiteY95" fmla="*/ 947737 h 1126331"/>
                <a:gd name="connsiteX96" fmla="*/ 240506 w 1562100"/>
                <a:gd name="connsiteY96" fmla="*/ 909637 h 1126331"/>
                <a:gd name="connsiteX97" fmla="*/ 269081 w 1562100"/>
                <a:gd name="connsiteY97" fmla="*/ 914400 h 1126331"/>
                <a:gd name="connsiteX98" fmla="*/ 288131 w 1562100"/>
                <a:gd name="connsiteY98" fmla="*/ 902494 h 1126331"/>
                <a:gd name="connsiteX99" fmla="*/ 307181 w 1562100"/>
                <a:gd name="connsiteY99" fmla="*/ 952500 h 1126331"/>
                <a:gd name="connsiteX100" fmla="*/ 330994 w 1562100"/>
                <a:gd name="connsiteY100" fmla="*/ 966787 h 1126331"/>
                <a:gd name="connsiteX101" fmla="*/ 340519 w 1562100"/>
                <a:gd name="connsiteY101" fmla="*/ 995362 h 1126331"/>
                <a:gd name="connsiteX102" fmla="*/ 357188 w 1562100"/>
                <a:gd name="connsiteY102" fmla="*/ 1004887 h 1126331"/>
                <a:gd name="connsiteX103" fmla="*/ 364331 w 1562100"/>
                <a:gd name="connsiteY103" fmla="*/ 1035844 h 1126331"/>
                <a:gd name="connsiteX104" fmla="*/ 335756 w 1562100"/>
                <a:gd name="connsiteY104" fmla="*/ 1062037 h 1126331"/>
                <a:gd name="connsiteX105" fmla="*/ 309563 w 1562100"/>
                <a:gd name="connsiteY105" fmla="*/ 1078706 h 1126331"/>
                <a:gd name="connsiteX106" fmla="*/ 297656 w 1562100"/>
                <a:gd name="connsiteY106" fmla="*/ 1102519 h 1126331"/>
                <a:gd name="connsiteX107" fmla="*/ 302419 w 1562100"/>
                <a:gd name="connsiteY107" fmla="*/ 1126331 h 1126331"/>
                <a:gd name="connsiteX108" fmla="*/ 342900 w 1562100"/>
                <a:gd name="connsiteY108" fmla="*/ 1126331 h 1126331"/>
                <a:gd name="connsiteX109" fmla="*/ 390525 w 1562100"/>
                <a:gd name="connsiteY109" fmla="*/ 1121569 h 1126331"/>
                <a:gd name="connsiteX110" fmla="*/ 428625 w 1562100"/>
                <a:gd name="connsiteY110" fmla="*/ 1112044 h 1126331"/>
                <a:gd name="connsiteX111" fmla="*/ 454819 w 1562100"/>
                <a:gd name="connsiteY111" fmla="*/ 1119187 h 1126331"/>
                <a:gd name="connsiteX112" fmla="*/ 473869 w 1562100"/>
                <a:gd name="connsiteY112" fmla="*/ 1097756 h 1126331"/>
                <a:gd name="connsiteX113" fmla="*/ 492919 w 1562100"/>
                <a:gd name="connsiteY113" fmla="*/ 1097756 h 1126331"/>
                <a:gd name="connsiteX114" fmla="*/ 507206 w 1562100"/>
                <a:gd name="connsiteY114" fmla="*/ 1066800 h 1126331"/>
                <a:gd name="connsiteX115" fmla="*/ 557213 w 1562100"/>
                <a:gd name="connsiteY115" fmla="*/ 1052512 h 1126331"/>
                <a:gd name="connsiteX116" fmla="*/ 583406 w 1562100"/>
                <a:gd name="connsiteY116" fmla="*/ 1033462 h 1126331"/>
                <a:gd name="connsiteX117" fmla="*/ 590550 w 1562100"/>
                <a:gd name="connsiteY117" fmla="*/ 995362 h 1126331"/>
                <a:gd name="connsiteX118" fmla="*/ 607219 w 1562100"/>
                <a:gd name="connsiteY118" fmla="*/ 969169 h 1126331"/>
                <a:gd name="connsiteX119" fmla="*/ 688181 w 1562100"/>
                <a:gd name="connsiteY119" fmla="*/ 1000125 h 1126331"/>
                <a:gd name="connsiteX0" fmla="*/ 688181 w 1562100"/>
                <a:gd name="connsiteY0" fmla="*/ 1000125 h 1126331"/>
                <a:gd name="connsiteX1" fmla="*/ 688181 w 1562100"/>
                <a:gd name="connsiteY1" fmla="*/ 914400 h 1126331"/>
                <a:gd name="connsiteX2" fmla="*/ 692944 w 1562100"/>
                <a:gd name="connsiteY2" fmla="*/ 871537 h 1126331"/>
                <a:gd name="connsiteX3" fmla="*/ 692944 w 1562100"/>
                <a:gd name="connsiteY3" fmla="*/ 826294 h 1126331"/>
                <a:gd name="connsiteX4" fmla="*/ 676275 w 1562100"/>
                <a:gd name="connsiteY4" fmla="*/ 802481 h 1126331"/>
                <a:gd name="connsiteX5" fmla="*/ 690563 w 1562100"/>
                <a:gd name="connsiteY5" fmla="*/ 750094 h 1126331"/>
                <a:gd name="connsiteX6" fmla="*/ 685800 w 1562100"/>
                <a:gd name="connsiteY6" fmla="*/ 723900 h 1126331"/>
                <a:gd name="connsiteX7" fmla="*/ 697706 w 1562100"/>
                <a:gd name="connsiteY7" fmla="*/ 678656 h 1126331"/>
                <a:gd name="connsiteX8" fmla="*/ 714375 w 1562100"/>
                <a:gd name="connsiteY8" fmla="*/ 654844 h 1126331"/>
                <a:gd name="connsiteX9" fmla="*/ 721519 w 1562100"/>
                <a:gd name="connsiteY9" fmla="*/ 621506 h 1126331"/>
                <a:gd name="connsiteX10" fmla="*/ 735806 w 1562100"/>
                <a:gd name="connsiteY10" fmla="*/ 602456 h 1126331"/>
                <a:gd name="connsiteX11" fmla="*/ 792956 w 1562100"/>
                <a:gd name="connsiteY11" fmla="*/ 592931 h 1126331"/>
                <a:gd name="connsiteX12" fmla="*/ 838200 w 1562100"/>
                <a:gd name="connsiteY12" fmla="*/ 576262 h 1126331"/>
                <a:gd name="connsiteX13" fmla="*/ 876300 w 1562100"/>
                <a:gd name="connsiteY13" fmla="*/ 535781 h 1126331"/>
                <a:gd name="connsiteX14" fmla="*/ 923925 w 1562100"/>
                <a:gd name="connsiteY14" fmla="*/ 521494 h 1126331"/>
                <a:gd name="connsiteX15" fmla="*/ 995363 w 1562100"/>
                <a:gd name="connsiteY15" fmla="*/ 516731 h 1126331"/>
                <a:gd name="connsiteX16" fmla="*/ 1040606 w 1562100"/>
                <a:gd name="connsiteY16" fmla="*/ 507206 h 1126331"/>
                <a:gd name="connsiteX17" fmla="*/ 1119188 w 1562100"/>
                <a:gd name="connsiteY17" fmla="*/ 400050 h 1126331"/>
                <a:gd name="connsiteX18" fmla="*/ 1126331 w 1562100"/>
                <a:gd name="connsiteY18" fmla="*/ 366712 h 1126331"/>
                <a:gd name="connsiteX19" fmla="*/ 1152525 w 1562100"/>
                <a:gd name="connsiteY19" fmla="*/ 338137 h 1126331"/>
                <a:gd name="connsiteX20" fmla="*/ 1197769 w 1562100"/>
                <a:gd name="connsiteY20" fmla="*/ 328612 h 1126331"/>
                <a:gd name="connsiteX21" fmla="*/ 1290638 w 1562100"/>
                <a:gd name="connsiteY21" fmla="*/ 252412 h 1126331"/>
                <a:gd name="connsiteX22" fmla="*/ 1314450 w 1562100"/>
                <a:gd name="connsiteY22" fmla="*/ 250031 h 1126331"/>
                <a:gd name="connsiteX23" fmla="*/ 1409700 w 1562100"/>
                <a:gd name="connsiteY23" fmla="*/ 169069 h 1126331"/>
                <a:gd name="connsiteX24" fmla="*/ 1414463 w 1562100"/>
                <a:gd name="connsiteY24" fmla="*/ 150019 h 1126331"/>
                <a:gd name="connsiteX25" fmla="*/ 1507331 w 1562100"/>
                <a:gd name="connsiteY25" fmla="*/ 95250 h 1126331"/>
                <a:gd name="connsiteX26" fmla="*/ 1543050 w 1562100"/>
                <a:gd name="connsiteY26" fmla="*/ 50006 h 1126331"/>
                <a:gd name="connsiteX27" fmla="*/ 1562100 w 1562100"/>
                <a:gd name="connsiteY27" fmla="*/ 11906 h 1126331"/>
                <a:gd name="connsiteX28" fmla="*/ 1512094 w 1562100"/>
                <a:gd name="connsiteY28" fmla="*/ 30956 h 1126331"/>
                <a:gd name="connsiteX29" fmla="*/ 1478756 w 1562100"/>
                <a:gd name="connsiteY29" fmla="*/ 30956 h 1126331"/>
                <a:gd name="connsiteX30" fmla="*/ 1452563 w 1562100"/>
                <a:gd name="connsiteY30" fmla="*/ 69056 h 1126331"/>
                <a:gd name="connsiteX31" fmla="*/ 1421606 w 1562100"/>
                <a:gd name="connsiteY31" fmla="*/ 66675 h 1126331"/>
                <a:gd name="connsiteX32" fmla="*/ 1366838 w 1562100"/>
                <a:gd name="connsiteY32" fmla="*/ 35719 h 1126331"/>
                <a:gd name="connsiteX33" fmla="*/ 1323975 w 1562100"/>
                <a:gd name="connsiteY33" fmla="*/ 23812 h 1126331"/>
                <a:gd name="connsiteX34" fmla="*/ 1238250 w 1562100"/>
                <a:gd name="connsiteY34" fmla="*/ 59531 h 1126331"/>
                <a:gd name="connsiteX35" fmla="*/ 1223963 w 1562100"/>
                <a:gd name="connsiteY35" fmla="*/ 97631 h 1126331"/>
                <a:gd name="connsiteX36" fmla="*/ 1195388 w 1562100"/>
                <a:gd name="connsiteY36" fmla="*/ 154781 h 1126331"/>
                <a:gd name="connsiteX37" fmla="*/ 1109663 w 1562100"/>
                <a:gd name="connsiteY37" fmla="*/ 116681 h 1126331"/>
                <a:gd name="connsiteX38" fmla="*/ 1097756 w 1562100"/>
                <a:gd name="connsiteY38" fmla="*/ 159544 h 1126331"/>
                <a:gd name="connsiteX39" fmla="*/ 1083469 w 1562100"/>
                <a:gd name="connsiteY39" fmla="*/ 192881 h 1126331"/>
                <a:gd name="connsiteX40" fmla="*/ 959644 w 1562100"/>
                <a:gd name="connsiteY40" fmla="*/ 223837 h 1126331"/>
                <a:gd name="connsiteX41" fmla="*/ 945356 w 1562100"/>
                <a:gd name="connsiteY41" fmla="*/ 219075 h 1126331"/>
                <a:gd name="connsiteX42" fmla="*/ 926306 w 1562100"/>
                <a:gd name="connsiteY42" fmla="*/ 240506 h 1126331"/>
                <a:gd name="connsiteX43" fmla="*/ 890588 w 1562100"/>
                <a:gd name="connsiteY43" fmla="*/ 247650 h 1126331"/>
                <a:gd name="connsiteX44" fmla="*/ 854869 w 1562100"/>
                <a:gd name="connsiteY44" fmla="*/ 197644 h 1126331"/>
                <a:gd name="connsiteX45" fmla="*/ 835819 w 1562100"/>
                <a:gd name="connsiteY45" fmla="*/ 185737 h 1126331"/>
                <a:gd name="connsiteX46" fmla="*/ 826294 w 1562100"/>
                <a:gd name="connsiteY46" fmla="*/ 140494 h 1126331"/>
                <a:gd name="connsiteX47" fmla="*/ 792956 w 1562100"/>
                <a:gd name="connsiteY47" fmla="*/ 123825 h 1126331"/>
                <a:gd name="connsiteX48" fmla="*/ 759619 w 1562100"/>
                <a:gd name="connsiteY48" fmla="*/ 116681 h 1126331"/>
                <a:gd name="connsiteX49" fmla="*/ 740569 w 1562100"/>
                <a:gd name="connsiteY49" fmla="*/ 111919 h 1126331"/>
                <a:gd name="connsiteX50" fmla="*/ 728663 w 1562100"/>
                <a:gd name="connsiteY50" fmla="*/ 102394 h 1126331"/>
                <a:gd name="connsiteX51" fmla="*/ 735806 w 1562100"/>
                <a:gd name="connsiteY51" fmla="*/ 76200 h 1126331"/>
                <a:gd name="connsiteX52" fmla="*/ 742950 w 1562100"/>
                <a:gd name="connsiteY52" fmla="*/ 52387 h 1126331"/>
                <a:gd name="connsiteX53" fmla="*/ 700088 w 1562100"/>
                <a:gd name="connsiteY53" fmla="*/ 2381 h 1126331"/>
                <a:gd name="connsiteX54" fmla="*/ 378619 w 1562100"/>
                <a:gd name="connsiteY54" fmla="*/ 2381 h 1126331"/>
                <a:gd name="connsiteX55" fmla="*/ 328613 w 1562100"/>
                <a:gd name="connsiteY55" fmla="*/ 0 h 1126331"/>
                <a:gd name="connsiteX56" fmla="*/ 292894 w 1562100"/>
                <a:gd name="connsiteY56" fmla="*/ 102394 h 1126331"/>
                <a:gd name="connsiteX57" fmla="*/ 264319 w 1562100"/>
                <a:gd name="connsiteY57" fmla="*/ 109537 h 1126331"/>
                <a:gd name="connsiteX58" fmla="*/ 261938 w 1562100"/>
                <a:gd name="connsiteY58" fmla="*/ 123825 h 1126331"/>
                <a:gd name="connsiteX59" fmla="*/ 261938 w 1562100"/>
                <a:gd name="connsiteY59" fmla="*/ 157162 h 1126331"/>
                <a:gd name="connsiteX60" fmla="*/ 228600 w 1562100"/>
                <a:gd name="connsiteY60" fmla="*/ 200025 h 1126331"/>
                <a:gd name="connsiteX61" fmla="*/ 271463 w 1562100"/>
                <a:gd name="connsiteY61" fmla="*/ 216694 h 1126331"/>
                <a:gd name="connsiteX62" fmla="*/ 278606 w 1562100"/>
                <a:gd name="connsiteY62" fmla="*/ 235744 h 1126331"/>
                <a:gd name="connsiteX63" fmla="*/ 257175 w 1562100"/>
                <a:gd name="connsiteY63" fmla="*/ 271462 h 1126331"/>
                <a:gd name="connsiteX64" fmla="*/ 221456 w 1562100"/>
                <a:gd name="connsiteY64" fmla="*/ 280987 h 1126331"/>
                <a:gd name="connsiteX65" fmla="*/ 221456 w 1562100"/>
                <a:gd name="connsiteY65" fmla="*/ 321469 h 1126331"/>
                <a:gd name="connsiteX66" fmla="*/ 254794 w 1562100"/>
                <a:gd name="connsiteY66" fmla="*/ 359569 h 1126331"/>
                <a:gd name="connsiteX67" fmla="*/ 226219 w 1562100"/>
                <a:gd name="connsiteY67" fmla="*/ 423862 h 1126331"/>
                <a:gd name="connsiteX68" fmla="*/ 180975 w 1562100"/>
                <a:gd name="connsiteY68" fmla="*/ 452437 h 1126331"/>
                <a:gd name="connsiteX69" fmla="*/ 183356 w 1562100"/>
                <a:gd name="connsiteY69" fmla="*/ 469106 h 1126331"/>
                <a:gd name="connsiteX70" fmla="*/ 204788 w 1562100"/>
                <a:gd name="connsiteY70" fmla="*/ 478631 h 1126331"/>
                <a:gd name="connsiteX71" fmla="*/ 219075 w 1562100"/>
                <a:gd name="connsiteY71" fmla="*/ 488156 h 1126331"/>
                <a:gd name="connsiteX72" fmla="*/ 223838 w 1562100"/>
                <a:gd name="connsiteY72" fmla="*/ 507206 h 1126331"/>
                <a:gd name="connsiteX73" fmla="*/ 195263 w 1562100"/>
                <a:gd name="connsiteY73" fmla="*/ 533400 h 1126331"/>
                <a:gd name="connsiteX74" fmla="*/ 123825 w 1562100"/>
                <a:gd name="connsiteY74" fmla="*/ 578644 h 1126331"/>
                <a:gd name="connsiteX75" fmla="*/ 123825 w 1562100"/>
                <a:gd name="connsiteY75" fmla="*/ 614362 h 1126331"/>
                <a:gd name="connsiteX76" fmla="*/ 135731 w 1562100"/>
                <a:gd name="connsiteY76" fmla="*/ 645319 h 1126331"/>
                <a:gd name="connsiteX77" fmla="*/ 123825 w 1562100"/>
                <a:gd name="connsiteY77" fmla="*/ 685800 h 1126331"/>
                <a:gd name="connsiteX78" fmla="*/ 76200 w 1562100"/>
                <a:gd name="connsiteY78" fmla="*/ 681037 h 1126331"/>
                <a:gd name="connsiteX79" fmla="*/ 52388 w 1562100"/>
                <a:gd name="connsiteY79" fmla="*/ 626269 h 1126331"/>
                <a:gd name="connsiteX80" fmla="*/ 33338 w 1562100"/>
                <a:gd name="connsiteY80" fmla="*/ 619125 h 1126331"/>
                <a:gd name="connsiteX81" fmla="*/ 23813 w 1562100"/>
                <a:gd name="connsiteY81" fmla="*/ 657225 h 1126331"/>
                <a:gd name="connsiteX82" fmla="*/ 21431 w 1562100"/>
                <a:gd name="connsiteY82" fmla="*/ 666750 h 1126331"/>
                <a:gd name="connsiteX83" fmla="*/ 7144 w 1562100"/>
                <a:gd name="connsiteY83" fmla="*/ 683419 h 1126331"/>
                <a:gd name="connsiteX84" fmla="*/ 0 w 1562100"/>
                <a:gd name="connsiteY84" fmla="*/ 740569 h 1126331"/>
                <a:gd name="connsiteX85" fmla="*/ 23813 w 1562100"/>
                <a:gd name="connsiteY85" fmla="*/ 769144 h 1126331"/>
                <a:gd name="connsiteX86" fmla="*/ 16669 w 1562100"/>
                <a:gd name="connsiteY86" fmla="*/ 809625 h 1126331"/>
                <a:gd name="connsiteX87" fmla="*/ 35719 w 1562100"/>
                <a:gd name="connsiteY87" fmla="*/ 814387 h 1126331"/>
                <a:gd name="connsiteX88" fmla="*/ 69056 w 1562100"/>
                <a:gd name="connsiteY88" fmla="*/ 814387 h 1126331"/>
                <a:gd name="connsiteX89" fmla="*/ 85725 w 1562100"/>
                <a:gd name="connsiteY89" fmla="*/ 804862 h 1126331"/>
                <a:gd name="connsiteX90" fmla="*/ 135731 w 1562100"/>
                <a:gd name="connsiteY90" fmla="*/ 862012 h 1126331"/>
                <a:gd name="connsiteX91" fmla="*/ 123825 w 1562100"/>
                <a:gd name="connsiteY91" fmla="*/ 881062 h 1126331"/>
                <a:gd name="connsiteX92" fmla="*/ 133350 w 1562100"/>
                <a:gd name="connsiteY92" fmla="*/ 909637 h 1126331"/>
                <a:gd name="connsiteX93" fmla="*/ 164306 w 1562100"/>
                <a:gd name="connsiteY93" fmla="*/ 928687 h 1126331"/>
                <a:gd name="connsiteX94" fmla="*/ 190500 w 1562100"/>
                <a:gd name="connsiteY94" fmla="*/ 938212 h 1126331"/>
                <a:gd name="connsiteX95" fmla="*/ 216694 w 1562100"/>
                <a:gd name="connsiteY95" fmla="*/ 945356 h 1126331"/>
                <a:gd name="connsiteX96" fmla="*/ 228600 w 1562100"/>
                <a:gd name="connsiteY96" fmla="*/ 947737 h 1126331"/>
                <a:gd name="connsiteX97" fmla="*/ 240506 w 1562100"/>
                <a:gd name="connsiteY97" fmla="*/ 909637 h 1126331"/>
                <a:gd name="connsiteX98" fmla="*/ 269081 w 1562100"/>
                <a:gd name="connsiteY98" fmla="*/ 914400 h 1126331"/>
                <a:gd name="connsiteX99" fmla="*/ 288131 w 1562100"/>
                <a:gd name="connsiteY99" fmla="*/ 902494 h 1126331"/>
                <a:gd name="connsiteX100" fmla="*/ 307181 w 1562100"/>
                <a:gd name="connsiteY100" fmla="*/ 952500 h 1126331"/>
                <a:gd name="connsiteX101" fmla="*/ 330994 w 1562100"/>
                <a:gd name="connsiteY101" fmla="*/ 966787 h 1126331"/>
                <a:gd name="connsiteX102" fmla="*/ 340519 w 1562100"/>
                <a:gd name="connsiteY102" fmla="*/ 995362 h 1126331"/>
                <a:gd name="connsiteX103" fmla="*/ 357188 w 1562100"/>
                <a:gd name="connsiteY103" fmla="*/ 1004887 h 1126331"/>
                <a:gd name="connsiteX104" fmla="*/ 364331 w 1562100"/>
                <a:gd name="connsiteY104" fmla="*/ 1035844 h 1126331"/>
                <a:gd name="connsiteX105" fmla="*/ 335756 w 1562100"/>
                <a:gd name="connsiteY105" fmla="*/ 1062037 h 1126331"/>
                <a:gd name="connsiteX106" fmla="*/ 309563 w 1562100"/>
                <a:gd name="connsiteY106" fmla="*/ 1078706 h 1126331"/>
                <a:gd name="connsiteX107" fmla="*/ 297656 w 1562100"/>
                <a:gd name="connsiteY107" fmla="*/ 1102519 h 1126331"/>
                <a:gd name="connsiteX108" fmla="*/ 302419 w 1562100"/>
                <a:gd name="connsiteY108" fmla="*/ 1126331 h 1126331"/>
                <a:gd name="connsiteX109" fmla="*/ 342900 w 1562100"/>
                <a:gd name="connsiteY109" fmla="*/ 1126331 h 1126331"/>
                <a:gd name="connsiteX110" fmla="*/ 390525 w 1562100"/>
                <a:gd name="connsiteY110" fmla="*/ 1121569 h 1126331"/>
                <a:gd name="connsiteX111" fmla="*/ 428625 w 1562100"/>
                <a:gd name="connsiteY111" fmla="*/ 1112044 h 1126331"/>
                <a:gd name="connsiteX112" fmla="*/ 454819 w 1562100"/>
                <a:gd name="connsiteY112" fmla="*/ 1119187 h 1126331"/>
                <a:gd name="connsiteX113" fmla="*/ 473869 w 1562100"/>
                <a:gd name="connsiteY113" fmla="*/ 1097756 h 1126331"/>
                <a:gd name="connsiteX114" fmla="*/ 492919 w 1562100"/>
                <a:gd name="connsiteY114" fmla="*/ 1097756 h 1126331"/>
                <a:gd name="connsiteX115" fmla="*/ 507206 w 1562100"/>
                <a:gd name="connsiteY115" fmla="*/ 1066800 h 1126331"/>
                <a:gd name="connsiteX116" fmla="*/ 557213 w 1562100"/>
                <a:gd name="connsiteY116" fmla="*/ 1052512 h 1126331"/>
                <a:gd name="connsiteX117" fmla="*/ 583406 w 1562100"/>
                <a:gd name="connsiteY117" fmla="*/ 1033462 h 1126331"/>
                <a:gd name="connsiteX118" fmla="*/ 590550 w 1562100"/>
                <a:gd name="connsiteY118" fmla="*/ 995362 h 1126331"/>
                <a:gd name="connsiteX119" fmla="*/ 607219 w 1562100"/>
                <a:gd name="connsiteY119" fmla="*/ 969169 h 1126331"/>
                <a:gd name="connsiteX120" fmla="*/ 688181 w 1562100"/>
                <a:gd name="connsiteY120" fmla="*/ 1000125 h 1126331"/>
                <a:gd name="connsiteX0" fmla="*/ 688181 w 1562100"/>
                <a:gd name="connsiteY0" fmla="*/ 1078707 h 1204913"/>
                <a:gd name="connsiteX1" fmla="*/ 688181 w 1562100"/>
                <a:gd name="connsiteY1" fmla="*/ 992982 h 1204913"/>
                <a:gd name="connsiteX2" fmla="*/ 692944 w 1562100"/>
                <a:gd name="connsiteY2" fmla="*/ 950119 h 1204913"/>
                <a:gd name="connsiteX3" fmla="*/ 692944 w 1562100"/>
                <a:gd name="connsiteY3" fmla="*/ 904876 h 1204913"/>
                <a:gd name="connsiteX4" fmla="*/ 676275 w 1562100"/>
                <a:gd name="connsiteY4" fmla="*/ 881063 h 1204913"/>
                <a:gd name="connsiteX5" fmla="*/ 690563 w 1562100"/>
                <a:gd name="connsiteY5" fmla="*/ 828676 h 1204913"/>
                <a:gd name="connsiteX6" fmla="*/ 685800 w 1562100"/>
                <a:gd name="connsiteY6" fmla="*/ 802482 h 1204913"/>
                <a:gd name="connsiteX7" fmla="*/ 697706 w 1562100"/>
                <a:gd name="connsiteY7" fmla="*/ 757238 h 1204913"/>
                <a:gd name="connsiteX8" fmla="*/ 714375 w 1562100"/>
                <a:gd name="connsiteY8" fmla="*/ 733426 h 1204913"/>
                <a:gd name="connsiteX9" fmla="*/ 721519 w 1562100"/>
                <a:gd name="connsiteY9" fmla="*/ 700088 h 1204913"/>
                <a:gd name="connsiteX10" fmla="*/ 735806 w 1562100"/>
                <a:gd name="connsiteY10" fmla="*/ 681038 h 1204913"/>
                <a:gd name="connsiteX11" fmla="*/ 792956 w 1562100"/>
                <a:gd name="connsiteY11" fmla="*/ 671513 h 1204913"/>
                <a:gd name="connsiteX12" fmla="*/ 838200 w 1562100"/>
                <a:gd name="connsiteY12" fmla="*/ 654844 h 1204913"/>
                <a:gd name="connsiteX13" fmla="*/ 876300 w 1562100"/>
                <a:gd name="connsiteY13" fmla="*/ 614363 h 1204913"/>
                <a:gd name="connsiteX14" fmla="*/ 923925 w 1562100"/>
                <a:gd name="connsiteY14" fmla="*/ 600076 h 1204913"/>
                <a:gd name="connsiteX15" fmla="*/ 995363 w 1562100"/>
                <a:gd name="connsiteY15" fmla="*/ 595313 h 1204913"/>
                <a:gd name="connsiteX16" fmla="*/ 1040606 w 1562100"/>
                <a:gd name="connsiteY16" fmla="*/ 585788 h 1204913"/>
                <a:gd name="connsiteX17" fmla="*/ 1119188 w 1562100"/>
                <a:gd name="connsiteY17" fmla="*/ 478632 h 1204913"/>
                <a:gd name="connsiteX18" fmla="*/ 1126331 w 1562100"/>
                <a:gd name="connsiteY18" fmla="*/ 445294 h 1204913"/>
                <a:gd name="connsiteX19" fmla="*/ 1152525 w 1562100"/>
                <a:gd name="connsiteY19" fmla="*/ 416719 h 1204913"/>
                <a:gd name="connsiteX20" fmla="*/ 1197769 w 1562100"/>
                <a:gd name="connsiteY20" fmla="*/ 407194 h 1204913"/>
                <a:gd name="connsiteX21" fmla="*/ 1290638 w 1562100"/>
                <a:gd name="connsiteY21" fmla="*/ 330994 h 1204913"/>
                <a:gd name="connsiteX22" fmla="*/ 1314450 w 1562100"/>
                <a:gd name="connsiteY22" fmla="*/ 328613 h 1204913"/>
                <a:gd name="connsiteX23" fmla="*/ 1409700 w 1562100"/>
                <a:gd name="connsiteY23" fmla="*/ 247651 h 1204913"/>
                <a:gd name="connsiteX24" fmla="*/ 1414463 w 1562100"/>
                <a:gd name="connsiteY24" fmla="*/ 228601 h 1204913"/>
                <a:gd name="connsiteX25" fmla="*/ 1507331 w 1562100"/>
                <a:gd name="connsiteY25" fmla="*/ 173832 h 1204913"/>
                <a:gd name="connsiteX26" fmla="*/ 1543050 w 1562100"/>
                <a:gd name="connsiteY26" fmla="*/ 128588 h 1204913"/>
                <a:gd name="connsiteX27" fmla="*/ 1562100 w 1562100"/>
                <a:gd name="connsiteY27" fmla="*/ 90488 h 1204913"/>
                <a:gd name="connsiteX28" fmla="*/ 1512094 w 1562100"/>
                <a:gd name="connsiteY28" fmla="*/ 109538 h 1204913"/>
                <a:gd name="connsiteX29" fmla="*/ 1478756 w 1562100"/>
                <a:gd name="connsiteY29" fmla="*/ 109538 h 1204913"/>
                <a:gd name="connsiteX30" fmla="*/ 1452563 w 1562100"/>
                <a:gd name="connsiteY30" fmla="*/ 147638 h 1204913"/>
                <a:gd name="connsiteX31" fmla="*/ 1421606 w 1562100"/>
                <a:gd name="connsiteY31" fmla="*/ 145257 h 1204913"/>
                <a:gd name="connsiteX32" fmla="*/ 1366838 w 1562100"/>
                <a:gd name="connsiteY32" fmla="*/ 114301 h 1204913"/>
                <a:gd name="connsiteX33" fmla="*/ 1323975 w 1562100"/>
                <a:gd name="connsiteY33" fmla="*/ 102394 h 1204913"/>
                <a:gd name="connsiteX34" fmla="*/ 1238250 w 1562100"/>
                <a:gd name="connsiteY34" fmla="*/ 138113 h 1204913"/>
                <a:gd name="connsiteX35" fmla="*/ 1223963 w 1562100"/>
                <a:gd name="connsiteY35" fmla="*/ 176213 h 1204913"/>
                <a:gd name="connsiteX36" fmla="*/ 1195388 w 1562100"/>
                <a:gd name="connsiteY36" fmla="*/ 233363 h 1204913"/>
                <a:gd name="connsiteX37" fmla="*/ 1109663 w 1562100"/>
                <a:gd name="connsiteY37" fmla="*/ 195263 h 1204913"/>
                <a:gd name="connsiteX38" fmla="*/ 1097756 w 1562100"/>
                <a:gd name="connsiteY38" fmla="*/ 238126 h 1204913"/>
                <a:gd name="connsiteX39" fmla="*/ 1083469 w 1562100"/>
                <a:gd name="connsiteY39" fmla="*/ 271463 h 1204913"/>
                <a:gd name="connsiteX40" fmla="*/ 959644 w 1562100"/>
                <a:gd name="connsiteY40" fmla="*/ 302419 h 1204913"/>
                <a:gd name="connsiteX41" fmla="*/ 945356 w 1562100"/>
                <a:gd name="connsiteY41" fmla="*/ 297657 h 1204913"/>
                <a:gd name="connsiteX42" fmla="*/ 926306 w 1562100"/>
                <a:gd name="connsiteY42" fmla="*/ 319088 h 1204913"/>
                <a:gd name="connsiteX43" fmla="*/ 890588 w 1562100"/>
                <a:gd name="connsiteY43" fmla="*/ 326232 h 1204913"/>
                <a:gd name="connsiteX44" fmla="*/ 854869 w 1562100"/>
                <a:gd name="connsiteY44" fmla="*/ 276226 h 1204913"/>
                <a:gd name="connsiteX45" fmla="*/ 835819 w 1562100"/>
                <a:gd name="connsiteY45" fmla="*/ 264319 h 1204913"/>
                <a:gd name="connsiteX46" fmla="*/ 826294 w 1562100"/>
                <a:gd name="connsiteY46" fmla="*/ 219076 h 1204913"/>
                <a:gd name="connsiteX47" fmla="*/ 792956 w 1562100"/>
                <a:gd name="connsiteY47" fmla="*/ 202407 h 1204913"/>
                <a:gd name="connsiteX48" fmla="*/ 759619 w 1562100"/>
                <a:gd name="connsiteY48" fmla="*/ 195263 h 1204913"/>
                <a:gd name="connsiteX49" fmla="*/ 740569 w 1562100"/>
                <a:gd name="connsiteY49" fmla="*/ 190501 h 1204913"/>
                <a:gd name="connsiteX50" fmla="*/ 728663 w 1562100"/>
                <a:gd name="connsiteY50" fmla="*/ 180976 h 1204913"/>
                <a:gd name="connsiteX51" fmla="*/ 735806 w 1562100"/>
                <a:gd name="connsiteY51" fmla="*/ 154782 h 1204913"/>
                <a:gd name="connsiteX52" fmla="*/ 742950 w 1562100"/>
                <a:gd name="connsiteY52" fmla="*/ 130969 h 1204913"/>
                <a:gd name="connsiteX53" fmla="*/ 700088 w 1562100"/>
                <a:gd name="connsiteY53" fmla="*/ 80963 h 1204913"/>
                <a:gd name="connsiteX54" fmla="*/ 314326 w 1562100"/>
                <a:gd name="connsiteY54" fmla="*/ 0 h 1204913"/>
                <a:gd name="connsiteX55" fmla="*/ 328613 w 1562100"/>
                <a:gd name="connsiteY55" fmla="*/ 78582 h 1204913"/>
                <a:gd name="connsiteX56" fmla="*/ 292894 w 1562100"/>
                <a:gd name="connsiteY56" fmla="*/ 180976 h 1204913"/>
                <a:gd name="connsiteX57" fmla="*/ 264319 w 1562100"/>
                <a:gd name="connsiteY57" fmla="*/ 188119 h 1204913"/>
                <a:gd name="connsiteX58" fmla="*/ 261938 w 1562100"/>
                <a:gd name="connsiteY58" fmla="*/ 202407 h 1204913"/>
                <a:gd name="connsiteX59" fmla="*/ 261938 w 1562100"/>
                <a:gd name="connsiteY59" fmla="*/ 235744 h 1204913"/>
                <a:gd name="connsiteX60" fmla="*/ 228600 w 1562100"/>
                <a:gd name="connsiteY60" fmla="*/ 278607 h 1204913"/>
                <a:gd name="connsiteX61" fmla="*/ 271463 w 1562100"/>
                <a:gd name="connsiteY61" fmla="*/ 295276 h 1204913"/>
                <a:gd name="connsiteX62" fmla="*/ 278606 w 1562100"/>
                <a:gd name="connsiteY62" fmla="*/ 314326 h 1204913"/>
                <a:gd name="connsiteX63" fmla="*/ 257175 w 1562100"/>
                <a:gd name="connsiteY63" fmla="*/ 350044 h 1204913"/>
                <a:gd name="connsiteX64" fmla="*/ 221456 w 1562100"/>
                <a:gd name="connsiteY64" fmla="*/ 359569 h 1204913"/>
                <a:gd name="connsiteX65" fmla="*/ 221456 w 1562100"/>
                <a:gd name="connsiteY65" fmla="*/ 400051 h 1204913"/>
                <a:gd name="connsiteX66" fmla="*/ 254794 w 1562100"/>
                <a:gd name="connsiteY66" fmla="*/ 438151 h 1204913"/>
                <a:gd name="connsiteX67" fmla="*/ 226219 w 1562100"/>
                <a:gd name="connsiteY67" fmla="*/ 502444 h 1204913"/>
                <a:gd name="connsiteX68" fmla="*/ 180975 w 1562100"/>
                <a:gd name="connsiteY68" fmla="*/ 531019 h 1204913"/>
                <a:gd name="connsiteX69" fmla="*/ 183356 w 1562100"/>
                <a:gd name="connsiteY69" fmla="*/ 547688 h 1204913"/>
                <a:gd name="connsiteX70" fmla="*/ 204788 w 1562100"/>
                <a:gd name="connsiteY70" fmla="*/ 557213 h 1204913"/>
                <a:gd name="connsiteX71" fmla="*/ 219075 w 1562100"/>
                <a:gd name="connsiteY71" fmla="*/ 566738 h 1204913"/>
                <a:gd name="connsiteX72" fmla="*/ 223838 w 1562100"/>
                <a:gd name="connsiteY72" fmla="*/ 585788 h 1204913"/>
                <a:gd name="connsiteX73" fmla="*/ 195263 w 1562100"/>
                <a:gd name="connsiteY73" fmla="*/ 611982 h 1204913"/>
                <a:gd name="connsiteX74" fmla="*/ 123825 w 1562100"/>
                <a:gd name="connsiteY74" fmla="*/ 657226 h 1204913"/>
                <a:gd name="connsiteX75" fmla="*/ 123825 w 1562100"/>
                <a:gd name="connsiteY75" fmla="*/ 692944 h 1204913"/>
                <a:gd name="connsiteX76" fmla="*/ 135731 w 1562100"/>
                <a:gd name="connsiteY76" fmla="*/ 723901 h 1204913"/>
                <a:gd name="connsiteX77" fmla="*/ 123825 w 1562100"/>
                <a:gd name="connsiteY77" fmla="*/ 764382 h 1204913"/>
                <a:gd name="connsiteX78" fmla="*/ 76200 w 1562100"/>
                <a:gd name="connsiteY78" fmla="*/ 759619 h 1204913"/>
                <a:gd name="connsiteX79" fmla="*/ 52388 w 1562100"/>
                <a:gd name="connsiteY79" fmla="*/ 704851 h 1204913"/>
                <a:gd name="connsiteX80" fmla="*/ 33338 w 1562100"/>
                <a:gd name="connsiteY80" fmla="*/ 697707 h 1204913"/>
                <a:gd name="connsiteX81" fmla="*/ 23813 w 1562100"/>
                <a:gd name="connsiteY81" fmla="*/ 735807 h 1204913"/>
                <a:gd name="connsiteX82" fmla="*/ 21431 w 1562100"/>
                <a:gd name="connsiteY82" fmla="*/ 745332 h 1204913"/>
                <a:gd name="connsiteX83" fmla="*/ 7144 w 1562100"/>
                <a:gd name="connsiteY83" fmla="*/ 762001 h 1204913"/>
                <a:gd name="connsiteX84" fmla="*/ 0 w 1562100"/>
                <a:gd name="connsiteY84" fmla="*/ 819151 h 1204913"/>
                <a:gd name="connsiteX85" fmla="*/ 23813 w 1562100"/>
                <a:gd name="connsiteY85" fmla="*/ 847726 h 1204913"/>
                <a:gd name="connsiteX86" fmla="*/ 16669 w 1562100"/>
                <a:gd name="connsiteY86" fmla="*/ 888207 h 1204913"/>
                <a:gd name="connsiteX87" fmla="*/ 35719 w 1562100"/>
                <a:gd name="connsiteY87" fmla="*/ 892969 h 1204913"/>
                <a:gd name="connsiteX88" fmla="*/ 69056 w 1562100"/>
                <a:gd name="connsiteY88" fmla="*/ 892969 h 1204913"/>
                <a:gd name="connsiteX89" fmla="*/ 85725 w 1562100"/>
                <a:gd name="connsiteY89" fmla="*/ 883444 h 1204913"/>
                <a:gd name="connsiteX90" fmla="*/ 135731 w 1562100"/>
                <a:gd name="connsiteY90" fmla="*/ 940594 h 1204913"/>
                <a:gd name="connsiteX91" fmla="*/ 123825 w 1562100"/>
                <a:gd name="connsiteY91" fmla="*/ 959644 h 1204913"/>
                <a:gd name="connsiteX92" fmla="*/ 133350 w 1562100"/>
                <a:gd name="connsiteY92" fmla="*/ 988219 h 1204913"/>
                <a:gd name="connsiteX93" fmla="*/ 164306 w 1562100"/>
                <a:gd name="connsiteY93" fmla="*/ 1007269 h 1204913"/>
                <a:gd name="connsiteX94" fmla="*/ 190500 w 1562100"/>
                <a:gd name="connsiteY94" fmla="*/ 1016794 h 1204913"/>
                <a:gd name="connsiteX95" fmla="*/ 216694 w 1562100"/>
                <a:gd name="connsiteY95" fmla="*/ 1023938 h 1204913"/>
                <a:gd name="connsiteX96" fmla="*/ 228600 w 1562100"/>
                <a:gd name="connsiteY96" fmla="*/ 1026319 h 1204913"/>
                <a:gd name="connsiteX97" fmla="*/ 240506 w 1562100"/>
                <a:gd name="connsiteY97" fmla="*/ 988219 h 1204913"/>
                <a:gd name="connsiteX98" fmla="*/ 269081 w 1562100"/>
                <a:gd name="connsiteY98" fmla="*/ 992982 h 1204913"/>
                <a:gd name="connsiteX99" fmla="*/ 288131 w 1562100"/>
                <a:gd name="connsiteY99" fmla="*/ 981076 h 1204913"/>
                <a:gd name="connsiteX100" fmla="*/ 307181 w 1562100"/>
                <a:gd name="connsiteY100" fmla="*/ 1031082 h 1204913"/>
                <a:gd name="connsiteX101" fmla="*/ 330994 w 1562100"/>
                <a:gd name="connsiteY101" fmla="*/ 1045369 h 1204913"/>
                <a:gd name="connsiteX102" fmla="*/ 340519 w 1562100"/>
                <a:gd name="connsiteY102" fmla="*/ 1073944 h 1204913"/>
                <a:gd name="connsiteX103" fmla="*/ 357188 w 1562100"/>
                <a:gd name="connsiteY103" fmla="*/ 1083469 h 1204913"/>
                <a:gd name="connsiteX104" fmla="*/ 364331 w 1562100"/>
                <a:gd name="connsiteY104" fmla="*/ 1114426 h 1204913"/>
                <a:gd name="connsiteX105" fmla="*/ 335756 w 1562100"/>
                <a:gd name="connsiteY105" fmla="*/ 1140619 h 1204913"/>
                <a:gd name="connsiteX106" fmla="*/ 309563 w 1562100"/>
                <a:gd name="connsiteY106" fmla="*/ 1157288 h 1204913"/>
                <a:gd name="connsiteX107" fmla="*/ 297656 w 1562100"/>
                <a:gd name="connsiteY107" fmla="*/ 1181101 h 1204913"/>
                <a:gd name="connsiteX108" fmla="*/ 302419 w 1562100"/>
                <a:gd name="connsiteY108" fmla="*/ 1204913 h 1204913"/>
                <a:gd name="connsiteX109" fmla="*/ 342900 w 1562100"/>
                <a:gd name="connsiteY109" fmla="*/ 1204913 h 1204913"/>
                <a:gd name="connsiteX110" fmla="*/ 390525 w 1562100"/>
                <a:gd name="connsiteY110" fmla="*/ 1200151 h 1204913"/>
                <a:gd name="connsiteX111" fmla="*/ 428625 w 1562100"/>
                <a:gd name="connsiteY111" fmla="*/ 1190626 h 1204913"/>
                <a:gd name="connsiteX112" fmla="*/ 454819 w 1562100"/>
                <a:gd name="connsiteY112" fmla="*/ 1197769 h 1204913"/>
                <a:gd name="connsiteX113" fmla="*/ 473869 w 1562100"/>
                <a:gd name="connsiteY113" fmla="*/ 1176338 h 1204913"/>
                <a:gd name="connsiteX114" fmla="*/ 492919 w 1562100"/>
                <a:gd name="connsiteY114" fmla="*/ 1176338 h 1204913"/>
                <a:gd name="connsiteX115" fmla="*/ 507206 w 1562100"/>
                <a:gd name="connsiteY115" fmla="*/ 1145382 h 1204913"/>
                <a:gd name="connsiteX116" fmla="*/ 557213 w 1562100"/>
                <a:gd name="connsiteY116" fmla="*/ 1131094 h 1204913"/>
                <a:gd name="connsiteX117" fmla="*/ 583406 w 1562100"/>
                <a:gd name="connsiteY117" fmla="*/ 1112044 h 1204913"/>
                <a:gd name="connsiteX118" fmla="*/ 590550 w 1562100"/>
                <a:gd name="connsiteY118" fmla="*/ 1073944 h 1204913"/>
                <a:gd name="connsiteX119" fmla="*/ 607219 w 1562100"/>
                <a:gd name="connsiteY119" fmla="*/ 1047751 h 1204913"/>
                <a:gd name="connsiteX120" fmla="*/ 688181 w 1562100"/>
                <a:gd name="connsiteY120" fmla="*/ 1078707 h 1204913"/>
                <a:gd name="connsiteX0" fmla="*/ 688181 w 1562100"/>
                <a:gd name="connsiteY0" fmla="*/ 1078707 h 1204913"/>
                <a:gd name="connsiteX1" fmla="*/ 688181 w 1562100"/>
                <a:gd name="connsiteY1" fmla="*/ 992982 h 1204913"/>
                <a:gd name="connsiteX2" fmla="*/ 692944 w 1562100"/>
                <a:gd name="connsiteY2" fmla="*/ 950119 h 1204913"/>
                <a:gd name="connsiteX3" fmla="*/ 692944 w 1562100"/>
                <a:gd name="connsiteY3" fmla="*/ 904876 h 1204913"/>
                <a:gd name="connsiteX4" fmla="*/ 676275 w 1562100"/>
                <a:gd name="connsiteY4" fmla="*/ 881063 h 1204913"/>
                <a:gd name="connsiteX5" fmla="*/ 690563 w 1562100"/>
                <a:gd name="connsiteY5" fmla="*/ 828676 h 1204913"/>
                <a:gd name="connsiteX6" fmla="*/ 685800 w 1562100"/>
                <a:gd name="connsiteY6" fmla="*/ 802482 h 1204913"/>
                <a:gd name="connsiteX7" fmla="*/ 697706 w 1562100"/>
                <a:gd name="connsiteY7" fmla="*/ 757238 h 1204913"/>
                <a:gd name="connsiteX8" fmla="*/ 714375 w 1562100"/>
                <a:gd name="connsiteY8" fmla="*/ 733426 h 1204913"/>
                <a:gd name="connsiteX9" fmla="*/ 721519 w 1562100"/>
                <a:gd name="connsiteY9" fmla="*/ 700088 h 1204913"/>
                <a:gd name="connsiteX10" fmla="*/ 735806 w 1562100"/>
                <a:gd name="connsiteY10" fmla="*/ 681038 h 1204913"/>
                <a:gd name="connsiteX11" fmla="*/ 792956 w 1562100"/>
                <a:gd name="connsiteY11" fmla="*/ 671513 h 1204913"/>
                <a:gd name="connsiteX12" fmla="*/ 838200 w 1562100"/>
                <a:gd name="connsiteY12" fmla="*/ 654844 h 1204913"/>
                <a:gd name="connsiteX13" fmla="*/ 876300 w 1562100"/>
                <a:gd name="connsiteY13" fmla="*/ 614363 h 1204913"/>
                <a:gd name="connsiteX14" fmla="*/ 923925 w 1562100"/>
                <a:gd name="connsiteY14" fmla="*/ 600076 h 1204913"/>
                <a:gd name="connsiteX15" fmla="*/ 995363 w 1562100"/>
                <a:gd name="connsiteY15" fmla="*/ 595313 h 1204913"/>
                <a:gd name="connsiteX16" fmla="*/ 1040606 w 1562100"/>
                <a:gd name="connsiteY16" fmla="*/ 585788 h 1204913"/>
                <a:gd name="connsiteX17" fmla="*/ 1119188 w 1562100"/>
                <a:gd name="connsiteY17" fmla="*/ 478632 h 1204913"/>
                <a:gd name="connsiteX18" fmla="*/ 1126331 w 1562100"/>
                <a:gd name="connsiteY18" fmla="*/ 445294 h 1204913"/>
                <a:gd name="connsiteX19" fmla="*/ 1152525 w 1562100"/>
                <a:gd name="connsiteY19" fmla="*/ 416719 h 1204913"/>
                <a:gd name="connsiteX20" fmla="*/ 1197769 w 1562100"/>
                <a:gd name="connsiteY20" fmla="*/ 407194 h 1204913"/>
                <a:gd name="connsiteX21" fmla="*/ 1290638 w 1562100"/>
                <a:gd name="connsiteY21" fmla="*/ 330994 h 1204913"/>
                <a:gd name="connsiteX22" fmla="*/ 1314450 w 1562100"/>
                <a:gd name="connsiteY22" fmla="*/ 328613 h 1204913"/>
                <a:gd name="connsiteX23" fmla="*/ 1409700 w 1562100"/>
                <a:gd name="connsiteY23" fmla="*/ 247651 h 1204913"/>
                <a:gd name="connsiteX24" fmla="*/ 1414463 w 1562100"/>
                <a:gd name="connsiteY24" fmla="*/ 228601 h 1204913"/>
                <a:gd name="connsiteX25" fmla="*/ 1507331 w 1562100"/>
                <a:gd name="connsiteY25" fmla="*/ 173832 h 1204913"/>
                <a:gd name="connsiteX26" fmla="*/ 1543050 w 1562100"/>
                <a:gd name="connsiteY26" fmla="*/ 128588 h 1204913"/>
                <a:gd name="connsiteX27" fmla="*/ 1562100 w 1562100"/>
                <a:gd name="connsiteY27" fmla="*/ 90488 h 1204913"/>
                <a:gd name="connsiteX28" fmla="*/ 1512094 w 1562100"/>
                <a:gd name="connsiteY28" fmla="*/ 109538 h 1204913"/>
                <a:gd name="connsiteX29" fmla="*/ 1478756 w 1562100"/>
                <a:gd name="connsiteY29" fmla="*/ 109538 h 1204913"/>
                <a:gd name="connsiteX30" fmla="*/ 1452563 w 1562100"/>
                <a:gd name="connsiteY30" fmla="*/ 147638 h 1204913"/>
                <a:gd name="connsiteX31" fmla="*/ 1421606 w 1562100"/>
                <a:gd name="connsiteY31" fmla="*/ 145257 h 1204913"/>
                <a:gd name="connsiteX32" fmla="*/ 1366838 w 1562100"/>
                <a:gd name="connsiteY32" fmla="*/ 114301 h 1204913"/>
                <a:gd name="connsiteX33" fmla="*/ 1323975 w 1562100"/>
                <a:gd name="connsiteY33" fmla="*/ 102394 h 1204913"/>
                <a:gd name="connsiteX34" fmla="*/ 1238250 w 1562100"/>
                <a:gd name="connsiteY34" fmla="*/ 138113 h 1204913"/>
                <a:gd name="connsiteX35" fmla="*/ 1223963 w 1562100"/>
                <a:gd name="connsiteY35" fmla="*/ 176213 h 1204913"/>
                <a:gd name="connsiteX36" fmla="*/ 1195388 w 1562100"/>
                <a:gd name="connsiteY36" fmla="*/ 233363 h 1204913"/>
                <a:gd name="connsiteX37" fmla="*/ 1109663 w 1562100"/>
                <a:gd name="connsiteY37" fmla="*/ 195263 h 1204913"/>
                <a:gd name="connsiteX38" fmla="*/ 1097756 w 1562100"/>
                <a:gd name="connsiteY38" fmla="*/ 238126 h 1204913"/>
                <a:gd name="connsiteX39" fmla="*/ 1083469 w 1562100"/>
                <a:gd name="connsiteY39" fmla="*/ 271463 h 1204913"/>
                <a:gd name="connsiteX40" fmla="*/ 959644 w 1562100"/>
                <a:gd name="connsiteY40" fmla="*/ 302419 h 1204913"/>
                <a:gd name="connsiteX41" fmla="*/ 945356 w 1562100"/>
                <a:gd name="connsiteY41" fmla="*/ 297657 h 1204913"/>
                <a:gd name="connsiteX42" fmla="*/ 926306 w 1562100"/>
                <a:gd name="connsiteY42" fmla="*/ 319088 h 1204913"/>
                <a:gd name="connsiteX43" fmla="*/ 890588 w 1562100"/>
                <a:gd name="connsiteY43" fmla="*/ 326232 h 1204913"/>
                <a:gd name="connsiteX44" fmla="*/ 854869 w 1562100"/>
                <a:gd name="connsiteY44" fmla="*/ 276226 h 1204913"/>
                <a:gd name="connsiteX45" fmla="*/ 835819 w 1562100"/>
                <a:gd name="connsiteY45" fmla="*/ 264319 h 1204913"/>
                <a:gd name="connsiteX46" fmla="*/ 826294 w 1562100"/>
                <a:gd name="connsiteY46" fmla="*/ 219076 h 1204913"/>
                <a:gd name="connsiteX47" fmla="*/ 792956 w 1562100"/>
                <a:gd name="connsiteY47" fmla="*/ 202407 h 1204913"/>
                <a:gd name="connsiteX48" fmla="*/ 759619 w 1562100"/>
                <a:gd name="connsiteY48" fmla="*/ 195263 h 1204913"/>
                <a:gd name="connsiteX49" fmla="*/ 740569 w 1562100"/>
                <a:gd name="connsiteY49" fmla="*/ 190501 h 1204913"/>
                <a:gd name="connsiteX50" fmla="*/ 728663 w 1562100"/>
                <a:gd name="connsiteY50" fmla="*/ 180976 h 1204913"/>
                <a:gd name="connsiteX51" fmla="*/ 735806 w 1562100"/>
                <a:gd name="connsiteY51" fmla="*/ 154782 h 1204913"/>
                <a:gd name="connsiteX52" fmla="*/ 742950 w 1562100"/>
                <a:gd name="connsiteY52" fmla="*/ 130969 h 1204913"/>
                <a:gd name="connsiteX53" fmla="*/ 700088 w 1562100"/>
                <a:gd name="connsiteY53" fmla="*/ 80963 h 1204913"/>
                <a:gd name="connsiteX54" fmla="*/ 392906 w 1562100"/>
                <a:gd name="connsiteY54" fmla="*/ 19051 h 1204913"/>
                <a:gd name="connsiteX55" fmla="*/ 314326 w 1562100"/>
                <a:gd name="connsiteY55" fmla="*/ 0 h 1204913"/>
                <a:gd name="connsiteX56" fmla="*/ 328613 w 1562100"/>
                <a:gd name="connsiteY56" fmla="*/ 78582 h 1204913"/>
                <a:gd name="connsiteX57" fmla="*/ 292894 w 1562100"/>
                <a:gd name="connsiteY57" fmla="*/ 180976 h 1204913"/>
                <a:gd name="connsiteX58" fmla="*/ 264319 w 1562100"/>
                <a:gd name="connsiteY58" fmla="*/ 188119 h 1204913"/>
                <a:gd name="connsiteX59" fmla="*/ 261938 w 1562100"/>
                <a:gd name="connsiteY59" fmla="*/ 202407 h 1204913"/>
                <a:gd name="connsiteX60" fmla="*/ 261938 w 1562100"/>
                <a:gd name="connsiteY60" fmla="*/ 235744 h 1204913"/>
                <a:gd name="connsiteX61" fmla="*/ 228600 w 1562100"/>
                <a:gd name="connsiteY61" fmla="*/ 278607 h 1204913"/>
                <a:gd name="connsiteX62" fmla="*/ 271463 w 1562100"/>
                <a:gd name="connsiteY62" fmla="*/ 295276 h 1204913"/>
                <a:gd name="connsiteX63" fmla="*/ 278606 w 1562100"/>
                <a:gd name="connsiteY63" fmla="*/ 314326 h 1204913"/>
                <a:gd name="connsiteX64" fmla="*/ 257175 w 1562100"/>
                <a:gd name="connsiteY64" fmla="*/ 350044 h 1204913"/>
                <a:gd name="connsiteX65" fmla="*/ 221456 w 1562100"/>
                <a:gd name="connsiteY65" fmla="*/ 359569 h 1204913"/>
                <a:gd name="connsiteX66" fmla="*/ 221456 w 1562100"/>
                <a:gd name="connsiteY66" fmla="*/ 400051 h 1204913"/>
                <a:gd name="connsiteX67" fmla="*/ 254794 w 1562100"/>
                <a:gd name="connsiteY67" fmla="*/ 438151 h 1204913"/>
                <a:gd name="connsiteX68" fmla="*/ 226219 w 1562100"/>
                <a:gd name="connsiteY68" fmla="*/ 502444 h 1204913"/>
                <a:gd name="connsiteX69" fmla="*/ 180975 w 1562100"/>
                <a:gd name="connsiteY69" fmla="*/ 531019 h 1204913"/>
                <a:gd name="connsiteX70" fmla="*/ 183356 w 1562100"/>
                <a:gd name="connsiteY70" fmla="*/ 547688 h 1204913"/>
                <a:gd name="connsiteX71" fmla="*/ 204788 w 1562100"/>
                <a:gd name="connsiteY71" fmla="*/ 557213 h 1204913"/>
                <a:gd name="connsiteX72" fmla="*/ 219075 w 1562100"/>
                <a:gd name="connsiteY72" fmla="*/ 566738 h 1204913"/>
                <a:gd name="connsiteX73" fmla="*/ 223838 w 1562100"/>
                <a:gd name="connsiteY73" fmla="*/ 585788 h 1204913"/>
                <a:gd name="connsiteX74" fmla="*/ 195263 w 1562100"/>
                <a:gd name="connsiteY74" fmla="*/ 611982 h 1204913"/>
                <a:gd name="connsiteX75" fmla="*/ 123825 w 1562100"/>
                <a:gd name="connsiteY75" fmla="*/ 657226 h 1204913"/>
                <a:gd name="connsiteX76" fmla="*/ 123825 w 1562100"/>
                <a:gd name="connsiteY76" fmla="*/ 692944 h 1204913"/>
                <a:gd name="connsiteX77" fmla="*/ 135731 w 1562100"/>
                <a:gd name="connsiteY77" fmla="*/ 723901 h 1204913"/>
                <a:gd name="connsiteX78" fmla="*/ 123825 w 1562100"/>
                <a:gd name="connsiteY78" fmla="*/ 764382 h 1204913"/>
                <a:gd name="connsiteX79" fmla="*/ 76200 w 1562100"/>
                <a:gd name="connsiteY79" fmla="*/ 759619 h 1204913"/>
                <a:gd name="connsiteX80" fmla="*/ 52388 w 1562100"/>
                <a:gd name="connsiteY80" fmla="*/ 704851 h 1204913"/>
                <a:gd name="connsiteX81" fmla="*/ 33338 w 1562100"/>
                <a:gd name="connsiteY81" fmla="*/ 697707 h 1204913"/>
                <a:gd name="connsiteX82" fmla="*/ 23813 w 1562100"/>
                <a:gd name="connsiteY82" fmla="*/ 735807 h 1204913"/>
                <a:gd name="connsiteX83" fmla="*/ 21431 w 1562100"/>
                <a:gd name="connsiteY83" fmla="*/ 745332 h 1204913"/>
                <a:gd name="connsiteX84" fmla="*/ 7144 w 1562100"/>
                <a:gd name="connsiteY84" fmla="*/ 762001 h 1204913"/>
                <a:gd name="connsiteX85" fmla="*/ 0 w 1562100"/>
                <a:gd name="connsiteY85" fmla="*/ 819151 h 1204913"/>
                <a:gd name="connsiteX86" fmla="*/ 23813 w 1562100"/>
                <a:gd name="connsiteY86" fmla="*/ 847726 h 1204913"/>
                <a:gd name="connsiteX87" fmla="*/ 16669 w 1562100"/>
                <a:gd name="connsiteY87" fmla="*/ 888207 h 1204913"/>
                <a:gd name="connsiteX88" fmla="*/ 35719 w 1562100"/>
                <a:gd name="connsiteY88" fmla="*/ 892969 h 1204913"/>
                <a:gd name="connsiteX89" fmla="*/ 69056 w 1562100"/>
                <a:gd name="connsiteY89" fmla="*/ 892969 h 1204913"/>
                <a:gd name="connsiteX90" fmla="*/ 85725 w 1562100"/>
                <a:gd name="connsiteY90" fmla="*/ 883444 h 1204913"/>
                <a:gd name="connsiteX91" fmla="*/ 135731 w 1562100"/>
                <a:gd name="connsiteY91" fmla="*/ 940594 h 1204913"/>
                <a:gd name="connsiteX92" fmla="*/ 123825 w 1562100"/>
                <a:gd name="connsiteY92" fmla="*/ 959644 h 1204913"/>
                <a:gd name="connsiteX93" fmla="*/ 133350 w 1562100"/>
                <a:gd name="connsiteY93" fmla="*/ 988219 h 1204913"/>
                <a:gd name="connsiteX94" fmla="*/ 164306 w 1562100"/>
                <a:gd name="connsiteY94" fmla="*/ 1007269 h 1204913"/>
                <a:gd name="connsiteX95" fmla="*/ 190500 w 1562100"/>
                <a:gd name="connsiteY95" fmla="*/ 1016794 h 1204913"/>
                <a:gd name="connsiteX96" fmla="*/ 216694 w 1562100"/>
                <a:gd name="connsiteY96" fmla="*/ 1023938 h 1204913"/>
                <a:gd name="connsiteX97" fmla="*/ 228600 w 1562100"/>
                <a:gd name="connsiteY97" fmla="*/ 1026319 h 1204913"/>
                <a:gd name="connsiteX98" fmla="*/ 240506 w 1562100"/>
                <a:gd name="connsiteY98" fmla="*/ 988219 h 1204913"/>
                <a:gd name="connsiteX99" fmla="*/ 269081 w 1562100"/>
                <a:gd name="connsiteY99" fmla="*/ 992982 h 1204913"/>
                <a:gd name="connsiteX100" fmla="*/ 288131 w 1562100"/>
                <a:gd name="connsiteY100" fmla="*/ 981076 h 1204913"/>
                <a:gd name="connsiteX101" fmla="*/ 307181 w 1562100"/>
                <a:gd name="connsiteY101" fmla="*/ 1031082 h 1204913"/>
                <a:gd name="connsiteX102" fmla="*/ 330994 w 1562100"/>
                <a:gd name="connsiteY102" fmla="*/ 1045369 h 1204913"/>
                <a:gd name="connsiteX103" fmla="*/ 340519 w 1562100"/>
                <a:gd name="connsiteY103" fmla="*/ 1073944 h 1204913"/>
                <a:gd name="connsiteX104" fmla="*/ 357188 w 1562100"/>
                <a:gd name="connsiteY104" fmla="*/ 1083469 h 1204913"/>
                <a:gd name="connsiteX105" fmla="*/ 364331 w 1562100"/>
                <a:gd name="connsiteY105" fmla="*/ 1114426 h 1204913"/>
                <a:gd name="connsiteX106" fmla="*/ 335756 w 1562100"/>
                <a:gd name="connsiteY106" fmla="*/ 1140619 h 1204913"/>
                <a:gd name="connsiteX107" fmla="*/ 309563 w 1562100"/>
                <a:gd name="connsiteY107" fmla="*/ 1157288 h 1204913"/>
                <a:gd name="connsiteX108" fmla="*/ 297656 w 1562100"/>
                <a:gd name="connsiteY108" fmla="*/ 1181101 h 1204913"/>
                <a:gd name="connsiteX109" fmla="*/ 302419 w 1562100"/>
                <a:gd name="connsiteY109" fmla="*/ 1204913 h 1204913"/>
                <a:gd name="connsiteX110" fmla="*/ 342900 w 1562100"/>
                <a:gd name="connsiteY110" fmla="*/ 1204913 h 1204913"/>
                <a:gd name="connsiteX111" fmla="*/ 390525 w 1562100"/>
                <a:gd name="connsiteY111" fmla="*/ 1200151 h 1204913"/>
                <a:gd name="connsiteX112" fmla="*/ 428625 w 1562100"/>
                <a:gd name="connsiteY112" fmla="*/ 1190626 h 1204913"/>
                <a:gd name="connsiteX113" fmla="*/ 454819 w 1562100"/>
                <a:gd name="connsiteY113" fmla="*/ 1197769 h 1204913"/>
                <a:gd name="connsiteX114" fmla="*/ 473869 w 1562100"/>
                <a:gd name="connsiteY114" fmla="*/ 1176338 h 1204913"/>
                <a:gd name="connsiteX115" fmla="*/ 492919 w 1562100"/>
                <a:gd name="connsiteY115" fmla="*/ 1176338 h 1204913"/>
                <a:gd name="connsiteX116" fmla="*/ 507206 w 1562100"/>
                <a:gd name="connsiteY116" fmla="*/ 1145382 h 1204913"/>
                <a:gd name="connsiteX117" fmla="*/ 557213 w 1562100"/>
                <a:gd name="connsiteY117" fmla="*/ 1131094 h 1204913"/>
                <a:gd name="connsiteX118" fmla="*/ 583406 w 1562100"/>
                <a:gd name="connsiteY118" fmla="*/ 1112044 h 1204913"/>
                <a:gd name="connsiteX119" fmla="*/ 590550 w 1562100"/>
                <a:gd name="connsiteY119" fmla="*/ 1073944 h 1204913"/>
                <a:gd name="connsiteX120" fmla="*/ 607219 w 1562100"/>
                <a:gd name="connsiteY120" fmla="*/ 1047751 h 1204913"/>
                <a:gd name="connsiteX121" fmla="*/ 688181 w 1562100"/>
                <a:gd name="connsiteY121" fmla="*/ 1078707 h 1204913"/>
                <a:gd name="connsiteX0" fmla="*/ 688181 w 1562100"/>
                <a:gd name="connsiteY0" fmla="*/ 1078707 h 1204913"/>
                <a:gd name="connsiteX1" fmla="*/ 688181 w 1562100"/>
                <a:gd name="connsiteY1" fmla="*/ 992982 h 1204913"/>
                <a:gd name="connsiteX2" fmla="*/ 692944 w 1562100"/>
                <a:gd name="connsiteY2" fmla="*/ 950119 h 1204913"/>
                <a:gd name="connsiteX3" fmla="*/ 692944 w 1562100"/>
                <a:gd name="connsiteY3" fmla="*/ 904876 h 1204913"/>
                <a:gd name="connsiteX4" fmla="*/ 676275 w 1562100"/>
                <a:gd name="connsiteY4" fmla="*/ 881063 h 1204913"/>
                <a:gd name="connsiteX5" fmla="*/ 690563 w 1562100"/>
                <a:gd name="connsiteY5" fmla="*/ 828676 h 1204913"/>
                <a:gd name="connsiteX6" fmla="*/ 685800 w 1562100"/>
                <a:gd name="connsiteY6" fmla="*/ 802482 h 1204913"/>
                <a:gd name="connsiteX7" fmla="*/ 697706 w 1562100"/>
                <a:gd name="connsiteY7" fmla="*/ 757238 h 1204913"/>
                <a:gd name="connsiteX8" fmla="*/ 714375 w 1562100"/>
                <a:gd name="connsiteY8" fmla="*/ 733426 h 1204913"/>
                <a:gd name="connsiteX9" fmla="*/ 721519 w 1562100"/>
                <a:gd name="connsiteY9" fmla="*/ 700088 h 1204913"/>
                <a:gd name="connsiteX10" fmla="*/ 735806 w 1562100"/>
                <a:gd name="connsiteY10" fmla="*/ 681038 h 1204913"/>
                <a:gd name="connsiteX11" fmla="*/ 792956 w 1562100"/>
                <a:gd name="connsiteY11" fmla="*/ 671513 h 1204913"/>
                <a:gd name="connsiteX12" fmla="*/ 838200 w 1562100"/>
                <a:gd name="connsiteY12" fmla="*/ 654844 h 1204913"/>
                <a:gd name="connsiteX13" fmla="*/ 876300 w 1562100"/>
                <a:gd name="connsiteY13" fmla="*/ 614363 h 1204913"/>
                <a:gd name="connsiteX14" fmla="*/ 923925 w 1562100"/>
                <a:gd name="connsiteY14" fmla="*/ 600076 h 1204913"/>
                <a:gd name="connsiteX15" fmla="*/ 995363 w 1562100"/>
                <a:gd name="connsiteY15" fmla="*/ 595313 h 1204913"/>
                <a:gd name="connsiteX16" fmla="*/ 1040606 w 1562100"/>
                <a:gd name="connsiteY16" fmla="*/ 585788 h 1204913"/>
                <a:gd name="connsiteX17" fmla="*/ 1119188 w 1562100"/>
                <a:gd name="connsiteY17" fmla="*/ 478632 h 1204913"/>
                <a:gd name="connsiteX18" fmla="*/ 1126331 w 1562100"/>
                <a:gd name="connsiteY18" fmla="*/ 445294 h 1204913"/>
                <a:gd name="connsiteX19" fmla="*/ 1152525 w 1562100"/>
                <a:gd name="connsiteY19" fmla="*/ 416719 h 1204913"/>
                <a:gd name="connsiteX20" fmla="*/ 1197769 w 1562100"/>
                <a:gd name="connsiteY20" fmla="*/ 407194 h 1204913"/>
                <a:gd name="connsiteX21" fmla="*/ 1290638 w 1562100"/>
                <a:gd name="connsiteY21" fmla="*/ 330994 h 1204913"/>
                <a:gd name="connsiteX22" fmla="*/ 1314450 w 1562100"/>
                <a:gd name="connsiteY22" fmla="*/ 328613 h 1204913"/>
                <a:gd name="connsiteX23" fmla="*/ 1409700 w 1562100"/>
                <a:gd name="connsiteY23" fmla="*/ 247651 h 1204913"/>
                <a:gd name="connsiteX24" fmla="*/ 1414463 w 1562100"/>
                <a:gd name="connsiteY24" fmla="*/ 228601 h 1204913"/>
                <a:gd name="connsiteX25" fmla="*/ 1507331 w 1562100"/>
                <a:gd name="connsiteY25" fmla="*/ 173832 h 1204913"/>
                <a:gd name="connsiteX26" fmla="*/ 1543050 w 1562100"/>
                <a:gd name="connsiteY26" fmla="*/ 128588 h 1204913"/>
                <a:gd name="connsiteX27" fmla="*/ 1562100 w 1562100"/>
                <a:gd name="connsiteY27" fmla="*/ 90488 h 1204913"/>
                <a:gd name="connsiteX28" fmla="*/ 1512094 w 1562100"/>
                <a:gd name="connsiteY28" fmla="*/ 109538 h 1204913"/>
                <a:gd name="connsiteX29" fmla="*/ 1478756 w 1562100"/>
                <a:gd name="connsiteY29" fmla="*/ 109538 h 1204913"/>
                <a:gd name="connsiteX30" fmla="*/ 1452563 w 1562100"/>
                <a:gd name="connsiteY30" fmla="*/ 147638 h 1204913"/>
                <a:gd name="connsiteX31" fmla="*/ 1421606 w 1562100"/>
                <a:gd name="connsiteY31" fmla="*/ 145257 h 1204913"/>
                <a:gd name="connsiteX32" fmla="*/ 1366838 w 1562100"/>
                <a:gd name="connsiteY32" fmla="*/ 114301 h 1204913"/>
                <a:gd name="connsiteX33" fmla="*/ 1323975 w 1562100"/>
                <a:gd name="connsiteY33" fmla="*/ 102394 h 1204913"/>
                <a:gd name="connsiteX34" fmla="*/ 1238250 w 1562100"/>
                <a:gd name="connsiteY34" fmla="*/ 138113 h 1204913"/>
                <a:gd name="connsiteX35" fmla="*/ 1223963 w 1562100"/>
                <a:gd name="connsiteY35" fmla="*/ 176213 h 1204913"/>
                <a:gd name="connsiteX36" fmla="*/ 1195388 w 1562100"/>
                <a:gd name="connsiteY36" fmla="*/ 233363 h 1204913"/>
                <a:gd name="connsiteX37" fmla="*/ 1109663 w 1562100"/>
                <a:gd name="connsiteY37" fmla="*/ 195263 h 1204913"/>
                <a:gd name="connsiteX38" fmla="*/ 1097756 w 1562100"/>
                <a:gd name="connsiteY38" fmla="*/ 238126 h 1204913"/>
                <a:gd name="connsiteX39" fmla="*/ 1083469 w 1562100"/>
                <a:gd name="connsiteY39" fmla="*/ 271463 h 1204913"/>
                <a:gd name="connsiteX40" fmla="*/ 959644 w 1562100"/>
                <a:gd name="connsiteY40" fmla="*/ 302419 h 1204913"/>
                <a:gd name="connsiteX41" fmla="*/ 945356 w 1562100"/>
                <a:gd name="connsiteY41" fmla="*/ 297657 h 1204913"/>
                <a:gd name="connsiteX42" fmla="*/ 926306 w 1562100"/>
                <a:gd name="connsiteY42" fmla="*/ 319088 h 1204913"/>
                <a:gd name="connsiteX43" fmla="*/ 890588 w 1562100"/>
                <a:gd name="connsiteY43" fmla="*/ 326232 h 1204913"/>
                <a:gd name="connsiteX44" fmla="*/ 854869 w 1562100"/>
                <a:gd name="connsiteY44" fmla="*/ 276226 h 1204913"/>
                <a:gd name="connsiteX45" fmla="*/ 835819 w 1562100"/>
                <a:gd name="connsiteY45" fmla="*/ 264319 h 1204913"/>
                <a:gd name="connsiteX46" fmla="*/ 826294 w 1562100"/>
                <a:gd name="connsiteY46" fmla="*/ 219076 h 1204913"/>
                <a:gd name="connsiteX47" fmla="*/ 792956 w 1562100"/>
                <a:gd name="connsiteY47" fmla="*/ 202407 h 1204913"/>
                <a:gd name="connsiteX48" fmla="*/ 759619 w 1562100"/>
                <a:gd name="connsiteY48" fmla="*/ 195263 h 1204913"/>
                <a:gd name="connsiteX49" fmla="*/ 740569 w 1562100"/>
                <a:gd name="connsiteY49" fmla="*/ 190501 h 1204913"/>
                <a:gd name="connsiteX50" fmla="*/ 728663 w 1562100"/>
                <a:gd name="connsiteY50" fmla="*/ 180976 h 1204913"/>
                <a:gd name="connsiteX51" fmla="*/ 735806 w 1562100"/>
                <a:gd name="connsiteY51" fmla="*/ 154782 h 1204913"/>
                <a:gd name="connsiteX52" fmla="*/ 742950 w 1562100"/>
                <a:gd name="connsiteY52" fmla="*/ 130969 h 1204913"/>
                <a:gd name="connsiteX53" fmla="*/ 700088 w 1562100"/>
                <a:gd name="connsiteY53" fmla="*/ 80963 h 1204913"/>
                <a:gd name="connsiteX54" fmla="*/ 392906 w 1562100"/>
                <a:gd name="connsiteY54" fmla="*/ 19051 h 1204913"/>
                <a:gd name="connsiteX55" fmla="*/ 314326 w 1562100"/>
                <a:gd name="connsiteY55" fmla="*/ 0 h 1204913"/>
                <a:gd name="connsiteX56" fmla="*/ 328613 w 1562100"/>
                <a:gd name="connsiteY56" fmla="*/ 78582 h 1204913"/>
                <a:gd name="connsiteX57" fmla="*/ 292894 w 1562100"/>
                <a:gd name="connsiteY57" fmla="*/ 180976 h 1204913"/>
                <a:gd name="connsiteX58" fmla="*/ 264319 w 1562100"/>
                <a:gd name="connsiteY58" fmla="*/ 188119 h 1204913"/>
                <a:gd name="connsiteX59" fmla="*/ 261938 w 1562100"/>
                <a:gd name="connsiteY59" fmla="*/ 202407 h 1204913"/>
                <a:gd name="connsiteX60" fmla="*/ 261938 w 1562100"/>
                <a:gd name="connsiteY60" fmla="*/ 235744 h 1204913"/>
                <a:gd name="connsiteX61" fmla="*/ 228600 w 1562100"/>
                <a:gd name="connsiteY61" fmla="*/ 278607 h 1204913"/>
                <a:gd name="connsiteX62" fmla="*/ 271463 w 1562100"/>
                <a:gd name="connsiteY62" fmla="*/ 295276 h 1204913"/>
                <a:gd name="connsiteX63" fmla="*/ 278606 w 1562100"/>
                <a:gd name="connsiteY63" fmla="*/ 314326 h 1204913"/>
                <a:gd name="connsiteX64" fmla="*/ 257175 w 1562100"/>
                <a:gd name="connsiteY64" fmla="*/ 350044 h 1204913"/>
                <a:gd name="connsiteX65" fmla="*/ 221456 w 1562100"/>
                <a:gd name="connsiteY65" fmla="*/ 359569 h 1204913"/>
                <a:gd name="connsiteX66" fmla="*/ 221456 w 1562100"/>
                <a:gd name="connsiteY66" fmla="*/ 400051 h 1204913"/>
                <a:gd name="connsiteX67" fmla="*/ 254794 w 1562100"/>
                <a:gd name="connsiteY67" fmla="*/ 438151 h 1204913"/>
                <a:gd name="connsiteX68" fmla="*/ 226219 w 1562100"/>
                <a:gd name="connsiteY68" fmla="*/ 502444 h 1204913"/>
                <a:gd name="connsiteX69" fmla="*/ 180975 w 1562100"/>
                <a:gd name="connsiteY69" fmla="*/ 531019 h 1204913"/>
                <a:gd name="connsiteX70" fmla="*/ 183356 w 1562100"/>
                <a:gd name="connsiteY70" fmla="*/ 547688 h 1204913"/>
                <a:gd name="connsiteX71" fmla="*/ 204788 w 1562100"/>
                <a:gd name="connsiteY71" fmla="*/ 557213 h 1204913"/>
                <a:gd name="connsiteX72" fmla="*/ 219075 w 1562100"/>
                <a:gd name="connsiteY72" fmla="*/ 566738 h 1204913"/>
                <a:gd name="connsiteX73" fmla="*/ 223838 w 1562100"/>
                <a:gd name="connsiteY73" fmla="*/ 585788 h 1204913"/>
                <a:gd name="connsiteX74" fmla="*/ 195263 w 1562100"/>
                <a:gd name="connsiteY74" fmla="*/ 611982 h 1204913"/>
                <a:gd name="connsiteX75" fmla="*/ 123825 w 1562100"/>
                <a:gd name="connsiteY75" fmla="*/ 657226 h 1204913"/>
                <a:gd name="connsiteX76" fmla="*/ 123825 w 1562100"/>
                <a:gd name="connsiteY76" fmla="*/ 692944 h 1204913"/>
                <a:gd name="connsiteX77" fmla="*/ 135731 w 1562100"/>
                <a:gd name="connsiteY77" fmla="*/ 723901 h 1204913"/>
                <a:gd name="connsiteX78" fmla="*/ 123825 w 1562100"/>
                <a:gd name="connsiteY78" fmla="*/ 764382 h 1204913"/>
                <a:gd name="connsiteX79" fmla="*/ 76200 w 1562100"/>
                <a:gd name="connsiteY79" fmla="*/ 759619 h 1204913"/>
                <a:gd name="connsiteX80" fmla="*/ 52388 w 1562100"/>
                <a:gd name="connsiteY80" fmla="*/ 704851 h 1204913"/>
                <a:gd name="connsiteX81" fmla="*/ 33338 w 1562100"/>
                <a:gd name="connsiteY81" fmla="*/ 697707 h 1204913"/>
                <a:gd name="connsiteX82" fmla="*/ 23813 w 1562100"/>
                <a:gd name="connsiteY82" fmla="*/ 735807 h 1204913"/>
                <a:gd name="connsiteX83" fmla="*/ 21431 w 1562100"/>
                <a:gd name="connsiteY83" fmla="*/ 745332 h 1204913"/>
                <a:gd name="connsiteX84" fmla="*/ 7144 w 1562100"/>
                <a:gd name="connsiteY84" fmla="*/ 762001 h 1204913"/>
                <a:gd name="connsiteX85" fmla="*/ 0 w 1562100"/>
                <a:gd name="connsiteY85" fmla="*/ 819151 h 1204913"/>
                <a:gd name="connsiteX86" fmla="*/ 23813 w 1562100"/>
                <a:gd name="connsiteY86" fmla="*/ 847726 h 1204913"/>
                <a:gd name="connsiteX87" fmla="*/ 16669 w 1562100"/>
                <a:gd name="connsiteY87" fmla="*/ 888207 h 1204913"/>
                <a:gd name="connsiteX88" fmla="*/ 35719 w 1562100"/>
                <a:gd name="connsiteY88" fmla="*/ 892969 h 1204913"/>
                <a:gd name="connsiteX89" fmla="*/ 69056 w 1562100"/>
                <a:gd name="connsiteY89" fmla="*/ 892969 h 1204913"/>
                <a:gd name="connsiteX90" fmla="*/ 85725 w 1562100"/>
                <a:gd name="connsiteY90" fmla="*/ 883444 h 1204913"/>
                <a:gd name="connsiteX91" fmla="*/ 135731 w 1562100"/>
                <a:gd name="connsiteY91" fmla="*/ 940594 h 1204913"/>
                <a:gd name="connsiteX92" fmla="*/ 123825 w 1562100"/>
                <a:gd name="connsiteY92" fmla="*/ 959644 h 1204913"/>
                <a:gd name="connsiteX93" fmla="*/ 133350 w 1562100"/>
                <a:gd name="connsiteY93" fmla="*/ 988219 h 1204913"/>
                <a:gd name="connsiteX94" fmla="*/ 164306 w 1562100"/>
                <a:gd name="connsiteY94" fmla="*/ 1007269 h 1204913"/>
                <a:gd name="connsiteX95" fmla="*/ 190500 w 1562100"/>
                <a:gd name="connsiteY95" fmla="*/ 1016794 h 1204913"/>
                <a:gd name="connsiteX96" fmla="*/ 216694 w 1562100"/>
                <a:gd name="connsiteY96" fmla="*/ 1023938 h 1204913"/>
                <a:gd name="connsiteX97" fmla="*/ 228600 w 1562100"/>
                <a:gd name="connsiteY97" fmla="*/ 1026319 h 1204913"/>
                <a:gd name="connsiteX98" fmla="*/ 240506 w 1562100"/>
                <a:gd name="connsiteY98" fmla="*/ 988219 h 1204913"/>
                <a:gd name="connsiteX99" fmla="*/ 269081 w 1562100"/>
                <a:gd name="connsiteY99" fmla="*/ 992982 h 1204913"/>
                <a:gd name="connsiteX100" fmla="*/ 288131 w 1562100"/>
                <a:gd name="connsiteY100" fmla="*/ 981076 h 1204913"/>
                <a:gd name="connsiteX101" fmla="*/ 307181 w 1562100"/>
                <a:gd name="connsiteY101" fmla="*/ 1031082 h 1204913"/>
                <a:gd name="connsiteX102" fmla="*/ 330994 w 1562100"/>
                <a:gd name="connsiteY102" fmla="*/ 1045369 h 1204913"/>
                <a:gd name="connsiteX103" fmla="*/ 340519 w 1562100"/>
                <a:gd name="connsiteY103" fmla="*/ 1073944 h 1204913"/>
                <a:gd name="connsiteX104" fmla="*/ 357188 w 1562100"/>
                <a:gd name="connsiteY104" fmla="*/ 1083469 h 1204913"/>
                <a:gd name="connsiteX105" fmla="*/ 364331 w 1562100"/>
                <a:gd name="connsiteY105" fmla="*/ 1114426 h 1204913"/>
                <a:gd name="connsiteX106" fmla="*/ 335756 w 1562100"/>
                <a:gd name="connsiteY106" fmla="*/ 1140619 h 1204913"/>
                <a:gd name="connsiteX107" fmla="*/ 309563 w 1562100"/>
                <a:gd name="connsiteY107" fmla="*/ 1157288 h 1204913"/>
                <a:gd name="connsiteX108" fmla="*/ 297656 w 1562100"/>
                <a:gd name="connsiteY108" fmla="*/ 1181101 h 1204913"/>
                <a:gd name="connsiteX109" fmla="*/ 302419 w 1562100"/>
                <a:gd name="connsiteY109" fmla="*/ 1204913 h 1204913"/>
                <a:gd name="connsiteX110" fmla="*/ 342900 w 1562100"/>
                <a:gd name="connsiteY110" fmla="*/ 1204913 h 1204913"/>
                <a:gd name="connsiteX111" fmla="*/ 390525 w 1562100"/>
                <a:gd name="connsiteY111" fmla="*/ 1200151 h 1204913"/>
                <a:gd name="connsiteX112" fmla="*/ 428625 w 1562100"/>
                <a:gd name="connsiteY112" fmla="*/ 1190626 h 1204913"/>
                <a:gd name="connsiteX113" fmla="*/ 454819 w 1562100"/>
                <a:gd name="connsiteY113" fmla="*/ 1197769 h 1204913"/>
                <a:gd name="connsiteX114" fmla="*/ 473869 w 1562100"/>
                <a:gd name="connsiteY114" fmla="*/ 1176338 h 1204913"/>
                <a:gd name="connsiteX115" fmla="*/ 492919 w 1562100"/>
                <a:gd name="connsiteY115" fmla="*/ 1176338 h 1204913"/>
                <a:gd name="connsiteX116" fmla="*/ 507206 w 1562100"/>
                <a:gd name="connsiteY116" fmla="*/ 1145382 h 1204913"/>
                <a:gd name="connsiteX117" fmla="*/ 557213 w 1562100"/>
                <a:gd name="connsiteY117" fmla="*/ 1131094 h 1204913"/>
                <a:gd name="connsiteX118" fmla="*/ 583406 w 1562100"/>
                <a:gd name="connsiteY118" fmla="*/ 1112044 h 1204913"/>
                <a:gd name="connsiteX119" fmla="*/ 590550 w 1562100"/>
                <a:gd name="connsiteY119" fmla="*/ 1073944 h 1204913"/>
                <a:gd name="connsiteX120" fmla="*/ 607219 w 1562100"/>
                <a:gd name="connsiteY120" fmla="*/ 1047751 h 1204913"/>
                <a:gd name="connsiteX121" fmla="*/ 688181 w 1562100"/>
                <a:gd name="connsiteY121" fmla="*/ 1078707 h 1204913"/>
                <a:gd name="connsiteX0" fmla="*/ 688181 w 1562100"/>
                <a:gd name="connsiteY0" fmla="*/ 1089758 h 1215964"/>
                <a:gd name="connsiteX1" fmla="*/ 688181 w 1562100"/>
                <a:gd name="connsiteY1" fmla="*/ 1004033 h 1215964"/>
                <a:gd name="connsiteX2" fmla="*/ 692944 w 1562100"/>
                <a:gd name="connsiteY2" fmla="*/ 961170 h 1215964"/>
                <a:gd name="connsiteX3" fmla="*/ 692944 w 1562100"/>
                <a:gd name="connsiteY3" fmla="*/ 915927 h 1215964"/>
                <a:gd name="connsiteX4" fmla="*/ 676275 w 1562100"/>
                <a:gd name="connsiteY4" fmla="*/ 892114 h 1215964"/>
                <a:gd name="connsiteX5" fmla="*/ 690563 w 1562100"/>
                <a:gd name="connsiteY5" fmla="*/ 839727 h 1215964"/>
                <a:gd name="connsiteX6" fmla="*/ 685800 w 1562100"/>
                <a:gd name="connsiteY6" fmla="*/ 813533 h 1215964"/>
                <a:gd name="connsiteX7" fmla="*/ 697706 w 1562100"/>
                <a:gd name="connsiteY7" fmla="*/ 768289 h 1215964"/>
                <a:gd name="connsiteX8" fmla="*/ 714375 w 1562100"/>
                <a:gd name="connsiteY8" fmla="*/ 744477 h 1215964"/>
                <a:gd name="connsiteX9" fmla="*/ 721519 w 1562100"/>
                <a:gd name="connsiteY9" fmla="*/ 711139 h 1215964"/>
                <a:gd name="connsiteX10" fmla="*/ 735806 w 1562100"/>
                <a:gd name="connsiteY10" fmla="*/ 692089 h 1215964"/>
                <a:gd name="connsiteX11" fmla="*/ 792956 w 1562100"/>
                <a:gd name="connsiteY11" fmla="*/ 682564 h 1215964"/>
                <a:gd name="connsiteX12" fmla="*/ 838200 w 1562100"/>
                <a:gd name="connsiteY12" fmla="*/ 665895 h 1215964"/>
                <a:gd name="connsiteX13" fmla="*/ 876300 w 1562100"/>
                <a:gd name="connsiteY13" fmla="*/ 625414 h 1215964"/>
                <a:gd name="connsiteX14" fmla="*/ 923925 w 1562100"/>
                <a:gd name="connsiteY14" fmla="*/ 611127 h 1215964"/>
                <a:gd name="connsiteX15" fmla="*/ 995363 w 1562100"/>
                <a:gd name="connsiteY15" fmla="*/ 606364 h 1215964"/>
                <a:gd name="connsiteX16" fmla="*/ 1040606 w 1562100"/>
                <a:gd name="connsiteY16" fmla="*/ 596839 h 1215964"/>
                <a:gd name="connsiteX17" fmla="*/ 1119188 w 1562100"/>
                <a:gd name="connsiteY17" fmla="*/ 489683 h 1215964"/>
                <a:gd name="connsiteX18" fmla="*/ 1126331 w 1562100"/>
                <a:gd name="connsiteY18" fmla="*/ 456345 h 1215964"/>
                <a:gd name="connsiteX19" fmla="*/ 1152525 w 1562100"/>
                <a:gd name="connsiteY19" fmla="*/ 427770 h 1215964"/>
                <a:gd name="connsiteX20" fmla="*/ 1197769 w 1562100"/>
                <a:gd name="connsiteY20" fmla="*/ 418245 h 1215964"/>
                <a:gd name="connsiteX21" fmla="*/ 1290638 w 1562100"/>
                <a:gd name="connsiteY21" fmla="*/ 342045 h 1215964"/>
                <a:gd name="connsiteX22" fmla="*/ 1314450 w 1562100"/>
                <a:gd name="connsiteY22" fmla="*/ 339664 h 1215964"/>
                <a:gd name="connsiteX23" fmla="*/ 1409700 w 1562100"/>
                <a:gd name="connsiteY23" fmla="*/ 258702 h 1215964"/>
                <a:gd name="connsiteX24" fmla="*/ 1414463 w 1562100"/>
                <a:gd name="connsiteY24" fmla="*/ 239652 h 1215964"/>
                <a:gd name="connsiteX25" fmla="*/ 1507331 w 1562100"/>
                <a:gd name="connsiteY25" fmla="*/ 184883 h 1215964"/>
                <a:gd name="connsiteX26" fmla="*/ 1543050 w 1562100"/>
                <a:gd name="connsiteY26" fmla="*/ 139639 h 1215964"/>
                <a:gd name="connsiteX27" fmla="*/ 1562100 w 1562100"/>
                <a:gd name="connsiteY27" fmla="*/ 101539 h 1215964"/>
                <a:gd name="connsiteX28" fmla="*/ 1512094 w 1562100"/>
                <a:gd name="connsiteY28" fmla="*/ 120589 h 1215964"/>
                <a:gd name="connsiteX29" fmla="*/ 1478756 w 1562100"/>
                <a:gd name="connsiteY29" fmla="*/ 120589 h 1215964"/>
                <a:gd name="connsiteX30" fmla="*/ 1452563 w 1562100"/>
                <a:gd name="connsiteY30" fmla="*/ 158689 h 1215964"/>
                <a:gd name="connsiteX31" fmla="*/ 1421606 w 1562100"/>
                <a:gd name="connsiteY31" fmla="*/ 156308 h 1215964"/>
                <a:gd name="connsiteX32" fmla="*/ 1366838 w 1562100"/>
                <a:gd name="connsiteY32" fmla="*/ 125352 h 1215964"/>
                <a:gd name="connsiteX33" fmla="*/ 1323975 w 1562100"/>
                <a:gd name="connsiteY33" fmla="*/ 113445 h 1215964"/>
                <a:gd name="connsiteX34" fmla="*/ 1238250 w 1562100"/>
                <a:gd name="connsiteY34" fmla="*/ 149164 h 1215964"/>
                <a:gd name="connsiteX35" fmla="*/ 1223963 w 1562100"/>
                <a:gd name="connsiteY35" fmla="*/ 187264 h 1215964"/>
                <a:gd name="connsiteX36" fmla="*/ 1195388 w 1562100"/>
                <a:gd name="connsiteY36" fmla="*/ 244414 h 1215964"/>
                <a:gd name="connsiteX37" fmla="*/ 1109663 w 1562100"/>
                <a:gd name="connsiteY37" fmla="*/ 206314 h 1215964"/>
                <a:gd name="connsiteX38" fmla="*/ 1097756 w 1562100"/>
                <a:gd name="connsiteY38" fmla="*/ 249177 h 1215964"/>
                <a:gd name="connsiteX39" fmla="*/ 1083469 w 1562100"/>
                <a:gd name="connsiteY39" fmla="*/ 282514 h 1215964"/>
                <a:gd name="connsiteX40" fmla="*/ 959644 w 1562100"/>
                <a:gd name="connsiteY40" fmla="*/ 313470 h 1215964"/>
                <a:gd name="connsiteX41" fmla="*/ 945356 w 1562100"/>
                <a:gd name="connsiteY41" fmla="*/ 308708 h 1215964"/>
                <a:gd name="connsiteX42" fmla="*/ 926306 w 1562100"/>
                <a:gd name="connsiteY42" fmla="*/ 330139 h 1215964"/>
                <a:gd name="connsiteX43" fmla="*/ 890588 w 1562100"/>
                <a:gd name="connsiteY43" fmla="*/ 337283 h 1215964"/>
                <a:gd name="connsiteX44" fmla="*/ 854869 w 1562100"/>
                <a:gd name="connsiteY44" fmla="*/ 287277 h 1215964"/>
                <a:gd name="connsiteX45" fmla="*/ 835819 w 1562100"/>
                <a:gd name="connsiteY45" fmla="*/ 275370 h 1215964"/>
                <a:gd name="connsiteX46" fmla="*/ 826294 w 1562100"/>
                <a:gd name="connsiteY46" fmla="*/ 230127 h 1215964"/>
                <a:gd name="connsiteX47" fmla="*/ 792956 w 1562100"/>
                <a:gd name="connsiteY47" fmla="*/ 213458 h 1215964"/>
                <a:gd name="connsiteX48" fmla="*/ 759619 w 1562100"/>
                <a:gd name="connsiteY48" fmla="*/ 206314 h 1215964"/>
                <a:gd name="connsiteX49" fmla="*/ 740569 w 1562100"/>
                <a:gd name="connsiteY49" fmla="*/ 201552 h 1215964"/>
                <a:gd name="connsiteX50" fmla="*/ 728663 w 1562100"/>
                <a:gd name="connsiteY50" fmla="*/ 192027 h 1215964"/>
                <a:gd name="connsiteX51" fmla="*/ 735806 w 1562100"/>
                <a:gd name="connsiteY51" fmla="*/ 165833 h 1215964"/>
                <a:gd name="connsiteX52" fmla="*/ 742950 w 1562100"/>
                <a:gd name="connsiteY52" fmla="*/ 142020 h 1215964"/>
                <a:gd name="connsiteX53" fmla="*/ 700088 w 1562100"/>
                <a:gd name="connsiteY53" fmla="*/ 92014 h 1215964"/>
                <a:gd name="connsiteX54" fmla="*/ 376238 w 1562100"/>
                <a:gd name="connsiteY54" fmla="*/ 11052 h 1215964"/>
                <a:gd name="connsiteX55" fmla="*/ 314326 w 1562100"/>
                <a:gd name="connsiteY55" fmla="*/ 11051 h 1215964"/>
                <a:gd name="connsiteX56" fmla="*/ 328613 w 1562100"/>
                <a:gd name="connsiteY56" fmla="*/ 89633 h 1215964"/>
                <a:gd name="connsiteX57" fmla="*/ 292894 w 1562100"/>
                <a:gd name="connsiteY57" fmla="*/ 192027 h 1215964"/>
                <a:gd name="connsiteX58" fmla="*/ 264319 w 1562100"/>
                <a:gd name="connsiteY58" fmla="*/ 199170 h 1215964"/>
                <a:gd name="connsiteX59" fmla="*/ 261938 w 1562100"/>
                <a:gd name="connsiteY59" fmla="*/ 213458 h 1215964"/>
                <a:gd name="connsiteX60" fmla="*/ 261938 w 1562100"/>
                <a:gd name="connsiteY60" fmla="*/ 246795 h 1215964"/>
                <a:gd name="connsiteX61" fmla="*/ 228600 w 1562100"/>
                <a:gd name="connsiteY61" fmla="*/ 289658 h 1215964"/>
                <a:gd name="connsiteX62" fmla="*/ 271463 w 1562100"/>
                <a:gd name="connsiteY62" fmla="*/ 306327 h 1215964"/>
                <a:gd name="connsiteX63" fmla="*/ 278606 w 1562100"/>
                <a:gd name="connsiteY63" fmla="*/ 325377 h 1215964"/>
                <a:gd name="connsiteX64" fmla="*/ 257175 w 1562100"/>
                <a:gd name="connsiteY64" fmla="*/ 361095 h 1215964"/>
                <a:gd name="connsiteX65" fmla="*/ 221456 w 1562100"/>
                <a:gd name="connsiteY65" fmla="*/ 370620 h 1215964"/>
                <a:gd name="connsiteX66" fmla="*/ 221456 w 1562100"/>
                <a:gd name="connsiteY66" fmla="*/ 411102 h 1215964"/>
                <a:gd name="connsiteX67" fmla="*/ 254794 w 1562100"/>
                <a:gd name="connsiteY67" fmla="*/ 449202 h 1215964"/>
                <a:gd name="connsiteX68" fmla="*/ 226219 w 1562100"/>
                <a:gd name="connsiteY68" fmla="*/ 513495 h 1215964"/>
                <a:gd name="connsiteX69" fmla="*/ 180975 w 1562100"/>
                <a:gd name="connsiteY69" fmla="*/ 542070 h 1215964"/>
                <a:gd name="connsiteX70" fmla="*/ 183356 w 1562100"/>
                <a:gd name="connsiteY70" fmla="*/ 558739 h 1215964"/>
                <a:gd name="connsiteX71" fmla="*/ 204788 w 1562100"/>
                <a:gd name="connsiteY71" fmla="*/ 568264 h 1215964"/>
                <a:gd name="connsiteX72" fmla="*/ 219075 w 1562100"/>
                <a:gd name="connsiteY72" fmla="*/ 577789 h 1215964"/>
                <a:gd name="connsiteX73" fmla="*/ 223838 w 1562100"/>
                <a:gd name="connsiteY73" fmla="*/ 596839 h 1215964"/>
                <a:gd name="connsiteX74" fmla="*/ 195263 w 1562100"/>
                <a:gd name="connsiteY74" fmla="*/ 623033 h 1215964"/>
                <a:gd name="connsiteX75" fmla="*/ 123825 w 1562100"/>
                <a:gd name="connsiteY75" fmla="*/ 668277 h 1215964"/>
                <a:gd name="connsiteX76" fmla="*/ 123825 w 1562100"/>
                <a:gd name="connsiteY76" fmla="*/ 703995 h 1215964"/>
                <a:gd name="connsiteX77" fmla="*/ 135731 w 1562100"/>
                <a:gd name="connsiteY77" fmla="*/ 734952 h 1215964"/>
                <a:gd name="connsiteX78" fmla="*/ 123825 w 1562100"/>
                <a:gd name="connsiteY78" fmla="*/ 775433 h 1215964"/>
                <a:gd name="connsiteX79" fmla="*/ 76200 w 1562100"/>
                <a:gd name="connsiteY79" fmla="*/ 770670 h 1215964"/>
                <a:gd name="connsiteX80" fmla="*/ 52388 w 1562100"/>
                <a:gd name="connsiteY80" fmla="*/ 715902 h 1215964"/>
                <a:gd name="connsiteX81" fmla="*/ 33338 w 1562100"/>
                <a:gd name="connsiteY81" fmla="*/ 708758 h 1215964"/>
                <a:gd name="connsiteX82" fmla="*/ 23813 w 1562100"/>
                <a:gd name="connsiteY82" fmla="*/ 746858 h 1215964"/>
                <a:gd name="connsiteX83" fmla="*/ 21431 w 1562100"/>
                <a:gd name="connsiteY83" fmla="*/ 756383 h 1215964"/>
                <a:gd name="connsiteX84" fmla="*/ 7144 w 1562100"/>
                <a:gd name="connsiteY84" fmla="*/ 773052 h 1215964"/>
                <a:gd name="connsiteX85" fmla="*/ 0 w 1562100"/>
                <a:gd name="connsiteY85" fmla="*/ 830202 h 1215964"/>
                <a:gd name="connsiteX86" fmla="*/ 23813 w 1562100"/>
                <a:gd name="connsiteY86" fmla="*/ 858777 h 1215964"/>
                <a:gd name="connsiteX87" fmla="*/ 16669 w 1562100"/>
                <a:gd name="connsiteY87" fmla="*/ 899258 h 1215964"/>
                <a:gd name="connsiteX88" fmla="*/ 35719 w 1562100"/>
                <a:gd name="connsiteY88" fmla="*/ 904020 h 1215964"/>
                <a:gd name="connsiteX89" fmla="*/ 69056 w 1562100"/>
                <a:gd name="connsiteY89" fmla="*/ 904020 h 1215964"/>
                <a:gd name="connsiteX90" fmla="*/ 85725 w 1562100"/>
                <a:gd name="connsiteY90" fmla="*/ 894495 h 1215964"/>
                <a:gd name="connsiteX91" fmla="*/ 135731 w 1562100"/>
                <a:gd name="connsiteY91" fmla="*/ 951645 h 1215964"/>
                <a:gd name="connsiteX92" fmla="*/ 123825 w 1562100"/>
                <a:gd name="connsiteY92" fmla="*/ 970695 h 1215964"/>
                <a:gd name="connsiteX93" fmla="*/ 133350 w 1562100"/>
                <a:gd name="connsiteY93" fmla="*/ 999270 h 1215964"/>
                <a:gd name="connsiteX94" fmla="*/ 164306 w 1562100"/>
                <a:gd name="connsiteY94" fmla="*/ 1018320 h 1215964"/>
                <a:gd name="connsiteX95" fmla="*/ 190500 w 1562100"/>
                <a:gd name="connsiteY95" fmla="*/ 1027845 h 1215964"/>
                <a:gd name="connsiteX96" fmla="*/ 216694 w 1562100"/>
                <a:gd name="connsiteY96" fmla="*/ 1034989 h 1215964"/>
                <a:gd name="connsiteX97" fmla="*/ 228600 w 1562100"/>
                <a:gd name="connsiteY97" fmla="*/ 1037370 h 1215964"/>
                <a:gd name="connsiteX98" fmla="*/ 240506 w 1562100"/>
                <a:gd name="connsiteY98" fmla="*/ 999270 h 1215964"/>
                <a:gd name="connsiteX99" fmla="*/ 269081 w 1562100"/>
                <a:gd name="connsiteY99" fmla="*/ 1004033 h 1215964"/>
                <a:gd name="connsiteX100" fmla="*/ 288131 w 1562100"/>
                <a:gd name="connsiteY100" fmla="*/ 992127 h 1215964"/>
                <a:gd name="connsiteX101" fmla="*/ 307181 w 1562100"/>
                <a:gd name="connsiteY101" fmla="*/ 1042133 h 1215964"/>
                <a:gd name="connsiteX102" fmla="*/ 330994 w 1562100"/>
                <a:gd name="connsiteY102" fmla="*/ 1056420 h 1215964"/>
                <a:gd name="connsiteX103" fmla="*/ 340519 w 1562100"/>
                <a:gd name="connsiteY103" fmla="*/ 1084995 h 1215964"/>
                <a:gd name="connsiteX104" fmla="*/ 357188 w 1562100"/>
                <a:gd name="connsiteY104" fmla="*/ 1094520 h 1215964"/>
                <a:gd name="connsiteX105" fmla="*/ 364331 w 1562100"/>
                <a:gd name="connsiteY105" fmla="*/ 1125477 h 1215964"/>
                <a:gd name="connsiteX106" fmla="*/ 335756 w 1562100"/>
                <a:gd name="connsiteY106" fmla="*/ 1151670 h 1215964"/>
                <a:gd name="connsiteX107" fmla="*/ 309563 w 1562100"/>
                <a:gd name="connsiteY107" fmla="*/ 1168339 h 1215964"/>
                <a:gd name="connsiteX108" fmla="*/ 297656 w 1562100"/>
                <a:gd name="connsiteY108" fmla="*/ 1192152 h 1215964"/>
                <a:gd name="connsiteX109" fmla="*/ 302419 w 1562100"/>
                <a:gd name="connsiteY109" fmla="*/ 1215964 h 1215964"/>
                <a:gd name="connsiteX110" fmla="*/ 342900 w 1562100"/>
                <a:gd name="connsiteY110" fmla="*/ 1215964 h 1215964"/>
                <a:gd name="connsiteX111" fmla="*/ 390525 w 1562100"/>
                <a:gd name="connsiteY111" fmla="*/ 1211202 h 1215964"/>
                <a:gd name="connsiteX112" fmla="*/ 428625 w 1562100"/>
                <a:gd name="connsiteY112" fmla="*/ 1201677 h 1215964"/>
                <a:gd name="connsiteX113" fmla="*/ 454819 w 1562100"/>
                <a:gd name="connsiteY113" fmla="*/ 1208820 h 1215964"/>
                <a:gd name="connsiteX114" fmla="*/ 473869 w 1562100"/>
                <a:gd name="connsiteY114" fmla="*/ 1187389 h 1215964"/>
                <a:gd name="connsiteX115" fmla="*/ 492919 w 1562100"/>
                <a:gd name="connsiteY115" fmla="*/ 1187389 h 1215964"/>
                <a:gd name="connsiteX116" fmla="*/ 507206 w 1562100"/>
                <a:gd name="connsiteY116" fmla="*/ 1156433 h 1215964"/>
                <a:gd name="connsiteX117" fmla="*/ 557213 w 1562100"/>
                <a:gd name="connsiteY117" fmla="*/ 1142145 h 1215964"/>
                <a:gd name="connsiteX118" fmla="*/ 583406 w 1562100"/>
                <a:gd name="connsiteY118" fmla="*/ 1123095 h 1215964"/>
                <a:gd name="connsiteX119" fmla="*/ 590550 w 1562100"/>
                <a:gd name="connsiteY119" fmla="*/ 1084995 h 1215964"/>
                <a:gd name="connsiteX120" fmla="*/ 607219 w 1562100"/>
                <a:gd name="connsiteY120" fmla="*/ 1058802 h 1215964"/>
                <a:gd name="connsiteX121" fmla="*/ 688181 w 1562100"/>
                <a:gd name="connsiteY121" fmla="*/ 1089758 h 1215964"/>
                <a:gd name="connsiteX0" fmla="*/ 688181 w 1562100"/>
                <a:gd name="connsiteY0" fmla="*/ 1089758 h 1215964"/>
                <a:gd name="connsiteX1" fmla="*/ 688181 w 1562100"/>
                <a:gd name="connsiteY1" fmla="*/ 1004033 h 1215964"/>
                <a:gd name="connsiteX2" fmla="*/ 692944 w 1562100"/>
                <a:gd name="connsiteY2" fmla="*/ 961170 h 1215964"/>
                <a:gd name="connsiteX3" fmla="*/ 692944 w 1562100"/>
                <a:gd name="connsiteY3" fmla="*/ 915927 h 1215964"/>
                <a:gd name="connsiteX4" fmla="*/ 676275 w 1562100"/>
                <a:gd name="connsiteY4" fmla="*/ 892114 h 1215964"/>
                <a:gd name="connsiteX5" fmla="*/ 690563 w 1562100"/>
                <a:gd name="connsiteY5" fmla="*/ 839727 h 1215964"/>
                <a:gd name="connsiteX6" fmla="*/ 685800 w 1562100"/>
                <a:gd name="connsiteY6" fmla="*/ 813533 h 1215964"/>
                <a:gd name="connsiteX7" fmla="*/ 697706 w 1562100"/>
                <a:gd name="connsiteY7" fmla="*/ 768289 h 1215964"/>
                <a:gd name="connsiteX8" fmla="*/ 714375 w 1562100"/>
                <a:gd name="connsiteY8" fmla="*/ 744477 h 1215964"/>
                <a:gd name="connsiteX9" fmla="*/ 721519 w 1562100"/>
                <a:gd name="connsiteY9" fmla="*/ 711139 h 1215964"/>
                <a:gd name="connsiteX10" fmla="*/ 735806 w 1562100"/>
                <a:gd name="connsiteY10" fmla="*/ 692089 h 1215964"/>
                <a:gd name="connsiteX11" fmla="*/ 792956 w 1562100"/>
                <a:gd name="connsiteY11" fmla="*/ 682564 h 1215964"/>
                <a:gd name="connsiteX12" fmla="*/ 838200 w 1562100"/>
                <a:gd name="connsiteY12" fmla="*/ 665895 h 1215964"/>
                <a:gd name="connsiteX13" fmla="*/ 876300 w 1562100"/>
                <a:gd name="connsiteY13" fmla="*/ 625414 h 1215964"/>
                <a:gd name="connsiteX14" fmla="*/ 923925 w 1562100"/>
                <a:gd name="connsiteY14" fmla="*/ 611127 h 1215964"/>
                <a:gd name="connsiteX15" fmla="*/ 995363 w 1562100"/>
                <a:gd name="connsiteY15" fmla="*/ 606364 h 1215964"/>
                <a:gd name="connsiteX16" fmla="*/ 1040606 w 1562100"/>
                <a:gd name="connsiteY16" fmla="*/ 596839 h 1215964"/>
                <a:gd name="connsiteX17" fmla="*/ 1119188 w 1562100"/>
                <a:gd name="connsiteY17" fmla="*/ 489683 h 1215964"/>
                <a:gd name="connsiteX18" fmla="*/ 1126331 w 1562100"/>
                <a:gd name="connsiteY18" fmla="*/ 456345 h 1215964"/>
                <a:gd name="connsiteX19" fmla="*/ 1152525 w 1562100"/>
                <a:gd name="connsiteY19" fmla="*/ 427770 h 1215964"/>
                <a:gd name="connsiteX20" fmla="*/ 1197769 w 1562100"/>
                <a:gd name="connsiteY20" fmla="*/ 418245 h 1215964"/>
                <a:gd name="connsiteX21" fmla="*/ 1290638 w 1562100"/>
                <a:gd name="connsiteY21" fmla="*/ 342045 h 1215964"/>
                <a:gd name="connsiteX22" fmla="*/ 1314450 w 1562100"/>
                <a:gd name="connsiteY22" fmla="*/ 339664 h 1215964"/>
                <a:gd name="connsiteX23" fmla="*/ 1409700 w 1562100"/>
                <a:gd name="connsiteY23" fmla="*/ 258702 h 1215964"/>
                <a:gd name="connsiteX24" fmla="*/ 1414463 w 1562100"/>
                <a:gd name="connsiteY24" fmla="*/ 239652 h 1215964"/>
                <a:gd name="connsiteX25" fmla="*/ 1507331 w 1562100"/>
                <a:gd name="connsiteY25" fmla="*/ 184883 h 1215964"/>
                <a:gd name="connsiteX26" fmla="*/ 1543050 w 1562100"/>
                <a:gd name="connsiteY26" fmla="*/ 139639 h 1215964"/>
                <a:gd name="connsiteX27" fmla="*/ 1562100 w 1562100"/>
                <a:gd name="connsiteY27" fmla="*/ 101539 h 1215964"/>
                <a:gd name="connsiteX28" fmla="*/ 1512094 w 1562100"/>
                <a:gd name="connsiteY28" fmla="*/ 120589 h 1215964"/>
                <a:gd name="connsiteX29" fmla="*/ 1478756 w 1562100"/>
                <a:gd name="connsiteY29" fmla="*/ 120589 h 1215964"/>
                <a:gd name="connsiteX30" fmla="*/ 1452563 w 1562100"/>
                <a:gd name="connsiteY30" fmla="*/ 158689 h 1215964"/>
                <a:gd name="connsiteX31" fmla="*/ 1421606 w 1562100"/>
                <a:gd name="connsiteY31" fmla="*/ 156308 h 1215964"/>
                <a:gd name="connsiteX32" fmla="*/ 1366838 w 1562100"/>
                <a:gd name="connsiteY32" fmla="*/ 125352 h 1215964"/>
                <a:gd name="connsiteX33" fmla="*/ 1323975 w 1562100"/>
                <a:gd name="connsiteY33" fmla="*/ 113445 h 1215964"/>
                <a:gd name="connsiteX34" fmla="*/ 1238250 w 1562100"/>
                <a:gd name="connsiteY34" fmla="*/ 149164 h 1215964"/>
                <a:gd name="connsiteX35" fmla="*/ 1223963 w 1562100"/>
                <a:gd name="connsiteY35" fmla="*/ 187264 h 1215964"/>
                <a:gd name="connsiteX36" fmla="*/ 1195388 w 1562100"/>
                <a:gd name="connsiteY36" fmla="*/ 244414 h 1215964"/>
                <a:gd name="connsiteX37" fmla="*/ 1109663 w 1562100"/>
                <a:gd name="connsiteY37" fmla="*/ 206314 h 1215964"/>
                <a:gd name="connsiteX38" fmla="*/ 1097756 w 1562100"/>
                <a:gd name="connsiteY38" fmla="*/ 249177 h 1215964"/>
                <a:gd name="connsiteX39" fmla="*/ 1083469 w 1562100"/>
                <a:gd name="connsiteY39" fmla="*/ 282514 h 1215964"/>
                <a:gd name="connsiteX40" fmla="*/ 959644 w 1562100"/>
                <a:gd name="connsiteY40" fmla="*/ 313470 h 1215964"/>
                <a:gd name="connsiteX41" fmla="*/ 945356 w 1562100"/>
                <a:gd name="connsiteY41" fmla="*/ 308708 h 1215964"/>
                <a:gd name="connsiteX42" fmla="*/ 926306 w 1562100"/>
                <a:gd name="connsiteY42" fmla="*/ 330139 h 1215964"/>
                <a:gd name="connsiteX43" fmla="*/ 890588 w 1562100"/>
                <a:gd name="connsiteY43" fmla="*/ 337283 h 1215964"/>
                <a:gd name="connsiteX44" fmla="*/ 854869 w 1562100"/>
                <a:gd name="connsiteY44" fmla="*/ 287277 h 1215964"/>
                <a:gd name="connsiteX45" fmla="*/ 835819 w 1562100"/>
                <a:gd name="connsiteY45" fmla="*/ 275370 h 1215964"/>
                <a:gd name="connsiteX46" fmla="*/ 826294 w 1562100"/>
                <a:gd name="connsiteY46" fmla="*/ 230127 h 1215964"/>
                <a:gd name="connsiteX47" fmla="*/ 792956 w 1562100"/>
                <a:gd name="connsiteY47" fmla="*/ 213458 h 1215964"/>
                <a:gd name="connsiteX48" fmla="*/ 759619 w 1562100"/>
                <a:gd name="connsiteY48" fmla="*/ 206314 h 1215964"/>
                <a:gd name="connsiteX49" fmla="*/ 740569 w 1562100"/>
                <a:gd name="connsiteY49" fmla="*/ 201552 h 1215964"/>
                <a:gd name="connsiteX50" fmla="*/ 728663 w 1562100"/>
                <a:gd name="connsiteY50" fmla="*/ 192027 h 1215964"/>
                <a:gd name="connsiteX51" fmla="*/ 735806 w 1562100"/>
                <a:gd name="connsiteY51" fmla="*/ 165833 h 1215964"/>
                <a:gd name="connsiteX52" fmla="*/ 742950 w 1562100"/>
                <a:gd name="connsiteY52" fmla="*/ 142020 h 1215964"/>
                <a:gd name="connsiteX53" fmla="*/ 700088 w 1562100"/>
                <a:gd name="connsiteY53" fmla="*/ 92014 h 1215964"/>
                <a:gd name="connsiteX54" fmla="*/ 447675 w 1562100"/>
                <a:gd name="connsiteY54" fmla="*/ 22958 h 1215964"/>
                <a:gd name="connsiteX55" fmla="*/ 376238 w 1562100"/>
                <a:gd name="connsiteY55" fmla="*/ 11052 h 1215964"/>
                <a:gd name="connsiteX56" fmla="*/ 314326 w 1562100"/>
                <a:gd name="connsiteY56" fmla="*/ 11051 h 1215964"/>
                <a:gd name="connsiteX57" fmla="*/ 328613 w 1562100"/>
                <a:gd name="connsiteY57" fmla="*/ 89633 h 1215964"/>
                <a:gd name="connsiteX58" fmla="*/ 292894 w 1562100"/>
                <a:gd name="connsiteY58" fmla="*/ 192027 h 1215964"/>
                <a:gd name="connsiteX59" fmla="*/ 264319 w 1562100"/>
                <a:gd name="connsiteY59" fmla="*/ 199170 h 1215964"/>
                <a:gd name="connsiteX60" fmla="*/ 261938 w 1562100"/>
                <a:gd name="connsiteY60" fmla="*/ 213458 h 1215964"/>
                <a:gd name="connsiteX61" fmla="*/ 261938 w 1562100"/>
                <a:gd name="connsiteY61" fmla="*/ 246795 h 1215964"/>
                <a:gd name="connsiteX62" fmla="*/ 228600 w 1562100"/>
                <a:gd name="connsiteY62" fmla="*/ 289658 h 1215964"/>
                <a:gd name="connsiteX63" fmla="*/ 271463 w 1562100"/>
                <a:gd name="connsiteY63" fmla="*/ 306327 h 1215964"/>
                <a:gd name="connsiteX64" fmla="*/ 278606 w 1562100"/>
                <a:gd name="connsiteY64" fmla="*/ 325377 h 1215964"/>
                <a:gd name="connsiteX65" fmla="*/ 257175 w 1562100"/>
                <a:gd name="connsiteY65" fmla="*/ 361095 h 1215964"/>
                <a:gd name="connsiteX66" fmla="*/ 221456 w 1562100"/>
                <a:gd name="connsiteY66" fmla="*/ 370620 h 1215964"/>
                <a:gd name="connsiteX67" fmla="*/ 221456 w 1562100"/>
                <a:gd name="connsiteY67" fmla="*/ 411102 h 1215964"/>
                <a:gd name="connsiteX68" fmla="*/ 254794 w 1562100"/>
                <a:gd name="connsiteY68" fmla="*/ 449202 h 1215964"/>
                <a:gd name="connsiteX69" fmla="*/ 226219 w 1562100"/>
                <a:gd name="connsiteY69" fmla="*/ 513495 h 1215964"/>
                <a:gd name="connsiteX70" fmla="*/ 180975 w 1562100"/>
                <a:gd name="connsiteY70" fmla="*/ 542070 h 1215964"/>
                <a:gd name="connsiteX71" fmla="*/ 183356 w 1562100"/>
                <a:gd name="connsiteY71" fmla="*/ 558739 h 1215964"/>
                <a:gd name="connsiteX72" fmla="*/ 204788 w 1562100"/>
                <a:gd name="connsiteY72" fmla="*/ 568264 h 1215964"/>
                <a:gd name="connsiteX73" fmla="*/ 219075 w 1562100"/>
                <a:gd name="connsiteY73" fmla="*/ 577789 h 1215964"/>
                <a:gd name="connsiteX74" fmla="*/ 223838 w 1562100"/>
                <a:gd name="connsiteY74" fmla="*/ 596839 h 1215964"/>
                <a:gd name="connsiteX75" fmla="*/ 195263 w 1562100"/>
                <a:gd name="connsiteY75" fmla="*/ 623033 h 1215964"/>
                <a:gd name="connsiteX76" fmla="*/ 123825 w 1562100"/>
                <a:gd name="connsiteY76" fmla="*/ 668277 h 1215964"/>
                <a:gd name="connsiteX77" fmla="*/ 123825 w 1562100"/>
                <a:gd name="connsiteY77" fmla="*/ 703995 h 1215964"/>
                <a:gd name="connsiteX78" fmla="*/ 135731 w 1562100"/>
                <a:gd name="connsiteY78" fmla="*/ 734952 h 1215964"/>
                <a:gd name="connsiteX79" fmla="*/ 123825 w 1562100"/>
                <a:gd name="connsiteY79" fmla="*/ 775433 h 1215964"/>
                <a:gd name="connsiteX80" fmla="*/ 76200 w 1562100"/>
                <a:gd name="connsiteY80" fmla="*/ 770670 h 1215964"/>
                <a:gd name="connsiteX81" fmla="*/ 52388 w 1562100"/>
                <a:gd name="connsiteY81" fmla="*/ 715902 h 1215964"/>
                <a:gd name="connsiteX82" fmla="*/ 33338 w 1562100"/>
                <a:gd name="connsiteY82" fmla="*/ 708758 h 1215964"/>
                <a:gd name="connsiteX83" fmla="*/ 23813 w 1562100"/>
                <a:gd name="connsiteY83" fmla="*/ 746858 h 1215964"/>
                <a:gd name="connsiteX84" fmla="*/ 21431 w 1562100"/>
                <a:gd name="connsiteY84" fmla="*/ 756383 h 1215964"/>
                <a:gd name="connsiteX85" fmla="*/ 7144 w 1562100"/>
                <a:gd name="connsiteY85" fmla="*/ 773052 h 1215964"/>
                <a:gd name="connsiteX86" fmla="*/ 0 w 1562100"/>
                <a:gd name="connsiteY86" fmla="*/ 830202 h 1215964"/>
                <a:gd name="connsiteX87" fmla="*/ 23813 w 1562100"/>
                <a:gd name="connsiteY87" fmla="*/ 858777 h 1215964"/>
                <a:gd name="connsiteX88" fmla="*/ 16669 w 1562100"/>
                <a:gd name="connsiteY88" fmla="*/ 899258 h 1215964"/>
                <a:gd name="connsiteX89" fmla="*/ 35719 w 1562100"/>
                <a:gd name="connsiteY89" fmla="*/ 904020 h 1215964"/>
                <a:gd name="connsiteX90" fmla="*/ 69056 w 1562100"/>
                <a:gd name="connsiteY90" fmla="*/ 904020 h 1215964"/>
                <a:gd name="connsiteX91" fmla="*/ 85725 w 1562100"/>
                <a:gd name="connsiteY91" fmla="*/ 894495 h 1215964"/>
                <a:gd name="connsiteX92" fmla="*/ 135731 w 1562100"/>
                <a:gd name="connsiteY92" fmla="*/ 951645 h 1215964"/>
                <a:gd name="connsiteX93" fmla="*/ 123825 w 1562100"/>
                <a:gd name="connsiteY93" fmla="*/ 970695 h 1215964"/>
                <a:gd name="connsiteX94" fmla="*/ 133350 w 1562100"/>
                <a:gd name="connsiteY94" fmla="*/ 999270 h 1215964"/>
                <a:gd name="connsiteX95" fmla="*/ 164306 w 1562100"/>
                <a:gd name="connsiteY95" fmla="*/ 1018320 h 1215964"/>
                <a:gd name="connsiteX96" fmla="*/ 190500 w 1562100"/>
                <a:gd name="connsiteY96" fmla="*/ 1027845 h 1215964"/>
                <a:gd name="connsiteX97" fmla="*/ 216694 w 1562100"/>
                <a:gd name="connsiteY97" fmla="*/ 1034989 h 1215964"/>
                <a:gd name="connsiteX98" fmla="*/ 228600 w 1562100"/>
                <a:gd name="connsiteY98" fmla="*/ 1037370 h 1215964"/>
                <a:gd name="connsiteX99" fmla="*/ 240506 w 1562100"/>
                <a:gd name="connsiteY99" fmla="*/ 999270 h 1215964"/>
                <a:gd name="connsiteX100" fmla="*/ 269081 w 1562100"/>
                <a:gd name="connsiteY100" fmla="*/ 1004033 h 1215964"/>
                <a:gd name="connsiteX101" fmla="*/ 288131 w 1562100"/>
                <a:gd name="connsiteY101" fmla="*/ 992127 h 1215964"/>
                <a:gd name="connsiteX102" fmla="*/ 307181 w 1562100"/>
                <a:gd name="connsiteY102" fmla="*/ 1042133 h 1215964"/>
                <a:gd name="connsiteX103" fmla="*/ 330994 w 1562100"/>
                <a:gd name="connsiteY103" fmla="*/ 1056420 h 1215964"/>
                <a:gd name="connsiteX104" fmla="*/ 340519 w 1562100"/>
                <a:gd name="connsiteY104" fmla="*/ 1084995 h 1215964"/>
                <a:gd name="connsiteX105" fmla="*/ 357188 w 1562100"/>
                <a:gd name="connsiteY105" fmla="*/ 1094520 h 1215964"/>
                <a:gd name="connsiteX106" fmla="*/ 364331 w 1562100"/>
                <a:gd name="connsiteY106" fmla="*/ 1125477 h 1215964"/>
                <a:gd name="connsiteX107" fmla="*/ 335756 w 1562100"/>
                <a:gd name="connsiteY107" fmla="*/ 1151670 h 1215964"/>
                <a:gd name="connsiteX108" fmla="*/ 309563 w 1562100"/>
                <a:gd name="connsiteY108" fmla="*/ 1168339 h 1215964"/>
                <a:gd name="connsiteX109" fmla="*/ 297656 w 1562100"/>
                <a:gd name="connsiteY109" fmla="*/ 1192152 h 1215964"/>
                <a:gd name="connsiteX110" fmla="*/ 302419 w 1562100"/>
                <a:gd name="connsiteY110" fmla="*/ 1215964 h 1215964"/>
                <a:gd name="connsiteX111" fmla="*/ 342900 w 1562100"/>
                <a:gd name="connsiteY111" fmla="*/ 1215964 h 1215964"/>
                <a:gd name="connsiteX112" fmla="*/ 390525 w 1562100"/>
                <a:gd name="connsiteY112" fmla="*/ 1211202 h 1215964"/>
                <a:gd name="connsiteX113" fmla="*/ 428625 w 1562100"/>
                <a:gd name="connsiteY113" fmla="*/ 1201677 h 1215964"/>
                <a:gd name="connsiteX114" fmla="*/ 454819 w 1562100"/>
                <a:gd name="connsiteY114" fmla="*/ 1208820 h 1215964"/>
                <a:gd name="connsiteX115" fmla="*/ 473869 w 1562100"/>
                <a:gd name="connsiteY115" fmla="*/ 1187389 h 1215964"/>
                <a:gd name="connsiteX116" fmla="*/ 492919 w 1562100"/>
                <a:gd name="connsiteY116" fmla="*/ 1187389 h 1215964"/>
                <a:gd name="connsiteX117" fmla="*/ 507206 w 1562100"/>
                <a:gd name="connsiteY117" fmla="*/ 1156433 h 1215964"/>
                <a:gd name="connsiteX118" fmla="*/ 557213 w 1562100"/>
                <a:gd name="connsiteY118" fmla="*/ 1142145 h 1215964"/>
                <a:gd name="connsiteX119" fmla="*/ 583406 w 1562100"/>
                <a:gd name="connsiteY119" fmla="*/ 1123095 h 1215964"/>
                <a:gd name="connsiteX120" fmla="*/ 590550 w 1562100"/>
                <a:gd name="connsiteY120" fmla="*/ 1084995 h 1215964"/>
                <a:gd name="connsiteX121" fmla="*/ 607219 w 1562100"/>
                <a:gd name="connsiteY121" fmla="*/ 1058802 h 1215964"/>
                <a:gd name="connsiteX122" fmla="*/ 688181 w 1562100"/>
                <a:gd name="connsiteY122" fmla="*/ 1089758 h 1215964"/>
                <a:gd name="connsiteX0" fmla="*/ 688181 w 1562100"/>
                <a:gd name="connsiteY0" fmla="*/ 1183481 h 1309687"/>
                <a:gd name="connsiteX1" fmla="*/ 688181 w 1562100"/>
                <a:gd name="connsiteY1" fmla="*/ 1097756 h 1309687"/>
                <a:gd name="connsiteX2" fmla="*/ 692944 w 1562100"/>
                <a:gd name="connsiteY2" fmla="*/ 1054893 h 1309687"/>
                <a:gd name="connsiteX3" fmla="*/ 692944 w 1562100"/>
                <a:gd name="connsiteY3" fmla="*/ 1009650 h 1309687"/>
                <a:gd name="connsiteX4" fmla="*/ 676275 w 1562100"/>
                <a:gd name="connsiteY4" fmla="*/ 985837 h 1309687"/>
                <a:gd name="connsiteX5" fmla="*/ 690563 w 1562100"/>
                <a:gd name="connsiteY5" fmla="*/ 933450 h 1309687"/>
                <a:gd name="connsiteX6" fmla="*/ 685800 w 1562100"/>
                <a:gd name="connsiteY6" fmla="*/ 907256 h 1309687"/>
                <a:gd name="connsiteX7" fmla="*/ 697706 w 1562100"/>
                <a:gd name="connsiteY7" fmla="*/ 862012 h 1309687"/>
                <a:gd name="connsiteX8" fmla="*/ 714375 w 1562100"/>
                <a:gd name="connsiteY8" fmla="*/ 838200 h 1309687"/>
                <a:gd name="connsiteX9" fmla="*/ 721519 w 1562100"/>
                <a:gd name="connsiteY9" fmla="*/ 804862 h 1309687"/>
                <a:gd name="connsiteX10" fmla="*/ 735806 w 1562100"/>
                <a:gd name="connsiteY10" fmla="*/ 785812 h 1309687"/>
                <a:gd name="connsiteX11" fmla="*/ 792956 w 1562100"/>
                <a:gd name="connsiteY11" fmla="*/ 776287 h 1309687"/>
                <a:gd name="connsiteX12" fmla="*/ 838200 w 1562100"/>
                <a:gd name="connsiteY12" fmla="*/ 759618 h 1309687"/>
                <a:gd name="connsiteX13" fmla="*/ 876300 w 1562100"/>
                <a:gd name="connsiteY13" fmla="*/ 719137 h 1309687"/>
                <a:gd name="connsiteX14" fmla="*/ 923925 w 1562100"/>
                <a:gd name="connsiteY14" fmla="*/ 704850 h 1309687"/>
                <a:gd name="connsiteX15" fmla="*/ 995363 w 1562100"/>
                <a:gd name="connsiteY15" fmla="*/ 700087 h 1309687"/>
                <a:gd name="connsiteX16" fmla="*/ 1040606 w 1562100"/>
                <a:gd name="connsiteY16" fmla="*/ 690562 h 1309687"/>
                <a:gd name="connsiteX17" fmla="*/ 1119188 w 1562100"/>
                <a:gd name="connsiteY17" fmla="*/ 583406 h 1309687"/>
                <a:gd name="connsiteX18" fmla="*/ 1126331 w 1562100"/>
                <a:gd name="connsiteY18" fmla="*/ 550068 h 1309687"/>
                <a:gd name="connsiteX19" fmla="*/ 1152525 w 1562100"/>
                <a:gd name="connsiteY19" fmla="*/ 521493 h 1309687"/>
                <a:gd name="connsiteX20" fmla="*/ 1197769 w 1562100"/>
                <a:gd name="connsiteY20" fmla="*/ 511968 h 1309687"/>
                <a:gd name="connsiteX21" fmla="*/ 1290638 w 1562100"/>
                <a:gd name="connsiteY21" fmla="*/ 435768 h 1309687"/>
                <a:gd name="connsiteX22" fmla="*/ 1314450 w 1562100"/>
                <a:gd name="connsiteY22" fmla="*/ 433387 h 1309687"/>
                <a:gd name="connsiteX23" fmla="*/ 1409700 w 1562100"/>
                <a:gd name="connsiteY23" fmla="*/ 352425 h 1309687"/>
                <a:gd name="connsiteX24" fmla="*/ 1414463 w 1562100"/>
                <a:gd name="connsiteY24" fmla="*/ 333375 h 1309687"/>
                <a:gd name="connsiteX25" fmla="*/ 1507331 w 1562100"/>
                <a:gd name="connsiteY25" fmla="*/ 278606 h 1309687"/>
                <a:gd name="connsiteX26" fmla="*/ 1543050 w 1562100"/>
                <a:gd name="connsiteY26" fmla="*/ 233362 h 1309687"/>
                <a:gd name="connsiteX27" fmla="*/ 1562100 w 1562100"/>
                <a:gd name="connsiteY27" fmla="*/ 195262 h 1309687"/>
                <a:gd name="connsiteX28" fmla="*/ 1512094 w 1562100"/>
                <a:gd name="connsiteY28" fmla="*/ 214312 h 1309687"/>
                <a:gd name="connsiteX29" fmla="*/ 1478756 w 1562100"/>
                <a:gd name="connsiteY29" fmla="*/ 214312 h 1309687"/>
                <a:gd name="connsiteX30" fmla="*/ 1452563 w 1562100"/>
                <a:gd name="connsiteY30" fmla="*/ 252412 h 1309687"/>
                <a:gd name="connsiteX31" fmla="*/ 1421606 w 1562100"/>
                <a:gd name="connsiteY31" fmla="*/ 250031 h 1309687"/>
                <a:gd name="connsiteX32" fmla="*/ 1366838 w 1562100"/>
                <a:gd name="connsiteY32" fmla="*/ 219075 h 1309687"/>
                <a:gd name="connsiteX33" fmla="*/ 1323975 w 1562100"/>
                <a:gd name="connsiteY33" fmla="*/ 207168 h 1309687"/>
                <a:gd name="connsiteX34" fmla="*/ 1238250 w 1562100"/>
                <a:gd name="connsiteY34" fmla="*/ 242887 h 1309687"/>
                <a:gd name="connsiteX35" fmla="*/ 1223963 w 1562100"/>
                <a:gd name="connsiteY35" fmla="*/ 280987 h 1309687"/>
                <a:gd name="connsiteX36" fmla="*/ 1195388 w 1562100"/>
                <a:gd name="connsiteY36" fmla="*/ 338137 h 1309687"/>
                <a:gd name="connsiteX37" fmla="*/ 1109663 w 1562100"/>
                <a:gd name="connsiteY37" fmla="*/ 300037 h 1309687"/>
                <a:gd name="connsiteX38" fmla="*/ 1097756 w 1562100"/>
                <a:gd name="connsiteY38" fmla="*/ 342900 h 1309687"/>
                <a:gd name="connsiteX39" fmla="*/ 1083469 w 1562100"/>
                <a:gd name="connsiteY39" fmla="*/ 376237 h 1309687"/>
                <a:gd name="connsiteX40" fmla="*/ 959644 w 1562100"/>
                <a:gd name="connsiteY40" fmla="*/ 407193 h 1309687"/>
                <a:gd name="connsiteX41" fmla="*/ 945356 w 1562100"/>
                <a:gd name="connsiteY41" fmla="*/ 402431 h 1309687"/>
                <a:gd name="connsiteX42" fmla="*/ 926306 w 1562100"/>
                <a:gd name="connsiteY42" fmla="*/ 423862 h 1309687"/>
                <a:gd name="connsiteX43" fmla="*/ 890588 w 1562100"/>
                <a:gd name="connsiteY43" fmla="*/ 431006 h 1309687"/>
                <a:gd name="connsiteX44" fmla="*/ 854869 w 1562100"/>
                <a:gd name="connsiteY44" fmla="*/ 381000 h 1309687"/>
                <a:gd name="connsiteX45" fmla="*/ 835819 w 1562100"/>
                <a:gd name="connsiteY45" fmla="*/ 369093 h 1309687"/>
                <a:gd name="connsiteX46" fmla="*/ 826294 w 1562100"/>
                <a:gd name="connsiteY46" fmla="*/ 323850 h 1309687"/>
                <a:gd name="connsiteX47" fmla="*/ 792956 w 1562100"/>
                <a:gd name="connsiteY47" fmla="*/ 307181 h 1309687"/>
                <a:gd name="connsiteX48" fmla="*/ 759619 w 1562100"/>
                <a:gd name="connsiteY48" fmla="*/ 300037 h 1309687"/>
                <a:gd name="connsiteX49" fmla="*/ 740569 w 1562100"/>
                <a:gd name="connsiteY49" fmla="*/ 295275 h 1309687"/>
                <a:gd name="connsiteX50" fmla="*/ 728663 w 1562100"/>
                <a:gd name="connsiteY50" fmla="*/ 285750 h 1309687"/>
                <a:gd name="connsiteX51" fmla="*/ 735806 w 1562100"/>
                <a:gd name="connsiteY51" fmla="*/ 259556 h 1309687"/>
                <a:gd name="connsiteX52" fmla="*/ 742950 w 1562100"/>
                <a:gd name="connsiteY52" fmla="*/ 235743 h 1309687"/>
                <a:gd name="connsiteX53" fmla="*/ 700088 w 1562100"/>
                <a:gd name="connsiteY53" fmla="*/ 185737 h 1309687"/>
                <a:gd name="connsiteX54" fmla="*/ 428625 w 1562100"/>
                <a:gd name="connsiteY54" fmla="*/ 0 h 1309687"/>
                <a:gd name="connsiteX55" fmla="*/ 376238 w 1562100"/>
                <a:gd name="connsiteY55" fmla="*/ 104775 h 1309687"/>
                <a:gd name="connsiteX56" fmla="*/ 314326 w 1562100"/>
                <a:gd name="connsiteY56" fmla="*/ 104774 h 1309687"/>
                <a:gd name="connsiteX57" fmla="*/ 328613 w 1562100"/>
                <a:gd name="connsiteY57" fmla="*/ 183356 h 1309687"/>
                <a:gd name="connsiteX58" fmla="*/ 292894 w 1562100"/>
                <a:gd name="connsiteY58" fmla="*/ 285750 h 1309687"/>
                <a:gd name="connsiteX59" fmla="*/ 264319 w 1562100"/>
                <a:gd name="connsiteY59" fmla="*/ 292893 h 1309687"/>
                <a:gd name="connsiteX60" fmla="*/ 261938 w 1562100"/>
                <a:gd name="connsiteY60" fmla="*/ 307181 h 1309687"/>
                <a:gd name="connsiteX61" fmla="*/ 261938 w 1562100"/>
                <a:gd name="connsiteY61" fmla="*/ 340518 h 1309687"/>
                <a:gd name="connsiteX62" fmla="*/ 228600 w 1562100"/>
                <a:gd name="connsiteY62" fmla="*/ 383381 h 1309687"/>
                <a:gd name="connsiteX63" fmla="*/ 271463 w 1562100"/>
                <a:gd name="connsiteY63" fmla="*/ 400050 h 1309687"/>
                <a:gd name="connsiteX64" fmla="*/ 278606 w 1562100"/>
                <a:gd name="connsiteY64" fmla="*/ 419100 h 1309687"/>
                <a:gd name="connsiteX65" fmla="*/ 257175 w 1562100"/>
                <a:gd name="connsiteY65" fmla="*/ 454818 h 1309687"/>
                <a:gd name="connsiteX66" fmla="*/ 221456 w 1562100"/>
                <a:gd name="connsiteY66" fmla="*/ 464343 h 1309687"/>
                <a:gd name="connsiteX67" fmla="*/ 221456 w 1562100"/>
                <a:gd name="connsiteY67" fmla="*/ 504825 h 1309687"/>
                <a:gd name="connsiteX68" fmla="*/ 254794 w 1562100"/>
                <a:gd name="connsiteY68" fmla="*/ 542925 h 1309687"/>
                <a:gd name="connsiteX69" fmla="*/ 226219 w 1562100"/>
                <a:gd name="connsiteY69" fmla="*/ 607218 h 1309687"/>
                <a:gd name="connsiteX70" fmla="*/ 180975 w 1562100"/>
                <a:gd name="connsiteY70" fmla="*/ 635793 h 1309687"/>
                <a:gd name="connsiteX71" fmla="*/ 183356 w 1562100"/>
                <a:gd name="connsiteY71" fmla="*/ 652462 h 1309687"/>
                <a:gd name="connsiteX72" fmla="*/ 204788 w 1562100"/>
                <a:gd name="connsiteY72" fmla="*/ 661987 h 1309687"/>
                <a:gd name="connsiteX73" fmla="*/ 219075 w 1562100"/>
                <a:gd name="connsiteY73" fmla="*/ 671512 h 1309687"/>
                <a:gd name="connsiteX74" fmla="*/ 223838 w 1562100"/>
                <a:gd name="connsiteY74" fmla="*/ 690562 h 1309687"/>
                <a:gd name="connsiteX75" fmla="*/ 195263 w 1562100"/>
                <a:gd name="connsiteY75" fmla="*/ 716756 h 1309687"/>
                <a:gd name="connsiteX76" fmla="*/ 123825 w 1562100"/>
                <a:gd name="connsiteY76" fmla="*/ 762000 h 1309687"/>
                <a:gd name="connsiteX77" fmla="*/ 123825 w 1562100"/>
                <a:gd name="connsiteY77" fmla="*/ 797718 h 1309687"/>
                <a:gd name="connsiteX78" fmla="*/ 135731 w 1562100"/>
                <a:gd name="connsiteY78" fmla="*/ 828675 h 1309687"/>
                <a:gd name="connsiteX79" fmla="*/ 123825 w 1562100"/>
                <a:gd name="connsiteY79" fmla="*/ 869156 h 1309687"/>
                <a:gd name="connsiteX80" fmla="*/ 76200 w 1562100"/>
                <a:gd name="connsiteY80" fmla="*/ 864393 h 1309687"/>
                <a:gd name="connsiteX81" fmla="*/ 52388 w 1562100"/>
                <a:gd name="connsiteY81" fmla="*/ 809625 h 1309687"/>
                <a:gd name="connsiteX82" fmla="*/ 33338 w 1562100"/>
                <a:gd name="connsiteY82" fmla="*/ 802481 h 1309687"/>
                <a:gd name="connsiteX83" fmla="*/ 23813 w 1562100"/>
                <a:gd name="connsiteY83" fmla="*/ 840581 h 1309687"/>
                <a:gd name="connsiteX84" fmla="*/ 21431 w 1562100"/>
                <a:gd name="connsiteY84" fmla="*/ 850106 h 1309687"/>
                <a:gd name="connsiteX85" fmla="*/ 7144 w 1562100"/>
                <a:gd name="connsiteY85" fmla="*/ 866775 h 1309687"/>
                <a:gd name="connsiteX86" fmla="*/ 0 w 1562100"/>
                <a:gd name="connsiteY86" fmla="*/ 923925 h 1309687"/>
                <a:gd name="connsiteX87" fmla="*/ 23813 w 1562100"/>
                <a:gd name="connsiteY87" fmla="*/ 952500 h 1309687"/>
                <a:gd name="connsiteX88" fmla="*/ 16669 w 1562100"/>
                <a:gd name="connsiteY88" fmla="*/ 992981 h 1309687"/>
                <a:gd name="connsiteX89" fmla="*/ 35719 w 1562100"/>
                <a:gd name="connsiteY89" fmla="*/ 997743 h 1309687"/>
                <a:gd name="connsiteX90" fmla="*/ 69056 w 1562100"/>
                <a:gd name="connsiteY90" fmla="*/ 997743 h 1309687"/>
                <a:gd name="connsiteX91" fmla="*/ 85725 w 1562100"/>
                <a:gd name="connsiteY91" fmla="*/ 988218 h 1309687"/>
                <a:gd name="connsiteX92" fmla="*/ 135731 w 1562100"/>
                <a:gd name="connsiteY92" fmla="*/ 1045368 h 1309687"/>
                <a:gd name="connsiteX93" fmla="*/ 123825 w 1562100"/>
                <a:gd name="connsiteY93" fmla="*/ 1064418 h 1309687"/>
                <a:gd name="connsiteX94" fmla="*/ 133350 w 1562100"/>
                <a:gd name="connsiteY94" fmla="*/ 1092993 h 1309687"/>
                <a:gd name="connsiteX95" fmla="*/ 164306 w 1562100"/>
                <a:gd name="connsiteY95" fmla="*/ 1112043 h 1309687"/>
                <a:gd name="connsiteX96" fmla="*/ 190500 w 1562100"/>
                <a:gd name="connsiteY96" fmla="*/ 1121568 h 1309687"/>
                <a:gd name="connsiteX97" fmla="*/ 216694 w 1562100"/>
                <a:gd name="connsiteY97" fmla="*/ 1128712 h 1309687"/>
                <a:gd name="connsiteX98" fmla="*/ 228600 w 1562100"/>
                <a:gd name="connsiteY98" fmla="*/ 1131093 h 1309687"/>
                <a:gd name="connsiteX99" fmla="*/ 240506 w 1562100"/>
                <a:gd name="connsiteY99" fmla="*/ 1092993 h 1309687"/>
                <a:gd name="connsiteX100" fmla="*/ 269081 w 1562100"/>
                <a:gd name="connsiteY100" fmla="*/ 1097756 h 1309687"/>
                <a:gd name="connsiteX101" fmla="*/ 288131 w 1562100"/>
                <a:gd name="connsiteY101" fmla="*/ 1085850 h 1309687"/>
                <a:gd name="connsiteX102" fmla="*/ 307181 w 1562100"/>
                <a:gd name="connsiteY102" fmla="*/ 1135856 h 1309687"/>
                <a:gd name="connsiteX103" fmla="*/ 330994 w 1562100"/>
                <a:gd name="connsiteY103" fmla="*/ 1150143 h 1309687"/>
                <a:gd name="connsiteX104" fmla="*/ 340519 w 1562100"/>
                <a:gd name="connsiteY104" fmla="*/ 1178718 h 1309687"/>
                <a:gd name="connsiteX105" fmla="*/ 357188 w 1562100"/>
                <a:gd name="connsiteY105" fmla="*/ 1188243 h 1309687"/>
                <a:gd name="connsiteX106" fmla="*/ 364331 w 1562100"/>
                <a:gd name="connsiteY106" fmla="*/ 1219200 h 1309687"/>
                <a:gd name="connsiteX107" fmla="*/ 335756 w 1562100"/>
                <a:gd name="connsiteY107" fmla="*/ 1245393 h 1309687"/>
                <a:gd name="connsiteX108" fmla="*/ 309563 w 1562100"/>
                <a:gd name="connsiteY108" fmla="*/ 1262062 h 1309687"/>
                <a:gd name="connsiteX109" fmla="*/ 297656 w 1562100"/>
                <a:gd name="connsiteY109" fmla="*/ 1285875 h 1309687"/>
                <a:gd name="connsiteX110" fmla="*/ 302419 w 1562100"/>
                <a:gd name="connsiteY110" fmla="*/ 1309687 h 1309687"/>
                <a:gd name="connsiteX111" fmla="*/ 342900 w 1562100"/>
                <a:gd name="connsiteY111" fmla="*/ 1309687 h 1309687"/>
                <a:gd name="connsiteX112" fmla="*/ 390525 w 1562100"/>
                <a:gd name="connsiteY112" fmla="*/ 1304925 h 1309687"/>
                <a:gd name="connsiteX113" fmla="*/ 428625 w 1562100"/>
                <a:gd name="connsiteY113" fmla="*/ 1295400 h 1309687"/>
                <a:gd name="connsiteX114" fmla="*/ 454819 w 1562100"/>
                <a:gd name="connsiteY114" fmla="*/ 1302543 h 1309687"/>
                <a:gd name="connsiteX115" fmla="*/ 473869 w 1562100"/>
                <a:gd name="connsiteY115" fmla="*/ 1281112 h 1309687"/>
                <a:gd name="connsiteX116" fmla="*/ 492919 w 1562100"/>
                <a:gd name="connsiteY116" fmla="*/ 1281112 h 1309687"/>
                <a:gd name="connsiteX117" fmla="*/ 507206 w 1562100"/>
                <a:gd name="connsiteY117" fmla="*/ 1250156 h 1309687"/>
                <a:gd name="connsiteX118" fmla="*/ 557213 w 1562100"/>
                <a:gd name="connsiteY118" fmla="*/ 1235868 h 1309687"/>
                <a:gd name="connsiteX119" fmla="*/ 583406 w 1562100"/>
                <a:gd name="connsiteY119" fmla="*/ 1216818 h 1309687"/>
                <a:gd name="connsiteX120" fmla="*/ 590550 w 1562100"/>
                <a:gd name="connsiteY120" fmla="*/ 1178718 h 1309687"/>
                <a:gd name="connsiteX121" fmla="*/ 607219 w 1562100"/>
                <a:gd name="connsiteY121" fmla="*/ 1152525 h 1309687"/>
                <a:gd name="connsiteX122" fmla="*/ 688181 w 1562100"/>
                <a:gd name="connsiteY122" fmla="*/ 1183481 h 1309687"/>
                <a:gd name="connsiteX0" fmla="*/ 688181 w 1562100"/>
                <a:gd name="connsiteY0" fmla="*/ 1183481 h 1309687"/>
                <a:gd name="connsiteX1" fmla="*/ 688181 w 1562100"/>
                <a:gd name="connsiteY1" fmla="*/ 1097756 h 1309687"/>
                <a:gd name="connsiteX2" fmla="*/ 692944 w 1562100"/>
                <a:gd name="connsiteY2" fmla="*/ 1054893 h 1309687"/>
                <a:gd name="connsiteX3" fmla="*/ 692944 w 1562100"/>
                <a:gd name="connsiteY3" fmla="*/ 1009650 h 1309687"/>
                <a:gd name="connsiteX4" fmla="*/ 676275 w 1562100"/>
                <a:gd name="connsiteY4" fmla="*/ 985837 h 1309687"/>
                <a:gd name="connsiteX5" fmla="*/ 690563 w 1562100"/>
                <a:gd name="connsiteY5" fmla="*/ 933450 h 1309687"/>
                <a:gd name="connsiteX6" fmla="*/ 685800 w 1562100"/>
                <a:gd name="connsiteY6" fmla="*/ 907256 h 1309687"/>
                <a:gd name="connsiteX7" fmla="*/ 697706 w 1562100"/>
                <a:gd name="connsiteY7" fmla="*/ 862012 h 1309687"/>
                <a:gd name="connsiteX8" fmla="*/ 714375 w 1562100"/>
                <a:gd name="connsiteY8" fmla="*/ 838200 h 1309687"/>
                <a:gd name="connsiteX9" fmla="*/ 721519 w 1562100"/>
                <a:gd name="connsiteY9" fmla="*/ 804862 h 1309687"/>
                <a:gd name="connsiteX10" fmla="*/ 735806 w 1562100"/>
                <a:gd name="connsiteY10" fmla="*/ 785812 h 1309687"/>
                <a:gd name="connsiteX11" fmla="*/ 792956 w 1562100"/>
                <a:gd name="connsiteY11" fmla="*/ 776287 h 1309687"/>
                <a:gd name="connsiteX12" fmla="*/ 838200 w 1562100"/>
                <a:gd name="connsiteY12" fmla="*/ 759618 h 1309687"/>
                <a:gd name="connsiteX13" fmla="*/ 876300 w 1562100"/>
                <a:gd name="connsiteY13" fmla="*/ 719137 h 1309687"/>
                <a:gd name="connsiteX14" fmla="*/ 923925 w 1562100"/>
                <a:gd name="connsiteY14" fmla="*/ 704850 h 1309687"/>
                <a:gd name="connsiteX15" fmla="*/ 995363 w 1562100"/>
                <a:gd name="connsiteY15" fmla="*/ 700087 h 1309687"/>
                <a:gd name="connsiteX16" fmla="*/ 1040606 w 1562100"/>
                <a:gd name="connsiteY16" fmla="*/ 690562 h 1309687"/>
                <a:gd name="connsiteX17" fmla="*/ 1119188 w 1562100"/>
                <a:gd name="connsiteY17" fmla="*/ 583406 h 1309687"/>
                <a:gd name="connsiteX18" fmla="*/ 1126331 w 1562100"/>
                <a:gd name="connsiteY18" fmla="*/ 550068 h 1309687"/>
                <a:gd name="connsiteX19" fmla="*/ 1152525 w 1562100"/>
                <a:gd name="connsiteY19" fmla="*/ 521493 h 1309687"/>
                <a:gd name="connsiteX20" fmla="*/ 1197769 w 1562100"/>
                <a:gd name="connsiteY20" fmla="*/ 511968 h 1309687"/>
                <a:gd name="connsiteX21" fmla="*/ 1290638 w 1562100"/>
                <a:gd name="connsiteY21" fmla="*/ 435768 h 1309687"/>
                <a:gd name="connsiteX22" fmla="*/ 1314450 w 1562100"/>
                <a:gd name="connsiteY22" fmla="*/ 433387 h 1309687"/>
                <a:gd name="connsiteX23" fmla="*/ 1409700 w 1562100"/>
                <a:gd name="connsiteY23" fmla="*/ 352425 h 1309687"/>
                <a:gd name="connsiteX24" fmla="*/ 1414463 w 1562100"/>
                <a:gd name="connsiteY24" fmla="*/ 333375 h 1309687"/>
                <a:gd name="connsiteX25" fmla="*/ 1507331 w 1562100"/>
                <a:gd name="connsiteY25" fmla="*/ 278606 h 1309687"/>
                <a:gd name="connsiteX26" fmla="*/ 1543050 w 1562100"/>
                <a:gd name="connsiteY26" fmla="*/ 233362 h 1309687"/>
                <a:gd name="connsiteX27" fmla="*/ 1562100 w 1562100"/>
                <a:gd name="connsiteY27" fmla="*/ 195262 h 1309687"/>
                <a:gd name="connsiteX28" fmla="*/ 1512094 w 1562100"/>
                <a:gd name="connsiteY28" fmla="*/ 214312 h 1309687"/>
                <a:gd name="connsiteX29" fmla="*/ 1478756 w 1562100"/>
                <a:gd name="connsiteY29" fmla="*/ 214312 h 1309687"/>
                <a:gd name="connsiteX30" fmla="*/ 1452563 w 1562100"/>
                <a:gd name="connsiteY30" fmla="*/ 252412 h 1309687"/>
                <a:gd name="connsiteX31" fmla="*/ 1421606 w 1562100"/>
                <a:gd name="connsiteY31" fmla="*/ 250031 h 1309687"/>
                <a:gd name="connsiteX32" fmla="*/ 1366838 w 1562100"/>
                <a:gd name="connsiteY32" fmla="*/ 219075 h 1309687"/>
                <a:gd name="connsiteX33" fmla="*/ 1323975 w 1562100"/>
                <a:gd name="connsiteY33" fmla="*/ 207168 h 1309687"/>
                <a:gd name="connsiteX34" fmla="*/ 1238250 w 1562100"/>
                <a:gd name="connsiteY34" fmla="*/ 242887 h 1309687"/>
                <a:gd name="connsiteX35" fmla="*/ 1223963 w 1562100"/>
                <a:gd name="connsiteY35" fmla="*/ 280987 h 1309687"/>
                <a:gd name="connsiteX36" fmla="*/ 1195388 w 1562100"/>
                <a:gd name="connsiteY36" fmla="*/ 338137 h 1309687"/>
                <a:gd name="connsiteX37" fmla="*/ 1109663 w 1562100"/>
                <a:gd name="connsiteY37" fmla="*/ 300037 h 1309687"/>
                <a:gd name="connsiteX38" fmla="*/ 1097756 w 1562100"/>
                <a:gd name="connsiteY38" fmla="*/ 342900 h 1309687"/>
                <a:gd name="connsiteX39" fmla="*/ 1083469 w 1562100"/>
                <a:gd name="connsiteY39" fmla="*/ 376237 h 1309687"/>
                <a:gd name="connsiteX40" fmla="*/ 959644 w 1562100"/>
                <a:gd name="connsiteY40" fmla="*/ 407193 h 1309687"/>
                <a:gd name="connsiteX41" fmla="*/ 945356 w 1562100"/>
                <a:gd name="connsiteY41" fmla="*/ 402431 h 1309687"/>
                <a:gd name="connsiteX42" fmla="*/ 926306 w 1562100"/>
                <a:gd name="connsiteY42" fmla="*/ 423862 h 1309687"/>
                <a:gd name="connsiteX43" fmla="*/ 890588 w 1562100"/>
                <a:gd name="connsiteY43" fmla="*/ 431006 h 1309687"/>
                <a:gd name="connsiteX44" fmla="*/ 854869 w 1562100"/>
                <a:gd name="connsiteY44" fmla="*/ 381000 h 1309687"/>
                <a:gd name="connsiteX45" fmla="*/ 835819 w 1562100"/>
                <a:gd name="connsiteY45" fmla="*/ 369093 h 1309687"/>
                <a:gd name="connsiteX46" fmla="*/ 826294 w 1562100"/>
                <a:gd name="connsiteY46" fmla="*/ 323850 h 1309687"/>
                <a:gd name="connsiteX47" fmla="*/ 792956 w 1562100"/>
                <a:gd name="connsiteY47" fmla="*/ 307181 h 1309687"/>
                <a:gd name="connsiteX48" fmla="*/ 759619 w 1562100"/>
                <a:gd name="connsiteY48" fmla="*/ 300037 h 1309687"/>
                <a:gd name="connsiteX49" fmla="*/ 740569 w 1562100"/>
                <a:gd name="connsiteY49" fmla="*/ 295275 h 1309687"/>
                <a:gd name="connsiteX50" fmla="*/ 728663 w 1562100"/>
                <a:gd name="connsiteY50" fmla="*/ 285750 h 1309687"/>
                <a:gd name="connsiteX51" fmla="*/ 735806 w 1562100"/>
                <a:gd name="connsiteY51" fmla="*/ 259556 h 1309687"/>
                <a:gd name="connsiteX52" fmla="*/ 742950 w 1562100"/>
                <a:gd name="connsiteY52" fmla="*/ 235743 h 1309687"/>
                <a:gd name="connsiteX53" fmla="*/ 700088 w 1562100"/>
                <a:gd name="connsiteY53" fmla="*/ 185737 h 1309687"/>
                <a:gd name="connsiteX54" fmla="*/ 461963 w 1562100"/>
                <a:gd name="connsiteY54" fmla="*/ 23813 h 1309687"/>
                <a:gd name="connsiteX55" fmla="*/ 428625 w 1562100"/>
                <a:gd name="connsiteY55" fmla="*/ 0 h 1309687"/>
                <a:gd name="connsiteX56" fmla="*/ 376238 w 1562100"/>
                <a:gd name="connsiteY56" fmla="*/ 104775 h 1309687"/>
                <a:gd name="connsiteX57" fmla="*/ 314326 w 1562100"/>
                <a:gd name="connsiteY57" fmla="*/ 104774 h 1309687"/>
                <a:gd name="connsiteX58" fmla="*/ 328613 w 1562100"/>
                <a:gd name="connsiteY58" fmla="*/ 183356 h 1309687"/>
                <a:gd name="connsiteX59" fmla="*/ 292894 w 1562100"/>
                <a:gd name="connsiteY59" fmla="*/ 285750 h 1309687"/>
                <a:gd name="connsiteX60" fmla="*/ 264319 w 1562100"/>
                <a:gd name="connsiteY60" fmla="*/ 292893 h 1309687"/>
                <a:gd name="connsiteX61" fmla="*/ 261938 w 1562100"/>
                <a:gd name="connsiteY61" fmla="*/ 307181 h 1309687"/>
                <a:gd name="connsiteX62" fmla="*/ 261938 w 1562100"/>
                <a:gd name="connsiteY62" fmla="*/ 340518 h 1309687"/>
                <a:gd name="connsiteX63" fmla="*/ 228600 w 1562100"/>
                <a:gd name="connsiteY63" fmla="*/ 383381 h 1309687"/>
                <a:gd name="connsiteX64" fmla="*/ 271463 w 1562100"/>
                <a:gd name="connsiteY64" fmla="*/ 400050 h 1309687"/>
                <a:gd name="connsiteX65" fmla="*/ 278606 w 1562100"/>
                <a:gd name="connsiteY65" fmla="*/ 419100 h 1309687"/>
                <a:gd name="connsiteX66" fmla="*/ 257175 w 1562100"/>
                <a:gd name="connsiteY66" fmla="*/ 454818 h 1309687"/>
                <a:gd name="connsiteX67" fmla="*/ 221456 w 1562100"/>
                <a:gd name="connsiteY67" fmla="*/ 464343 h 1309687"/>
                <a:gd name="connsiteX68" fmla="*/ 221456 w 1562100"/>
                <a:gd name="connsiteY68" fmla="*/ 504825 h 1309687"/>
                <a:gd name="connsiteX69" fmla="*/ 254794 w 1562100"/>
                <a:gd name="connsiteY69" fmla="*/ 542925 h 1309687"/>
                <a:gd name="connsiteX70" fmla="*/ 226219 w 1562100"/>
                <a:gd name="connsiteY70" fmla="*/ 607218 h 1309687"/>
                <a:gd name="connsiteX71" fmla="*/ 180975 w 1562100"/>
                <a:gd name="connsiteY71" fmla="*/ 635793 h 1309687"/>
                <a:gd name="connsiteX72" fmla="*/ 183356 w 1562100"/>
                <a:gd name="connsiteY72" fmla="*/ 652462 h 1309687"/>
                <a:gd name="connsiteX73" fmla="*/ 204788 w 1562100"/>
                <a:gd name="connsiteY73" fmla="*/ 661987 h 1309687"/>
                <a:gd name="connsiteX74" fmla="*/ 219075 w 1562100"/>
                <a:gd name="connsiteY74" fmla="*/ 671512 h 1309687"/>
                <a:gd name="connsiteX75" fmla="*/ 223838 w 1562100"/>
                <a:gd name="connsiteY75" fmla="*/ 690562 h 1309687"/>
                <a:gd name="connsiteX76" fmla="*/ 195263 w 1562100"/>
                <a:gd name="connsiteY76" fmla="*/ 716756 h 1309687"/>
                <a:gd name="connsiteX77" fmla="*/ 123825 w 1562100"/>
                <a:gd name="connsiteY77" fmla="*/ 762000 h 1309687"/>
                <a:gd name="connsiteX78" fmla="*/ 123825 w 1562100"/>
                <a:gd name="connsiteY78" fmla="*/ 797718 h 1309687"/>
                <a:gd name="connsiteX79" fmla="*/ 135731 w 1562100"/>
                <a:gd name="connsiteY79" fmla="*/ 828675 h 1309687"/>
                <a:gd name="connsiteX80" fmla="*/ 123825 w 1562100"/>
                <a:gd name="connsiteY80" fmla="*/ 869156 h 1309687"/>
                <a:gd name="connsiteX81" fmla="*/ 76200 w 1562100"/>
                <a:gd name="connsiteY81" fmla="*/ 864393 h 1309687"/>
                <a:gd name="connsiteX82" fmla="*/ 52388 w 1562100"/>
                <a:gd name="connsiteY82" fmla="*/ 809625 h 1309687"/>
                <a:gd name="connsiteX83" fmla="*/ 33338 w 1562100"/>
                <a:gd name="connsiteY83" fmla="*/ 802481 h 1309687"/>
                <a:gd name="connsiteX84" fmla="*/ 23813 w 1562100"/>
                <a:gd name="connsiteY84" fmla="*/ 840581 h 1309687"/>
                <a:gd name="connsiteX85" fmla="*/ 21431 w 1562100"/>
                <a:gd name="connsiteY85" fmla="*/ 850106 h 1309687"/>
                <a:gd name="connsiteX86" fmla="*/ 7144 w 1562100"/>
                <a:gd name="connsiteY86" fmla="*/ 866775 h 1309687"/>
                <a:gd name="connsiteX87" fmla="*/ 0 w 1562100"/>
                <a:gd name="connsiteY87" fmla="*/ 923925 h 1309687"/>
                <a:gd name="connsiteX88" fmla="*/ 23813 w 1562100"/>
                <a:gd name="connsiteY88" fmla="*/ 952500 h 1309687"/>
                <a:gd name="connsiteX89" fmla="*/ 16669 w 1562100"/>
                <a:gd name="connsiteY89" fmla="*/ 992981 h 1309687"/>
                <a:gd name="connsiteX90" fmla="*/ 35719 w 1562100"/>
                <a:gd name="connsiteY90" fmla="*/ 997743 h 1309687"/>
                <a:gd name="connsiteX91" fmla="*/ 69056 w 1562100"/>
                <a:gd name="connsiteY91" fmla="*/ 997743 h 1309687"/>
                <a:gd name="connsiteX92" fmla="*/ 85725 w 1562100"/>
                <a:gd name="connsiteY92" fmla="*/ 988218 h 1309687"/>
                <a:gd name="connsiteX93" fmla="*/ 135731 w 1562100"/>
                <a:gd name="connsiteY93" fmla="*/ 1045368 h 1309687"/>
                <a:gd name="connsiteX94" fmla="*/ 123825 w 1562100"/>
                <a:gd name="connsiteY94" fmla="*/ 1064418 h 1309687"/>
                <a:gd name="connsiteX95" fmla="*/ 133350 w 1562100"/>
                <a:gd name="connsiteY95" fmla="*/ 1092993 h 1309687"/>
                <a:gd name="connsiteX96" fmla="*/ 164306 w 1562100"/>
                <a:gd name="connsiteY96" fmla="*/ 1112043 h 1309687"/>
                <a:gd name="connsiteX97" fmla="*/ 190500 w 1562100"/>
                <a:gd name="connsiteY97" fmla="*/ 1121568 h 1309687"/>
                <a:gd name="connsiteX98" fmla="*/ 216694 w 1562100"/>
                <a:gd name="connsiteY98" fmla="*/ 1128712 h 1309687"/>
                <a:gd name="connsiteX99" fmla="*/ 228600 w 1562100"/>
                <a:gd name="connsiteY99" fmla="*/ 1131093 h 1309687"/>
                <a:gd name="connsiteX100" fmla="*/ 240506 w 1562100"/>
                <a:gd name="connsiteY100" fmla="*/ 1092993 h 1309687"/>
                <a:gd name="connsiteX101" fmla="*/ 269081 w 1562100"/>
                <a:gd name="connsiteY101" fmla="*/ 1097756 h 1309687"/>
                <a:gd name="connsiteX102" fmla="*/ 288131 w 1562100"/>
                <a:gd name="connsiteY102" fmla="*/ 1085850 h 1309687"/>
                <a:gd name="connsiteX103" fmla="*/ 307181 w 1562100"/>
                <a:gd name="connsiteY103" fmla="*/ 1135856 h 1309687"/>
                <a:gd name="connsiteX104" fmla="*/ 330994 w 1562100"/>
                <a:gd name="connsiteY104" fmla="*/ 1150143 h 1309687"/>
                <a:gd name="connsiteX105" fmla="*/ 340519 w 1562100"/>
                <a:gd name="connsiteY105" fmla="*/ 1178718 h 1309687"/>
                <a:gd name="connsiteX106" fmla="*/ 357188 w 1562100"/>
                <a:gd name="connsiteY106" fmla="*/ 1188243 h 1309687"/>
                <a:gd name="connsiteX107" fmla="*/ 364331 w 1562100"/>
                <a:gd name="connsiteY107" fmla="*/ 1219200 h 1309687"/>
                <a:gd name="connsiteX108" fmla="*/ 335756 w 1562100"/>
                <a:gd name="connsiteY108" fmla="*/ 1245393 h 1309687"/>
                <a:gd name="connsiteX109" fmla="*/ 309563 w 1562100"/>
                <a:gd name="connsiteY109" fmla="*/ 1262062 h 1309687"/>
                <a:gd name="connsiteX110" fmla="*/ 297656 w 1562100"/>
                <a:gd name="connsiteY110" fmla="*/ 1285875 h 1309687"/>
                <a:gd name="connsiteX111" fmla="*/ 302419 w 1562100"/>
                <a:gd name="connsiteY111" fmla="*/ 1309687 h 1309687"/>
                <a:gd name="connsiteX112" fmla="*/ 342900 w 1562100"/>
                <a:gd name="connsiteY112" fmla="*/ 1309687 h 1309687"/>
                <a:gd name="connsiteX113" fmla="*/ 390525 w 1562100"/>
                <a:gd name="connsiteY113" fmla="*/ 1304925 h 1309687"/>
                <a:gd name="connsiteX114" fmla="*/ 428625 w 1562100"/>
                <a:gd name="connsiteY114" fmla="*/ 1295400 h 1309687"/>
                <a:gd name="connsiteX115" fmla="*/ 454819 w 1562100"/>
                <a:gd name="connsiteY115" fmla="*/ 1302543 h 1309687"/>
                <a:gd name="connsiteX116" fmla="*/ 473869 w 1562100"/>
                <a:gd name="connsiteY116" fmla="*/ 1281112 h 1309687"/>
                <a:gd name="connsiteX117" fmla="*/ 492919 w 1562100"/>
                <a:gd name="connsiteY117" fmla="*/ 1281112 h 1309687"/>
                <a:gd name="connsiteX118" fmla="*/ 507206 w 1562100"/>
                <a:gd name="connsiteY118" fmla="*/ 1250156 h 1309687"/>
                <a:gd name="connsiteX119" fmla="*/ 557213 w 1562100"/>
                <a:gd name="connsiteY119" fmla="*/ 1235868 h 1309687"/>
                <a:gd name="connsiteX120" fmla="*/ 583406 w 1562100"/>
                <a:gd name="connsiteY120" fmla="*/ 1216818 h 1309687"/>
                <a:gd name="connsiteX121" fmla="*/ 590550 w 1562100"/>
                <a:gd name="connsiteY121" fmla="*/ 1178718 h 1309687"/>
                <a:gd name="connsiteX122" fmla="*/ 607219 w 1562100"/>
                <a:gd name="connsiteY122" fmla="*/ 1152525 h 1309687"/>
                <a:gd name="connsiteX123" fmla="*/ 688181 w 1562100"/>
                <a:gd name="connsiteY123" fmla="*/ 1183481 h 1309687"/>
                <a:gd name="connsiteX0" fmla="*/ 688181 w 1562100"/>
                <a:gd name="connsiteY0" fmla="*/ 1183481 h 1309687"/>
                <a:gd name="connsiteX1" fmla="*/ 688181 w 1562100"/>
                <a:gd name="connsiteY1" fmla="*/ 1097756 h 1309687"/>
                <a:gd name="connsiteX2" fmla="*/ 692944 w 1562100"/>
                <a:gd name="connsiteY2" fmla="*/ 1054893 h 1309687"/>
                <a:gd name="connsiteX3" fmla="*/ 692944 w 1562100"/>
                <a:gd name="connsiteY3" fmla="*/ 1009650 h 1309687"/>
                <a:gd name="connsiteX4" fmla="*/ 676275 w 1562100"/>
                <a:gd name="connsiteY4" fmla="*/ 985837 h 1309687"/>
                <a:gd name="connsiteX5" fmla="*/ 690563 w 1562100"/>
                <a:gd name="connsiteY5" fmla="*/ 933450 h 1309687"/>
                <a:gd name="connsiteX6" fmla="*/ 685800 w 1562100"/>
                <a:gd name="connsiteY6" fmla="*/ 907256 h 1309687"/>
                <a:gd name="connsiteX7" fmla="*/ 697706 w 1562100"/>
                <a:gd name="connsiteY7" fmla="*/ 862012 h 1309687"/>
                <a:gd name="connsiteX8" fmla="*/ 714375 w 1562100"/>
                <a:gd name="connsiteY8" fmla="*/ 838200 h 1309687"/>
                <a:gd name="connsiteX9" fmla="*/ 721519 w 1562100"/>
                <a:gd name="connsiteY9" fmla="*/ 804862 h 1309687"/>
                <a:gd name="connsiteX10" fmla="*/ 735806 w 1562100"/>
                <a:gd name="connsiteY10" fmla="*/ 785812 h 1309687"/>
                <a:gd name="connsiteX11" fmla="*/ 792956 w 1562100"/>
                <a:gd name="connsiteY11" fmla="*/ 776287 h 1309687"/>
                <a:gd name="connsiteX12" fmla="*/ 838200 w 1562100"/>
                <a:gd name="connsiteY12" fmla="*/ 759618 h 1309687"/>
                <a:gd name="connsiteX13" fmla="*/ 876300 w 1562100"/>
                <a:gd name="connsiteY13" fmla="*/ 719137 h 1309687"/>
                <a:gd name="connsiteX14" fmla="*/ 923925 w 1562100"/>
                <a:gd name="connsiteY14" fmla="*/ 704850 h 1309687"/>
                <a:gd name="connsiteX15" fmla="*/ 995363 w 1562100"/>
                <a:gd name="connsiteY15" fmla="*/ 700087 h 1309687"/>
                <a:gd name="connsiteX16" fmla="*/ 1040606 w 1562100"/>
                <a:gd name="connsiteY16" fmla="*/ 690562 h 1309687"/>
                <a:gd name="connsiteX17" fmla="*/ 1119188 w 1562100"/>
                <a:gd name="connsiteY17" fmla="*/ 583406 h 1309687"/>
                <a:gd name="connsiteX18" fmla="*/ 1126331 w 1562100"/>
                <a:gd name="connsiteY18" fmla="*/ 550068 h 1309687"/>
                <a:gd name="connsiteX19" fmla="*/ 1152525 w 1562100"/>
                <a:gd name="connsiteY19" fmla="*/ 521493 h 1309687"/>
                <a:gd name="connsiteX20" fmla="*/ 1197769 w 1562100"/>
                <a:gd name="connsiteY20" fmla="*/ 511968 h 1309687"/>
                <a:gd name="connsiteX21" fmla="*/ 1290638 w 1562100"/>
                <a:gd name="connsiteY21" fmla="*/ 435768 h 1309687"/>
                <a:gd name="connsiteX22" fmla="*/ 1314450 w 1562100"/>
                <a:gd name="connsiteY22" fmla="*/ 433387 h 1309687"/>
                <a:gd name="connsiteX23" fmla="*/ 1409700 w 1562100"/>
                <a:gd name="connsiteY23" fmla="*/ 352425 h 1309687"/>
                <a:gd name="connsiteX24" fmla="*/ 1414463 w 1562100"/>
                <a:gd name="connsiteY24" fmla="*/ 333375 h 1309687"/>
                <a:gd name="connsiteX25" fmla="*/ 1507331 w 1562100"/>
                <a:gd name="connsiteY25" fmla="*/ 278606 h 1309687"/>
                <a:gd name="connsiteX26" fmla="*/ 1543050 w 1562100"/>
                <a:gd name="connsiteY26" fmla="*/ 233362 h 1309687"/>
                <a:gd name="connsiteX27" fmla="*/ 1562100 w 1562100"/>
                <a:gd name="connsiteY27" fmla="*/ 195262 h 1309687"/>
                <a:gd name="connsiteX28" fmla="*/ 1512094 w 1562100"/>
                <a:gd name="connsiteY28" fmla="*/ 214312 h 1309687"/>
                <a:gd name="connsiteX29" fmla="*/ 1478756 w 1562100"/>
                <a:gd name="connsiteY29" fmla="*/ 214312 h 1309687"/>
                <a:gd name="connsiteX30" fmla="*/ 1452563 w 1562100"/>
                <a:gd name="connsiteY30" fmla="*/ 252412 h 1309687"/>
                <a:gd name="connsiteX31" fmla="*/ 1421606 w 1562100"/>
                <a:gd name="connsiteY31" fmla="*/ 250031 h 1309687"/>
                <a:gd name="connsiteX32" fmla="*/ 1366838 w 1562100"/>
                <a:gd name="connsiteY32" fmla="*/ 219075 h 1309687"/>
                <a:gd name="connsiteX33" fmla="*/ 1323975 w 1562100"/>
                <a:gd name="connsiteY33" fmla="*/ 207168 h 1309687"/>
                <a:gd name="connsiteX34" fmla="*/ 1238250 w 1562100"/>
                <a:gd name="connsiteY34" fmla="*/ 242887 h 1309687"/>
                <a:gd name="connsiteX35" fmla="*/ 1223963 w 1562100"/>
                <a:gd name="connsiteY35" fmla="*/ 280987 h 1309687"/>
                <a:gd name="connsiteX36" fmla="*/ 1195388 w 1562100"/>
                <a:gd name="connsiteY36" fmla="*/ 338137 h 1309687"/>
                <a:gd name="connsiteX37" fmla="*/ 1109663 w 1562100"/>
                <a:gd name="connsiteY37" fmla="*/ 300037 h 1309687"/>
                <a:gd name="connsiteX38" fmla="*/ 1097756 w 1562100"/>
                <a:gd name="connsiteY38" fmla="*/ 342900 h 1309687"/>
                <a:gd name="connsiteX39" fmla="*/ 1083469 w 1562100"/>
                <a:gd name="connsiteY39" fmla="*/ 376237 h 1309687"/>
                <a:gd name="connsiteX40" fmla="*/ 959644 w 1562100"/>
                <a:gd name="connsiteY40" fmla="*/ 407193 h 1309687"/>
                <a:gd name="connsiteX41" fmla="*/ 945356 w 1562100"/>
                <a:gd name="connsiteY41" fmla="*/ 402431 h 1309687"/>
                <a:gd name="connsiteX42" fmla="*/ 926306 w 1562100"/>
                <a:gd name="connsiteY42" fmla="*/ 423862 h 1309687"/>
                <a:gd name="connsiteX43" fmla="*/ 890588 w 1562100"/>
                <a:gd name="connsiteY43" fmla="*/ 431006 h 1309687"/>
                <a:gd name="connsiteX44" fmla="*/ 854869 w 1562100"/>
                <a:gd name="connsiteY44" fmla="*/ 381000 h 1309687"/>
                <a:gd name="connsiteX45" fmla="*/ 835819 w 1562100"/>
                <a:gd name="connsiteY45" fmla="*/ 369093 h 1309687"/>
                <a:gd name="connsiteX46" fmla="*/ 826294 w 1562100"/>
                <a:gd name="connsiteY46" fmla="*/ 323850 h 1309687"/>
                <a:gd name="connsiteX47" fmla="*/ 792956 w 1562100"/>
                <a:gd name="connsiteY47" fmla="*/ 307181 h 1309687"/>
                <a:gd name="connsiteX48" fmla="*/ 759619 w 1562100"/>
                <a:gd name="connsiteY48" fmla="*/ 300037 h 1309687"/>
                <a:gd name="connsiteX49" fmla="*/ 740569 w 1562100"/>
                <a:gd name="connsiteY49" fmla="*/ 295275 h 1309687"/>
                <a:gd name="connsiteX50" fmla="*/ 728663 w 1562100"/>
                <a:gd name="connsiteY50" fmla="*/ 285750 h 1309687"/>
                <a:gd name="connsiteX51" fmla="*/ 735806 w 1562100"/>
                <a:gd name="connsiteY51" fmla="*/ 259556 h 1309687"/>
                <a:gd name="connsiteX52" fmla="*/ 742950 w 1562100"/>
                <a:gd name="connsiteY52" fmla="*/ 235743 h 1309687"/>
                <a:gd name="connsiteX53" fmla="*/ 700088 w 1562100"/>
                <a:gd name="connsiteY53" fmla="*/ 185737 h 1309687"/>
                <a:gd name="connsiteX54" fmla="*/ 450056 w 1562100"/>
                <a:gd name="connsiteY54" fmla="*/ 2382 h 1309687"/>
                <a:gd name="connsiteX55" fmla="*/ 428625 w 1562100"/>
                <a:gd name="connsiteY55" fmla="*/ 0 h 1309687"/>
                <a:gd name="connsiteX56" fmla="*/ 376238 w 1562100"/>
                <a:gd name="connsiteY56" fmla="*/ 104775 h 1309687"/>
                <a:gd name="connsiteX57" fmla="*/ 314326 w 1562100"/>
                <a:gd name="connsiteY57" fmla="*/ 104774 h 1309687"/>
                <a:gd name="connsiteX58" fmla="*/ 328613 w 1562100"/>
                <a:gd name="connsiteY58" fmla="*/ 183356 h 1309687"/>
                <a:gd name="connsiteX59" fmla="*/ 292894 w 1562100"/>
                <a:gd name="connsiteY59" fmla="*/ 285750 h 1309687"/>
                <a:gd name="connsiteX60" fmla="*/ 264319 w 1562100"/>
                <a:gd name="connsiteY60" fmla="*/ 292893 h 1309687"/>
                <a:gd name="connsiteX61" fmla="*/ 261938 w 1562100"/>
                <a:gd name="connsiteY61" fmla="*/ 307181 h 1309687"/>
                <a:gd name="connsiteX62" fmla="*/ 261938 w 1562100"/>
                <a:gd name="connsiteY62" fmla="*/ 340518 h 1309687"/>
                <a:gd name="connsiteX63" fmla="*/ 228600 w 1562100"/>
                <a:gd name="connsiteY63" fmla="*/ 383381 h 1309687"/>
                <a:gd name="connsiteX64" fmla="*/ 271463 w 1562100"/>
                <a:gd name="connsiteY64" fmla="*/ 400050 h 1309687"/>
                <a:gd name="connsiteX65" fmla="*/ 278606 w 1562100"/>
                <a:gd name="connsiteY65" fmla="*/ 419100 h 1309687"/>
                <a:gd name="connsiteX66" fmla="*/ 257175 w 1562100"/>
                <a:gd name="connsiteY66" fmla="*/ 454818 h 1309687"/>
                <a:gd name="connsiteX67" fmla="*/ 221456 w 1562100"/>
                <a:gd name="connsiteY67" fmla="*/ 464343 h 1309687"/>
                <a:gd name="connsiteX68" fmla="*/ 221456 w 1562100"/>
                <a:gd name="connsiteY68" fmla="*/ 504825 h 1309687"/>
                <a:gd name="connsiteX69" fmla="*/ 254794 w 1562100"/>
                <a:gd name="connsiteY69" fmla="*/ 542925 h 1309687"/>
                <a:gd name="connsiteX70" fmla="*/ 226219 w 1562100"/>
                <a:gd name="connsiteY70" fmla="*/ 607218 h 1309687"/>
                <a:gd name="connsiteX71" fmla="*/ 180975 w 1562100"/>
                <a:gd name="connsiteY71" fmla="*/ 635793 h 1309687"/>
                <a:gd name="connsiteX72" fmla="*/ 183356 w 1562100"/>
                <a:gd name="connsiteY72" fmla="*/ 652462 h 1309687"/>
                <a:gd name="connsiteX73" fmla="*/ 204788 w 1562100"/>
                <a:gd name="connsiteY73" fmla="*/ 661987 h 1309687"/>
                <a:gd name="connsiteX74" fmla="*/ 219075 w 1562100"/>
                <a:gd name="connsiteY74" fmla="*/ 671512 h 1309687"/>
                <a:gd name="connsiteX75" fmla="*/ 223838 w 1562100"/>
                <a:gd name="connsiteY75" fmla="*/ 690562 h 1309687"/>
                <a:gd name="connsiteX76" fmla="*/ 195263 w 1562100"/>
                <a:gd name="connsiteY76" fmla="*/ 716756 h 1309687"/>
                <a:gd name="connsiteX77" fmla="*/ 123825 w 1562100"/>
                <a:gd name="connsiteY77" fmla="*/ 762000 h 1309687"/>
                <a:gd name="connsiteX78" fmla="*/ 123825 w 1562100"/>
                <a:gd name="connsiteY78" fmla="*/ 797718 h 1309687"/>
                <a:gd name="connsiteX79" fmla="*/ 135731 w 1562100"/>
                <a:gd name="connsiteY79" fmla="*/ 828675 h 1309687"/>
                <a:gd name="connsiteX80" fmla="*/ 123825 w 1562100"/>
                <a:gd name="connsiteY80" fmla="*/ 869156 h 1309687"/>
                <a:gd name="connsiteX81" fmla="*/ 76200 w 1562100"/>
                <a:gd name="connsiteY81" fmla="*/ 864393 h 1309687"/>
                <a:gd name="connsiteX82" fmla="*/ 52388 w 1562100"/>
                <a:gd name="connsiteY82" fmla="*/ 809625 h 1309687"/>
                <a:gd name="connsiteX83" fmla="*/ 33338 w 1562100"/>
                <a:gd name="connsiteY83" fmla="*/ 802481 h 1309687"/>
                <a:gd name="connsiteX84" fmla="*/ 23813 w 1562100"/>
                <a:gd name="connsiteY84" fmla="*/ 840581 h 1309687"/>
                <a:gd name="connsiteX85" fmla="*/ 21431 w 1562100"/>
                <a:gd name="connsiteY85" fmla="*/ 850106 h 1309687"/>
                <a:gd name="connsiteX86" fmla="*/ 7144 w 1562100"/>
                <a:gd name="connsiteY86" fmla="*/ 866775 h 1309687"/>
                <a:gd name="connsiteX87" fmla="*/ 0 w 1562100"/>
                <a:gd name="connsiteY87" fmla="*/ 923925 h 1309687"/>
                <a:gd name="connsiteX88" fmla="*/ 23813 w 1562100"/>
                <a:gd name="connsiteY88" fmla="*/ 952500 h 1309687"/>
                <a:gd name="connsiteX89" fmla="*/ 16669 w 1562100"/>
                <a:gd name="connsiteY89" fmla="*/ 992981 h 1309687"/>
                <a:gd name="connsiteX90" fmla="*/ 35719 w 1562100"/>
                <a:gd name="connsiteY90" fmla="*/ 997743 h 1309687"/>
                <a:gd name="connsiteX91" fmla="*/ 69056 w 1562100"/>
                <a:gd name="connsiteY91" fmla="*/ 997743 h 1309687"/>
                <a:gd name="connsiteX92" fmla="*/ 85725 w 1562100"/>
                <a:gd name="connsiteY92" fmla="*/ 988218 h 1309687"/>
                <a:gd name="connsiteX93" fmla="*/ 135731 w 1562100"/>
                <a:gd name="connsiteY93" fmla="*/ 1045368 h 1309687"/>
                <a:gd name="connsiteX94" fmla="*/ 123825 w 1562100"/>
                <a:gd name="connsiteY94" fmla="*/ 1064418 h 1309687"/>
                <a:gd name="connsiteX95" fmla="*/ 133350 w 1562100"/>
                <a:gd name="connsiteY95" fmla="*/ 1092993 h 1309687"/>
                <a:gd name="connsiteX96" fmla="*/ 164306 w 1562100"/>
                <a:gd name="connsiteY96" fmla="*/ 1112043 h 1309687"/>
                <a:gd name="connsiteX97" fmla="*/ 190500 w 1562100"/>
                <a:gd name="connsiteY97" fmla="*/ 1121568 h 1309687"/>
                <a:gd name="connsiteX98" fmla="*/ 216694 w 1562100"/>
                <a:gd name="connsiteY98" fmla="*/ 1128712 h 1309687"/>
                <a:gd name="connsiteX99" fmla="*/ 228600 w 1562100"/>
                <a:gd name="connsiteY99" fmla="*/ 1131093 h 1309687"/>
                <a:gd name="connsiteX100" fmla="*/ 240506 w 1562100"/>
                <a:gd name="connsiteY100" fmla="*/ 1092993 h 1309687"/>
                <a:gd name="connsiteX101" fmla="*/ 269081 w 1562100"/>
                <a:gd name="connsiteY101" fmla="*/ 1097756 h 1309687"/>
                <a:gd name="connsiteX102" fmla="*/ 288131 w 1562100"/>
                <a:gd name="connsiteY102" fmla="*/ 1085850 h 1309687"/>
                <a:gd name="connsiteX103" fmla="*/ 307181 w 1562100"/>
                <a:gd name="connsiteY103" fmla="*/ 1135856 h 1309687"/>
                <a:gd name="connsiteX104" fmla="*/ 330994 w 1562100"/>
                <a:gd name="connsiteY104" fmla="*/ 1150143 h 1309687"/>
                <a:gd name="connsiteX105" fmla="*/ 340519 w 1562100"/>
                <a:gd name="connsiteY105" fmla="*/ 1178718 h 1309687"/>
                <a:gd name="connsiteX106" fmla="*/ 357188 w 1562100"/>
                <a:gd name="connsiteY106" fmla="*/ 1188243 h 1309687"/>
                <a:gd name="connsiteX107" fmla="*/ 364331 w 1562100"/>
                <a:gd name="connsiteY107" fmla="*/ 1219200 h 1309687"/>
                <a:gd name="connsiteX108" fmla="*/ 335756 w 1562100"/>
                <a:gd name="connsiteY108" fmla="*/ 1245393 h 1309687"/>
                <a:gd name="connsiteX109" fmla="*/ 309563 w 1562100"/>
                <a:gd name="connsiteY109" fmla="*/ 1262062 h 1309687"/>
                <a:gd name="connsiteX110" fmla="*/ 297656 w 1562100"/>
                <a:gd name="connsiteY110" fmla="*/ 1285875 h 1309687"/>
                <a:gd name="connsiteX111" fmla="*/ 302419 w 1562100"/>
                <a:gd name="connsiteY111" fmla="*/ 1309687 h 1309687"/>
                <a:gd name="connsiteX112" fmla="*/ 342900 w 1562100"/>
                <a:gd name="connsiteY112" fmla="*/ 1309687 h 1309687"/>
                <a:gd name="connsiteX113" fmla="*/ 390525 w 1562100"/>
                <a:gd name="connsiteY113" fmla="*/ 1304925 h 1309687"/>
                <a:gd name="connsiteX114" fmla="*/ 428625 w 1562100"/>
                <a:gd name="connsiteY114" fmla="*/ 1295400 h 1309687"/>
                <a:gd name="connsiteX115" fmla="*/ 454819 w 1562100"/>
                <a:gd name="connsiteY115" fmla="*/ 1302543 h 1309687"/>
                <a:gd name="connsiteX116" fmla="*/ 473869 w 1562100"/>
                <a:gd name="connsiteY116" fmla="*/ 1281112 h 1309687"/>
                <a:gd name="connsiteX117" fmla="*/ 492919 w 1562100"/>
                <a:gd name="connsiteY117" fmla="*/ 1281112 h 1309687"/>
                <a:gd name="connsiteX118" fmla="*/ 507206 w 1562100"/>
                <a:gd name="connsiteY118" fmla="*/ 1250156 h 1309687"/>
                <a:gd name="connsiteX119" fmla="*/ 557213 w 1562100"/>
                <a:gd name="connsiteY119" fmla="*/ 1235868 h 1309687"/>
                <a:gd name="connsiteX120" fmla="*/ 583406 w 1562100"/>
                <a:gd name="connsiteY120" fmla="*/ 1216818 h 1309687"/>
                <a:gd name="connsiteX121" fmla="*/ 590550 w 1562100"/>
                <a:gd name="connsiteY121" fmla="*/ 1178718 h 1309687"/>
                <a:gd name="connsiteX122" fmla="*/ 607219 w 1562100"/>
                <a:gd name="connsiteY122" fmla="*/ 1152525 h 1309687"/>
                <a:gd name="connsiteX123" fmla="*/ 688181 w 1562100"/>
                <a:gd name="connsiteY123" fmla="*/ 1183481 h 1309687"/>
                <a:gd name="connsiteX0" fmla="*/ 688181 w 1562100"/>
                <a:gd name="connsiteY0" fmla="*/ 1183481 h 1309687"/>
                <a:gd name="connsiteX1" fmla="*/ 688181 w 1562100"/>
                <a:gd name="connsiteY1" fmla="*/ 1097756 h 1309687"/>
                <a:gd name="connsiteX2" fmla="*/ 692944 w 1562100"/>
                <a:gd name="connsiteY2" fmla="*/ 1054893 h 1309687"/>
                <a:gd name="connsiteX3" fmla="*/ 692944 w 1562100"/>
                <a:gd name="connsiteY3" fmla="*/ 1009650 h 1309687"/>
                <a:gd name="connsiteX4" fmla="*/ 676275 w 1562100"/>
                <a:gd name="connsiteY4" fmla="*/ 985837 h 1309687"/>
                <a:gd name="connsiteX5" fmla="*/ 690563 w 1562100"/>
                <a:gd name="connsiteY5" fmla="*/ 933450 h 1309687"/>
                <a:gd name="connsiteX6" fmla="*/ 685800 w 1562100"/>
                <a:gd name="connsiteY6" fmla="*/ 907256 h 1309687"/>
                <a:gd name="connsiteX7" fmla="*/ 697706 w 1562100"/>
                <a:gd name="connsiteY7" fmla="*/ 862012 h 1309687"/>
                <a:gd name="connsiteX8" fmla="*/ 714375 w 1562100"/>
                <a:gd name="connsiteY8" fmla="*/ 838200 h 1309687"/>
                <a:gd name="connsiteX9" fmla="*/ 721519 w 1562100"/>
                <a:gd name="connsiteY9" fmla="*/ 804862 h 1309687"/>
                <a:gd name="connsiteX10" fmla="*/ 735806 w 1562100"/>
                <a:gd name="connsiteY10" fmla="*/ 785812 h 1309687"/>
                <a:gd name="connsiteX11" fmla="*/ 792956 w 1562100"/>
                <a:gd name="connsiteY11" fmla="*/ 776287 h 1309687"/>
                <a:gd name="connsiteX12" fmla="*/ 838200 w 1562100"/>
                <a:gd name="connsiteY12" fmla="*/ 759618 h 1309687"/>
                <a:gd name="connsiteX13" fmla="*/ 876300 w 1562100"/>
                <a:gd name="connsiteY13" fmla="*/ 719137 h 1309687"/>
                <a:gd name="connsiteX14" fmla="*/ 923925 w 1562100"/>
                <a:gd name="connsiteY14" fmla="*/ 704850 h 1309687"/>
                <a:gd name="connsiteX15" fmla="*/ 995363 w 1562100"/>
                <a:gd name="connsiteY15" fmla="*/ 700087 h 1309687"/>
                <a:gd name="connsiteX16" fmla="*/ 1040606 w 1562100"/>
                <a:gd name="connsiteY16" fmla="*/ 690562 h 1309687"/>
                <a:gd name="connsiteX17" fmla="*/ 1119188 w 1562100"/>
                <a:gd name="connsiteY17" fmla="*/ 583406 h 1309687"/>
                <a:gd name="connsiteX18" fmla="*/ 1126331 w 1562100"/>
                <a:gd name="connsiteY18" fmla="*/ 550068 h 1309687"/>
                <a:gd name="connsiteX19" fmla="*/ 1152525 w 1562100"/>
                <a:gd name="connsiteY19" fmla="*/ 521493 h 1309687"/>
                <a:gd name="connsiteX20" fmla="*/ 1197769 w 1562100"/>
                <a:gd name="connsiteY20" fmla="*/ 511968 h 1309687"/>
                <a:gd name="connsiteX21" fmla="*/ 1290638 w 1562100"/>
                <a:gd name="connsiteY21" fmla="*/ 435768 h 1309687"/>
                <a:gd name="connsiteX22" fmla="*/ 1314450 w 1562100"/>
                <a:gd name="connsiteY22" fmla="*/ 433387 h 1309687"/>
                <a:gd name="connsiteX23" fmla="*/ 1409700 w 1562100"/>
                <a:gd name="connsiteY23" fmla="*/ 352425 h 1309687"/>
                <a:gd name="connsiteX24" fmla="*/ 1414463 w 1562100"/>
                <a:gd name="connsiteY24" fmla="*/ 333375 h 1309687"/>
                <a:gd name="connsiteX25" fmla="*/ 1507331 w 1562100"/>
                <a:gd name="connsiteY25" fmla="*/ 278606 h 1309687"/>
                <a:gd name="connsiteX26" fmla="*/ 1543050 w 1562100"/>
                <a:gd name="connsiteY26" fmla="*/ 233362 h 1309687"/>
                <a:gd name="connsiteX27" fmla="*/ 1562100 w 1562100"/>
                <a:gd name="connsiteY27" fmla="*/ 195262 h 1309687"/>
                <a:gd name="connsiteX28" fmla="*/ 1512094 w 1562100"/>
                <a:gd name="connsiteY28" fmla="*/ 214312 h 1309687"/>
                <a:gd name="connsiteX29" fmla="*/ 1478756 w 1562100"/>
                <a:gd name="connsiteY29" fmla="*/ 214312 h 1309687"/>
                <a:gd name="connsiteX30" fmla="*/ 1452563 w 1562100"/>
                <a:gd name="connsiteY30" fmla="*/ 252412 h 1309687"/>
                <a:gd name="connsiteX31" fmla="*/ 1421606 w 1562100"/>
                <a:gd name="connsiteY31" fmla="*/ 250031 h 1309687"/>
                <a:gd name="connsiteX32" fmla="*/ 1366838 w 1562100"/>
                <a:gd name="connsiteY32" fmla="*/ 219075 h 1309687"/>
                <a:gd name="connsiteX33" fmla="*/ 1323975 w 1562100"/>
                <a:gd name="connsiteY33" fmla="*/ 207168 h 1309687"/>
                <a:gd name="connsiteX34" fmla="*/ 1238250 w 1562100"/>
                <a:gd name="connsiteY34" fmla="*/ 242887 h 1309687"/>
                <a:gd name="connsiteX35" fmla="*/ 1223963 w 1562100"/>
                <a:gd name="connsiteY35" fmla="*/ 280987 h 1309687"/>
                <a:gd name="connsiteX36" fmla="*/ 1195388 w 1562100"/>
                <a:gd name="connsiteY36" fmla="*/ 338137 h 1309687"/>
                <a:gd name="connsiteX37" fmla="*/ 1109663 w 1562100"/>
                <a:gd name="connsiteY37" fmla="*/ 300037 h 1309687"/>
                <a:gd name="connsiteX38" fmla="*/ 1097756 w 1562100"/>
                <a:gd name="connsiteY38" fmla="*/ 342900 h 1309687"/>
                <a:gd name="connsiteX39" fmla="*/ 1083469 w 1562100"/>
                <a:gd name="connsiteY39" fmla="*/ 376237 h 1309687"/>
                <a:gd name="connsiteX40" fmla="*/ 959644 w 1562100"/>
                <a:gd name="connsiteY40" fmla="*/ 407193 h 1309687"/>
                <a:gd name="connsiteX41" fmla="*/ 945356 w 1562100"/>
                <a:gd name="connsiteY41" fmla="*/ 402431 h 1309687"/>
                <a:gd name="connsiteX42" fmla="*/ 926306 w 1562100"/>
                <a:gd name="connsiteY42" fmla="*/ 423862 h 1309687"/>
                <a:gd name="connsiteX43" fmla="*/ 890588 w 1562100"/>
                <a:gd name="connsiteY43" fmla="*/ 431006 h 1309687"/>
                <a:gd name="connsiteX44" fmla="*/ 854869 w 1562100"/>
                <a:gd name="connsiteY44" fmla="*/ 381000 h 1309687"/>
                <a:gd name="connsiteX45" fmla="*/ 835819 w 1562100"/>
                <a:gd name="connsiteY45" fmla="*/ 369093 h 1309687"/>
                <a:gd name="connsiteX46" fmla="*/ 826294 w 1562100"/>
                <a:gd name="connsiteY46" fmla="*/ 323850 h 1309687"/>
                <a:gd name="connsiteX47" fmla="*/ 792956 w 1562100"/>
                <a:gd name="connsiteY47" fmla="*/ 307181 h 1309687"/>
                <a:gd name="connsiteX48" fmla="*/ 759619 w 1562100"/>
                <a:gd name="connsiteY48" fmla="*/ 300037 h 1309687"/>
                <a:gd name="connsiteX49" fmla="*/ 740569 w 1562100"/>
                <a:gd name="connsiteY49" fmla="*/ 295275 h 1309687"/>
                <a:gd name="connsiteX50" fmla="*/ 728663 w 1562100"/>
                <a:gd name="connsiteY50" fmla="*/ 285750 h 1309687"/>
                <a:gd name="connsiteX51" fmla="*/ 735806 w 1562100"/>
                <a:gd name="connsiteY51" fmla="*/ 259556 h 1309687"/>
                <a:gd name="connsiteX52" fmla="*/ 742950 w 1562100"/>
                <a:gd name="connsiteY52" fmla="*/ 235743 h 1309687"/>
                <a:gd name="connsiteX53" fmla="*/ 700088 w 1562100"/>
                <a:gd name="connsiteY53" fmla="*/ 185737 h 1309687"/>
                <a:gd name="connsiteX54" fmla="*/ 450056 w 1562100"/>
                <a:gd name="connsiteY54" fmla="*/ 2382 h 1309687"/>
                <a:gd name="connsiteX55" fmla="*/ 428625 w 1562100"/>
                <a:gd name="connsiteY55" fmla="*/ 0 h 1309687"/>
                <a:gd name="connsiteX56" fmla="*/ 376238 w 1562100"/>
                <a:gd name="connsiteY56" fmla="*/ 104775 h 1309687"/>
                <a:gd name="connsiteX57" fmla="*/ 314326 w 1562100"/>
                <a:gd name="connsiteY57" fmla="*/ 104774 h 1309687"/>
                <a:gd name="connsiteX58" fmla="*/ 328613 w 1562100"/>
                <a:gd name="connsiteY58" fmla="*/ 183356 h 1309687"/>
                <a:gd name="connsiteX59" fmla="*/ 292894 w 1562100"/>
                <a:gd name="connsiteY59" fmla="*/ 285750 h 1309687"/>
                <a:gd name="connsiteX60" fmla="*/ 264319 w 1562100"/>
                <a:gd name="connsiteY60" fmla="*/ 292893 h 1309687"/>
                <a:gd name="connsiteX61" fmla="*/ 261938 w 1562100"/>
                <a:gd name="connsiteY61" fmla="*/ 307181 h 1309687"/>
                <a:gd name="connsiteX62" fmla="*/ 261938 w 1562100"/>
                <a:gd name="connsiteY62" fmla="*/ 340518 h 1309687"/>
                <a:gd name="connsiteX63" fmla="*/ 228600 w 1562100"/>
                <a:gd name="connsiteY63" fmla="*/ 383381 h 1309687"/>
                <a:gd name="connsiteX64" fmla="*/ 271463 w 1562100"/>
                <a:gd name="connsiteY64" fmla="*/ 400050 h 1309687"/>
                <a:gd name="connsiteX65" fmla="*/ 278606 w 1562100"/>
                <a:gd name="connsiteY65" fmla="*/ 419100 h 1309687"/>
                <a:gd name="connsiteX66" fmla="*/ 257175 w 1562100"/>
                <a:gd name="connsiteY66" fmla="*/ 454818 h 1309687"/>
                <a:gd name="connsiteX67" fmla="*/ 221456 w 1562100"/>
                <a:gd name="connsiteY67" fmla="*/ 464343 h 1309687"/>
                <a:gd name="connsiteX68" fmla="*/ 221456 w 1562100"/>
                <a:gd name="connsiteY68" fmla="*/ 504825 h 1309687"/>
                <a:gd name="connsiteX69" fmla="*/ 254794 w 1562100"/>
                <a:gd name="connsiteY69" fmla="*/ 542925 h 1309687"/>
                <a:gd name="connsiteX70" fmla="*/ 226219 w 1562100"/>
                <a:gd name="connsiteY70" fmla="*/ 607218 h 1309687"/>
                <a:gd name="connsiteX71" fmla="*/ 180975 w 1562100"/>
                <a:gd name="connsiteY71" fmla="*/ 635793 h 1309687"/>
                <a:gd name="connsiteX72" fmla="*/ 183356 w 1562100"/>
                <a:gd name="connsiteY72" fmla="*/ 652462 h 1309687"/>
                <a:gd name="connsiteX73" fmla="*/ 204788 w 1562100"/>
                <a:gd name="connsiteY73" fmla="*/ 661987 h 1309687"/>
                <a:gd name="connsiteX74" fmla="*/ 219075 w 1562100"/>
                <a:gd name="connsiteY74" fmla="*/ 671512 h 1309687"/>
                <a:gd name="connsiteX75" fmla="*/ 223838 w 1562100"/>
                <a:gd name="connsiteY75" fmla="*/ 690562 h 1309687"/>
                <a:gd name="connsiteX76" fmla="*/ 195263 w 1562100"/>
                <a:gd name="connsiteY76" fmla="*/ 716756 h 1309687"/>
                <a:gd name="connsiteX77" fmla="*/ 123825 w 1562100"/>
                <a:gd name="connsiteY77" fmla="*/ 762000 h 1309687"/>
                <a:gd name="connsiteX78" fmla="*/ 123825 w 1562100"/>
                <a:gd name="connsiteY78" fmla="*/ 797718 h 1309687"/>
                <a:gd name="connsiteX79" fmla="*/ 135731 w 1562100"/>
                <a:gd name="connsiteY79" fmla="*/ 828675 h 1309687"/>
                <a:gd name="connsiteX80" fmla="*/ 123825 w 1562100"/>
                <a:gd name="connsiteY80" fmla="*/ 869156 h 1309687"/>
                <a:gd name="connsiteX81" fmla="*/ 76200 w 1562100"/>
                <a:gd name="connsiteY81" fmla="*/ 864393 h 1309687"/>
                <a:gd name="connsiteX82" fmla="*/ 52388 w 1562100"/>
                <a:gd name="connsiteY82" fmla="*/ 809625 h 1309687"/>
                <a:gd name="connsiteX83" fmla="*/ 33338 w 1562100"/>
                <a:gd name="connsiteY83" fmla="*/ 802481 h 1309687"/>
                <a:gd name="connsiteX84" fmla="*/ 23813 w 1562100"/>
                <a:gd name="connsiteY84" fmla="*/ 840581 h 1309687"/>
                <a:gd name="connsiteX85" fmla="*/ 21431 w 1562100"/>
                <a:gd name="connsiteY85" fmla="*/ 850106 h 1309687"/>
                <a:gd name="connsiteX86" fmla="*/ 7144 w 1562100"/>
                <a:gd name="connsiteY86" fmla="*/ 866775 h 1309687"/>
                <a:gd name="connsiteX87" fmla="*/ 0 w 1562100"/>
                <a:gd name="connsiteY87" fmla="*/ 923925 h 1309687"/>
                <a:gd name="connsiteX88" fmla="*/ 23813 w 1562100"/>
                <a:gd name="connsiteY88" fmla="*/ 952500 h 1309687"/>
                <a:gd name="connsiteX89" fmla="*/ 16669 w 1562100"/>
                <a:gd name="connsiteY89" fmla="*/ 992981 h 1309687"/>
                <a:gd name="connsiteX90" fmla="*/ 35719 w 1562100"/>
                <a:gd name="connsiteY90" fmla="*/ 997743 h 1309687"/>
                <a:gd name="connsiteX91" fmla="*/ 69056 w 1562100"/>
                <a:gd name="connsiteY91" fmla="*/ 997743 h 1309687"/>
                <a:gd name="connsiteX92" fmla="*/ 85725 w 1562100"/>
                <a:gd name="connsiteY92" fmla="*/ 988218 h 1309687"/>
                <a:gd name="connsiteX93" fmla="*/ 135731 w 1562100"/>
                <a:gd name="connsiteY93" fmla="*/ 1045368 h 1309687"/>
                <a:gd name="connsiteX94" fmla="*/ 123825 w 1562100"/>
                <a:gd name="connsiteY94" fmla="*/ 1064418 h 1309687"/>
                <a:gd name="connsiteX95" fmla="*/ 133350 w 1562100"/>
                <a:gd name="connsiteY95" fmla="*/ 1092993 h 1309687"/>
                <a:gd name="connsiteX96" fmla="*/ 164306 w 1562100"/>
                <a:gd name="connsiteY96" fmla="*/ 1112043 h 1309687"/>
                <a:gd name="connsiteX97" fmla="*/ 190500 w 1562100"/>
                <a:gd name="connsiteY97" fmla="*/ 1121568 h 1309687"/>
                <a:gd name="connsiteX98" fmla="*/ 216694 w 1562100"/>
                <a:gd name="connsiteY98" fmla="*/ 1128712 h 1309687"/>
                <a:gd name="connsiteX99" fmla="*/ 228600 w 1562100"/>
                <a:gd name="connsiteY99" fmla="*/ 1131093 h 1309687"/>
                <a:gd name="connsiteX100" fmla="*/ 240506 w 1562100"/>
                <a:gd name="connsiteY100" fmla="*/ 1092993 h 1309687"/>
                <a:gd name="connsiteX101" fmla="*/ 269081 w 1562100"/>
                <a:gd name="connsiteY101" fmla="*/ 1097756 h 1309687"/>
                <a:gd name="connsiteX102" fmla="*/ 288131 w 1562100"/>
                <a:gd name="connsiteY102" fmla="*/ 1085850 h 1309687"/>
                <a:gd name="connsiteX103" fmla="*/ 307181 w 1562100"/>
                <a:gd name="connsiteY103" fmla="*/ 1135856 h 1309687"/>
                <a:gd name="connsiteX104" fmla="*/ 330994 w 1562100"/>
                <a:gd name="connsiteY104" fmla="*/ 1150143 h 1309687"/>
                <a:gd name="connsiteX105" fmla="*/ 340519 w 1562100"/>
                <a:gd name="connsiteY105" fmla="*/ 1178718 h 1309687"/>
                <a:gd name="connsiteX106" fmla="*/ 357188 w 1562100"/>
                <a:gd name="connsiteY106" fmla="*/ 1188243 h 1309687"/>
                <a:gd name="connsiteX107" fmla="*/ 364331 w 1562100"/>
                <a:gd name="connsiteY107" fmla="*/ 1219200 h 1309687"/>
                <a:gd name="connsiteX108" fmla="*/ 335756 w 1562100"/>
                <a:gd name="connsiteY108" fmla="*/ 1245393 h 1309687"/>
                <a:gd name="connsiteX109" fmla="*/ 309563 w 1562100"/>
                <a:gd name="connsiteY109" fmla="*/ 1262062 h 1309687"/>
                <a:gd name="connsiteX110" fmla="*/ 297656 w 1562100"/>
                <a:gd name="connsiteY110" fmla="*/ 1285875 h 1309687"/>
                <a:gd name="connsiteX111" fmla="*/ 302419 w 1562100"/>
                <a:gd name="connsiteY111" fmla="*/ 1309687 h 1309687"/>
                <a:gd name="connsiteX112" fmla="*/ 342900 w 1562100"/>
                <a:gd name="connsiteY112" fmla="*/ 1309687 h 1309687"/>
                <a:gd name="connsiteX113" fmla="*/ 390525 w 1562100"/>
                <a:gd name="connsiteY113" fmla="*/ 1304925 h 1309687"/>
                <a:gd name="connsiteX114" fmla="*/ 428625 w 1562100"/>
                <a:gd name="connsiteY114" fmla="*/ 1295400 h 1309687"/>
                <a:gd name="connsiteX115" fmla="*/ 454819 w 1562100"/>
                <a:gd name="connsiteY115" fmla="*/ 1302543 h 1309687"/>
                <a:gd name="connsiteX116" fmla="*/ 473869 w 1562100"/>
                <a:gd name="connsiteY116" fmla="*/ 1281112 h 1309687"/>
                <a:gd name="connsiteX117" fmla="*/ 492919 w 1562100"/>
                <a:gd name="connsiteY117" fmla="*/ 1281112 h 1309687"/>
                <a:gd name="connsiteX118" fmla="*/ 507206 w 1562100"/>
                <a:gd name="connsiteY118" fmla="*/ 1250156 h 1309687"/>
                <a:gd name="connsiteX119" fmla="*/ 557213 w 1562100"/>
                <a:gd name="connsiteY119" fmla="*/ 1235868 h 1309687"/>
                <a:gd name="connsiteX120" fmla="*/ 583406 w 1562100"/>
                <a:gd name="connsiteY120" fmla="*/ 1216818 h 1309687"/>
                <a:gd name="connsiteX121" fmla="*/ 590550 w 1562100"/>
                <a:gd name="connsiteY121" fmla="*/ 1178718 h 1309687"/>
                <a:gd name="connsiteX122" fmla="*/ 607219 w 1562100"/>
                <a:gd name="connsiteY122" fmla="*/ 1152525 h 1309687"/>
                <a:gd name="connsiteX123" fmla="*/ 688181 w 1562100"/>
                <a:gd name="connsiteY123" fmla="*/ 1183481 h 1309687"/>
                <a:gd name="connsiteX0" fmla="*/ 688181 w 1562100"/>
                <a:gd name="connsiteY0" fmla="*/ 1183481 h 1309687"/>
                <a:gd name="connsiteX1" fmla="*/ 688181 w 1562100"/>
                <a:gd name="connsiteY1" fmla="*/ 1097756 h 1309687"/>
                <a:gd name="connsiteX2" fmla="*/ 692944 w 1562100"/>
                <a:gd name="connsiteY2" fmla="*/ 1054893 h 1309687"/>
                <a:gd name="connsiteX3" fmla="*/ 692944 w 1562100"/>
                <a:gd name="connsiteY3" fmla="*/ 1009650 h 1309687"/>
                <a:gd name="connsiteX4" fmla="*/ 676275 w 1562100"/>
                <a:gd name="connsiteY4" fmla="*/ 985837 h 1309687"/>
                <a:gd name="connsiteX5" fmla="*/ 690563 w 1562100"/>
                <a:gd name="connsiteY5" fmla="*/ 933450 h 1309687"/>
                <a:gd name="connsiteX6" fmla="*/ 685800 w 1562100"/>
                <a:gd name="connsiteY6" fmla="*/ 907256 h 1309687"/>
                <a:gd name="connsiteX7" fmla="*/ 697706 w 1562100"/>
                <a:gd name="connsiteY7" fmla="*/ 862012 h 1309687"/>
                <a:gd name="connsiteX8" fmla="*/ 714375 w 1562100"/>
                <a:gd name="connsiteY8" fmla="*/ 838200 h 1309687"/>
                <a:gd name="connsiteX9" fmla="*/ 721519 w 1562100"/>
                <a:gd name="connsiteY9" fmla="*/ 804862 h 1309687"/>
                <a:gd name="connsiteX10" fmla="*/ 735806 w 1562100"/>
                <a:gd name="connsiteY10" fmla="*/ 785812 h 1309687"/>
                <a:gd name="connsiteX11" fmla="*/ 792956 w 1562100"/>
                <a:gd name="connsiteY11" fmla="*/ 776287 h 1309687"/>
                <a:gd name="connsiteX12" fmla="*/ 838200 w 1562100"/>
                <a:gd name="connsiteY12" fmla="*/ 759618 h 1309687"/>
                <a:gd name="connsiteX13" fmla="*/ 876300 w 1562100"/>
                <a:gd name="connsiteY13" fmla="*/ 719137 h 1309687"/>
                <a:gd name="connsiteX14" fmla="*/ 923925 w 1562100"/>
                <a:gd name="connsiteY14" fmla="*/ 704850 h 1309687"/>
                <a:gd name="connsiteX15" fmla="*/ 995363 w 1562100"/>
                <a:gd name="connsiteY15" fmla="*/ 700087 h 1309687"/>
                <a:gd name="connsiteX16" fmla="*/ 1040606 w 1562100"/>
                <a:gd name="connsiteY16" fmla="*/ 690562 h 1309687"/>
                <a:gd name="connsiteX17" fmla="*/ 1119188 w 1562100"/>
                <a:gd name="connsiteY17" fmla="*/ 583406 h 1309687"/>
                <a:gd name="connsiteX18" fmla="*/ 1126331 w 1562100"/>
                <a:gd name="connsiteY18" fmla="*/ 550068 h 1309687"/>
                <a:gd name="connsiteX19" fmla="*/ 1152525 w 1562100"/>
                <a:gd name="connsiteY19" fmla="*/ 521493 h 1309687"/>
                <a:gd name="connsiteX20" fmla="*/ 1197769 w 1562100"/>
                <a:gd name="connsiteY20" fmla="*/ 511968 h 1309687"/>
                <a:gd name="connsiteX21" fmla="*/ 1290638 w 1562100"/>
                <a:gd name="connsiteY21" fmla="*/ 435768 h 1309687"/>
                <a:gd name="connsiteX22" fmla="*/ 1314450 w 1562100"/>
                <a:gd name="connsiteY22" fmla="*/ 433387 h 1309687"/>
                <a:gd name="connsiteX23" fmla="*/ 1409700 w 1562100"/>
                <a:gd name="connsiteY23" fmla="*/ 352425 h 1309687"/>
                <a:gd name="connsiteX24" fmla="*/ 1414463 w 1562100"/>
                <a:gd name="connsiteY24" fmla="*/ 333375 h 1309687"/>
                <a:gd name="connsiteX25" fmla="*/ 1507331 w 1562100"/>
                <a:gd name="connsiteY25" fmla="*/ 278606 h 1309687"/>
                <a:gd name="connsiteX26" fmla="*/ 1543050 w 1562100"/>
                <a:gd name="connsiteY26" fmla="*/ 233362 h 1309687"/>
                <a:gd name="connsiteX27" fmla="*/ 1562100 w 1562100"/>
                <a:gd name="connsiteY27" fmla="*/ 195262 h 1309687"/>
                <a:gd name="connsiteX28" fmla="*/ 1512094 w 1562100"/>
                <a:gd name="connsiteY28" fmla="*/ 214312 h 1309687"/>
                <a:gd name="connsiteX29" fmla="*/ 1478756 w 1562100"/>
                <a:gd name="connsiteY29" fmla="*/ 214312 h 1309687"/>
                <a:gd name="connsiteX30" fmla="*/ 1452563 w 1562100"/>
                <a:gd name="connsiteY30" fmla="*/ 252412 h 1309687"/>
                <a:gd name="connsiteX31" fmla="*/ 1421606 w 1562100"/>
                <a:gd name="connsiteY31" fmla="*/ 250031 h 1309687"/>
                <a:gd name="connsiteX32" fmla="*/ 1366838 w 1562100"/>
                <a:gd name="connsiteY32" fmla="*/ 219075 h 1309687"/>
                <a:gd name="connsiteX33" fmla="*/ 1323975 w 1562100"/>
                <a:gd name="connsiteY33" fmla="*/ 207168 h 1309687"/>
                <a:gd name="connsiteX34" fmla="*/ 1238250 w 1562100"/>
                <a:gd name="connsiteY34" fmla="*/ 242887 h 1309687"/>
                <a:gd name="connsiteX35" fmla="*/ 1223963 w 1562100"/>
                <a:gd name="connsiteY35" fmla="*/ 280987 h 1309687"/>
                <a:gd name="connsiteX36" fmla="*/ 1195388 w 1562100"/>
                <a:gd name="connsiteY36" fmla="*/ 338137 h 1309687"/>
                <a:gd name="connsiteX37" fmla="*/ 1109663 w 1562100"/>
                <a:gd name="connsiteY37" fmla="*/ 300037 h 1309687"/>
                <a:gd name="connsiteX38" fmla="*/ 1097756 w 1562100"/>
                <a:gd name="connsiteY38" fmla="*/ 342900 h 1309687"/>
                <a:gd name="connsiteX39" fmla="*/ 1083469 w 1562100"/>
                <a:gd name="connsiteY39" fmla="*/ 376237 h 1309687"/>
                <a:gd name="connsiteX40" fmla="*/ 959644 w 1562100"/>
                <a:gd name="connsiteY40" fmla="*/ 407193 h 1309687"/>
                <a:gd name="connsiteX41" fmla="*/ 945356 w 1562100"/>
                <a:gd name="connsiteY41" fmla="*/ 402431 h 1309687"/>
                <a:gd name="connsiteX42" fmla="*/ 926306 w 1562100"/>
                <a:gd name="connsiteY42" fmla="*/ 423862 h 1309687"/>
                <a:gd name="connsiteX43" fmla="*/ 890588 w 1562100"/>
                <a:gd name="connsiteY43" fmla="*/ 431006 h 1309687"/>
                <a:gd name="connsiteX44" fmla="*/ 854869 w 1562100"/>
                <a:gd name="connsiteY44" fmla="*/ 381000 h 1309687"/>
                <a:gd name="connsiteX45" fmla="*/ 835819 w 1562100"/>
                <a:gd name="connsiteY45" fmla="*/ 369093 h 1309687"/>
                <a:gd name="connsiteX46" fmla="*/ 826294 w 1562100"/>
                <a:gd name="connsiteY46" fmla="*/ 323850 h 1309687"/>
                <a:gd name="connsiteX47" fmla="*/ 792956 w 1562100"/>
                <a:gd name="connsiteY47" fmla="*/ 307181 h 1309687"/>
                <a:gd name="connsiteX48" fmla="*/ 759619 w 1562100"/>
                <a:gd name="connsiteY48" fmla="*/ 300037 h 1309687"/>
                <a:gd name="connsiteX49" fmla="*/ 740569 w 1562100"/>
                <a:gd name="connsiteY49" fmla="*/ 295275 h 1309687"/>
                <a:gd name="connsiteX50" fmla="*/ 728663 w 1562100"/>
                <a:gd name="connsiteY50" fmla="*/ 285750 h 1309687"/>
                <a:gd name="connsiteX51" fmla="*/ 735806 w 1562100"/>
                <a:gd name="connsiteY51" fmla="*/ 259556 h 1309687"/>
                <a:gd name="connsiteX52" fmla="*/ 742950 w 1562100"/>
                <a:gd name="connsiteY52" fmla="*/ 235743 h 1309687"/>
                <a:gd name="connsiteX53" fmla="*/ 700088 w 1562100"/>
                <a:gd name="connsiteY53" fmla="*/ 185737 h 1309687"/>
                <a:gd name="connsiteX54" fmla="*/ 552450 w 1562100"/>
                <a:gd name="connsiteY54" fmla="*/ 78582 h 1309687"/>
                <a:gd name="connsiteX55" fmla="*/ 450056 w 1562100"/>
                <a:gd name="connsiteY55" fmla="*/ 2382 h 1309687"/>
                <a:gd name="connsiteX56" fmla="*/ 428625 w 1562100"/>
                <a:gd name="connsiteY56" fmla="*/ 0 h 1309687"/>
                <a:gd name="connsiteX57" fmla="*/ 376238 w 1562100"/>
                <a:gd name="connsiteY57" fmla="*/ 104775 h 1309687"/>
                <a:gd name="connsiteX58" fmla="*/ 314326 w 1562100"/>
                <a:gd name="connsiteY58" fmla="*/ 104774 h 1309687"/>
                <a:gd name="connsiteX59" fmla="*/ 328613 w 1562100"/>
                <a:gd name="connsiteY59" fmla="*/ 183356 h 1309687"/>
                <a:gd name="connsiteX60" fmla="*/ 292894 w 1562100"/>
                <a:gd name="connsiteY60" fmla="*/ 285750 h 1309687"/>
                <a:gd name="connsiteX61" fmla="*/ 264319 w 1562100"/>
                <a:gd name="connsiteY61" fmla="*/ 292893 h 1309687"/>
                <a:gd name="connsiteX62" fmla="*/ 261938 w 1562100"/>
                <a:gd name="connsiteY62" fmla="*/ 307181 h 1309687"/>
                <a:gd name="connsiteX63" fmla="*/ 261938 w 1562100"/>
                <a:gd name="connsiteY63" fmla="*/ 340518 h 1309687"/>
                <a:gd name="connsiteX64" fmla="*/ 228600 w 1562100"/>
                <a:gd name="connsiteY64" fmla="*/ 383381 h 1309687"/>
                <a:gd name="connsiteX65" fmla="*/ 271463 w 1562100"/>
                <a:gd name="connsiteY65" fmla="*/ 400050 h 1309687"/>
                <a:gd name="connsiteX66" fmla="*/ 278606 w 1562100"/>
                <a:gd name="connsiteY66" fmla="*/ 419100 h 1309687"/>
                <a:gd name="connsiteX67" fmla="*/ 257175 w 1562100"/>
                <a:gd name="connsiteY67" fmla="*/ 454818 h 1309687"/>
                <a:gd name="connsiteX68" fmla="*/ 221456 w 1562100"/>
                <a:gd name="connsiteY68" fmla="*/ 464343 h 1309687"/>
                <a:gd name="connsiteX69" fmla="*/ 221456 w 1562100"/>
                <a:gd name="connsiteY69" fmla="*/ 504825 h 1309687"/>
                <a:gd name="connsiteX70" fmla="*/ 254794 w 1562100"/>
                <a:gd name="connsiteY70" fmla="*/ 542925 h 1309687"/>
                <a:gd name="connsiteX71" fmla="*/ 226219 w 1562100"/>
                <a:gd name="connsiteY71" fmla="*/ 607218 h 1309687"/>
                <a:gd name="connsiteX72" fmla="*/ 180975 w 1562100"/>
                <a:gd name="connsiteY72" fmla="*/ 635793 h 1309687"/>
                <a:gd name="connsiteX73" fmla="*/ 183356 w 1562100"/>
                <a:gd name="connsiteY73" fmla="*/ 652462 h 1309687"/>
                <a:gd name="connsiteX74" fmla="*/ 204788 w 1562100"/>
                <a:gd name="connsiteY74" fmla="*/ 661987 h 1309687"/>
                <a:gd name="connsiteX75" fmla="*/ 219075 w 1562100"/>
                <a:gd name="connsiteY75" fmla="*/ 671512 h 1309687"/>
                <a:gd name="connsiteX76" fmla="*/ 223838 w 1562100"/>
                <a:gd name="connsiteY76" fmla="*/ 690562 h 1309687"/>
                <a:gd name="connsiteX77" fmla="*/ 195263 w 1562100"/>
                <a:gd name="connsiteY77" fmla="*/ 716756 h 1309687"/>
                <a:gd name="connsiteX78" fmla="*/ 123825 w 1562100"/>
                <a:gd name="connsiteY78" fmla="*/ 762000 h 1309687"/>
                <a:gd name="connsiteX79" fmla="*/ 123825 w 1562100"/>
                <a:gd name="connsiteY79" fmla="*/ 797718 h 1309687"/>
                <a:gd name="connsiteX80" fmla="*/ 135731 w 1562100"/>
                <a:gd name="connsiteY80" fmla="*/ 828675 h 1309687"/>
                <a:gd name="connsiteX81" fmla="*/ 123825 w 1562100"/>
                <a:gd name="connsiteY81" fmla="*/ 869156 h 1309687"/>
                <a:gd name="connsiteX82" fmla="*/ 76200 w 1562100"/>
                <a:gd name="connsiteY82" fmla="*/ 864393 h 1309687"/>
                <a:gd name="connsiteX83" fmla="*/ 52388 w 1562100"/>
                <a:gd name="connsiteY83" fmla="*/ 809625 h 1309687"/>
                <a:gd name="connsiteX84" fmla="*/ 33338 w 1562100"/>
                <a:gd name="connsiteY84" fmla="*/ 802481 h 1309687"/>
                <a:gd name="connsiteX85" fmla="*/ 23813 w 1562100"/>
                <a:gd name="connsiteY85" fmla="*/ 840581 h 1309687"/>
                <a:gd name="connsiteX86" fmla="*/ 21431 w 1562100"/>
                <a:gd name="connsiteY86" fmla="*/ 850106 h 1309687"/>
                <a:gd name="connsiteX87" fmla="*/ 7144 w 1562100"/>
                <a:gd name="connsiteY87" fmla="*/ 866775 h 1309687"/>
                <a:gd name="connsiteX88" fmla="*/ 0 w 1562100"/>
                <a:gd name="connsiteY88" fmla="*/ 923925 h 1309687"/>
                <a:gd name="connsiteX89" fmla="*/ 23813 w 1562100"/>
                <a:gd name="connsiteY89" fmla="*/ 952500 h 1309687"/>
                <a:gd name="connsiteX90" fmla="*/ 16669 w 1562100"/>
                <a:gd name="connsiteY90" fmla="*/ 992981 h 1309687"/>
                <a:gd name="connsiteX91" fmla="*/ 35719 w 1562100"/>
                <a:gd name="connsiteY91" fmla="*/ 997743 h 1309687"/>
                <a:gd name="connsiteX92" fmla="*/ 69056 w 1562100"/>
                <a:gd name="connsiteY92" fmla="*/ 997743 h 1309687"/>
                <a:gd name="connsiteX93" fmla="*/ 85725 w 1562100"/>
                <a:gd name="connsiteY93" fmla="*/ 988218 h 1309687"/>
                <a:gd name="connsiteX94" fmla="*/ 135731 w 1562100"/>
                <a:gd name="connsiteY94" fmla="*/ 1045368 h 1309687"/>
                <a:gd name="connsiteX95" fmla="*/ 123825 w 1562100"/>
                <a:gd name="connsiteY95" fmla="*/ 1064418 h 1309687"/>
                <a:gd name="connsiteX96" fmla="*/ 133350 w 1562100"/>
                <a:gd name="connsiteY96" fmla="*/ 1092993 h 1309687"/>
                <a:gd name="connsiteX97" fmla="*/ 164306 w 1562100"/>
                <a:gd name="connsiteY97" fmla="*/ 1112043 h 1309687"/>
                <a:gd name="connsiteX98" fmla="*/ 190500 w 1562100"/>
                <a:gd name="connsiteY98" fmla="*/ 1121568 h 1309687"/>
                <a:gd name="connsiteX99" fmla="*/ 216694 w 1562100"/>
                <a:gd name="connsiteY99" fmla="*/ 1128712 h 1309687"/>
                <a:gd name="connsiteX100" fmla="*/ 228600 w 1562100"/>
                <a:gd name="connsiteY100" fmla="*/ 1131093 h 1309687"/>
                <a:gd name="connsiteX101" fmla="*/ 240506 w 1562100"/>
                <a:gd name="connsiteY101" fmla="*/ 1092993 h 1309687"/>
                <a:gd name="connsiteX102" fmla="*/ 269081 w 1562100"/>
                <a:gd name="connsiteY102" fmla="*/ 1097756 h 1309687"/>
                <a:gd name="connsiteX103" fmla="*/ 288131 w 1562100"/>
                <a:gd name="connsiteY103" fmla="*/ 1085850 h 1309687"/>
                <a:gd name="connsiteX104" fmla="*/ 307181 w 1562100"/>
                <a:gd name="connsiteY104" fmla="*/ 1135856 h 1309687"/>
                <a:gd name="connsiteX105" fmla="*/ 330994 w 1562100"/>
                <a:gd name="connsiteY105" fmla="*/ 1150143 h 1309687"/>
                <a:gd name="connsiteX106" fmla="*/ 340519 w 1562100"/>
                <a:gd name="connsiteY106" fmla="*/ 1178718 h 1309687"/>
                <a:gd name="connsiteX107" fmla="*/ 357188 w 1562100"/>
                <a:gd name="connsiteY107" fmla="*/ 1188243 h 1309687"/>
                <a:gd name="connsiteX108" fmla="*/ 364331 w 1562100"/>
                <a:gd name="connsiteY108" fmla="*/ 1219200 h 1309687"/>
                <a:gd name="connsiteX109" fmla="*/ 335756 w 1562100"/>
                <a:gd name="connsiteY109" fmla="*/ 1245393 h 1309687"/>
                <a:gd name="connsiteX110" fmla="*/ 309563 w 1562100"/>
                <a:gd name="connsiteY110" fmla="*/ 1262062 h 1309687"/>
                <a:gd name="connsiteX111" fmla="*/ 297656 w 1562100"/>
                <a:gd name="connsiteY111" fmla="*/ 1285875 h 1309687"/>
                <a:gd name="connsiteX112" fmla="*/ 302419 w 1562100"/>
                <a:gd name="connsiteY112" fmla="*/ 1309687 h 1309687"/>
                <a:gd name="connsiteX113" fmla="*/ 342900 w 1562100"/>
                <a:gd name="connsiteY113" fmla="*/ 1309687 h 1309687"/>
                <a:gd name="connsiteX114" fmla="*/ 390525 w 1562100"/>
                <a:gd name="connsiteY114" fmla="*/ 1304925 h 1309687"/>
                <a:gd name="connsiteX115" fmla="*/ 428625 w 1562100"/>
                <a:gd name="connsiteY115" fmla="*/ 1295400 h 1309687"/>
                <a:gd name="connsiteX116" fmla="*/ 454819 w 1562100"/>
                <a:gd name="connsiteY116" fmla="*/ 1302543 h 1309687"/>
                <a:gd name="connsiteX117" fmla="*/ 473869 w 1562100"/>
                <a:gd name="connsiteY117" fmla="*/ 1281112 h 1309687"/>
                <a:gd name="connsiteX118" fmla="*/ 492919 w 1562100"/>
                <a:gd name="connsiteY118" fmla="*/ 1281112 h 1309687"/>
                <a:gd name="connsiteX119" fmla="*/ 507206 w 1562100"/>
                <a:gd name="connsiteY119" fmla="*/ 1250156 h 1309687"/>
                <a:gd name="connsiteX120" fmla="*/ 557213 w 1562100"/>
                <a:gd name="connsiteY120" fmla="*/ 1235868 h 1309687"/>
                <a:gd name="connsiteX121" fmla="*/ 583406 w 1562100"/>
                <a:gd name="connsiteY121" fmla="*/ 1216818 h 1309687"/>
                <a:gd name="connsiteX122" fmla="*/ 590550 w 1562100"/>
                <a:gd name="connsiteY122" fmla="*/ 1178718 h 1309687"/>
                <a:gd name="connsiteX123" fmla="*/ 607219 w 1562100"/>
                <a:gd name="connsiteY123" fmla="*/ 1152525 h 1309687"/>
                <a:gd name="connsiteX124" fmla="*/ 688181 w 1562100"/>
                <a:gd name="connsiteY124" fmla="*/ 1183481 h 1309687"/>
                <a:gd name="connsiteX0" fmla="*/ 688181 w 1562100"/>
                <a:gd name="connsiteY0" fmla="*/ 1183481 h 1309687"/>
                <a:gd name="connsiteX1" fmla="*/ 688181 w 1562100"/>
                <a:gd name="connsiteY1" fmla="*/ 1097756 h 1309687"/>
                <a:gd name="connsiteX2" fmla="*/ 692944 w 1562100"/>
                <a:gd name="connsiteY2" fmla="*/ 1054893 h 1309687"/>
                <a:gd name="connsiteX3" fmla="*/ 692944 w 1562100"/>
                <a:gd name="connsiteY3" fmla="*/ 1009650 h 1309687"/>
                <a:gd name="connsiteX4" fmla="*/ 676275 w 1562100"/>
                <a:gd name="connsiteY4" fmla="*/ 985837 h 1309687"/>
                <a:gd name="connsiteX5" fmla="*/ 690563 w 1562100"/>
                <a:gd name="connsiteY5" fmla="*/ 933450 h 1309687"/>
                <a:gd name="connsiteX6" fmla="*/ 685800 w 1562100"/>
                <a:gd name="connsiteY6" fmla="*/ 907256 h 1309687"/>
                <a:gd name="connsiteX7" fmla="*/ 697706 w 1562100"/>
                <a:gd name="connsiteY7" fmla="*/ 862012 h 1309687"/>
                <a:gd name="connsiteX8" fmla="*/ 714375 w 1562100"/>
                <a:gd name="connsiteY8" fmla="*/ 838200 h 1309687"/>
                <a:gd name="connsiteX9" fmla="*/ 721519 w 1562100"/>
                <a:gd name="connsiteY9" fmla="*/ 804862 h 1309687"/>
                <a:gd name="connsiteX10" fmla="*/ 735806 w 1562100"/>
                <a:gd name="connsiteY10" fmla="*/ 785812 h 1309687"/>
                <a:gd name="connsiteX11" fmla="*/ 792956 w 1562100"/>
                <a:gd name="connsiteY11" fmla="*/ 776287 h 1309687"/>
                <a:gd name="connsiteX12" fmla="*/ 838200 w 1562100"/>
                <a:gd name="connsiteY12" fmla="*/ 759618 h 1309687"/>
                <a:gd name="connsiteX13" fmla="*/ 876300 w 1562100"/>
                <a:gd name="connsiteY13" fmla="*/ 719137 h 1309687"/>
                <a:gd name="connsiteX14" fmla="*/ 923925 w 1562100"/>
                <a:gd name="connsiteY14" fmla="*/ 704850 h 1309687"/>
                <a:gd name="connsiteX15" fmla="*/ 995363 w 1562100"/>
                <a:gd name="connsiteY15" fmla="*/ 700087 h 1309687"/>
                <a:gd name="connsiteX16" fmla="*/ 1040606 w 1562100"/>
                <a:gd name="connsiteY16" fmla="*/ 690562 h 1309687"/>
                <a:gd name="connsiteX17" fmla="*/ 1119188 w 1562100"/>
                <a:gd name="connsiteY17" fmla="*/ 583406 h 1309687"/>
                <a:gd name="connsiteX18" fmla="*/ 1126331 w 1562100"/>
                <a:gd name="connsiteY18" fmla="*/ 550068 h 1309687"/>
                <a:gd name="connsiteX19" fmla="*/ 1152525 w 1562100"/>
                <a:gd name="connsiteY19" fmla="*/ 521493 h 1309687"/>
                <a:gd name="connsiteX20" fmla="*/ 1197769 w 1562100"/>
                <a:gd name="connsiteY20" fmla="*/ 511968 h 1309687"/>
                <a:gd name="connsiteX21" fmla="*/ 1290638 w 1562100"/>
                <a:gd name="connsiteY21" fmla="*/ 435768 h 1309687"/>
                <a:gd name="connsiteX22" fmla="*/ 1314450 w 1562100"/>
                <a:gd name="connsiteY22" fmla="*/ 433387 h 1309687"/>
                <a:gd name="connsiteX23" fmla="*/ 1409700 w 1562100"/>
                <a:gd name="connsiteY23" fmla="*/ 352425 h 1309687"/>
                <a:gd name="connsiteX24" fmla="*/ 1414463 w 1562100"/>
                <a:gd name="connsiteY24" fmla="*/ 333375 h 1309687"/>
                <a:gd name="connsiteX25" fmla="*/ 1507331 w 1562100"/>
                <a:gd name="connsiteY25" fmla="*/ 278606 h 1309687"/>
                <a:gd name="connsiteX26" fmla="*/ 1543050 w 1562100"/>
                <a:gd name="connsiteY26" fmla="*/ 233362 h 1309687"/>
                <a:gd name="connsiteX27" fmla="*/ 1562100 w 1562100"/>
                <a:gd name="connsiteY27" fmla="*/ 195262 h 1309687"/>
                <a:gd name="connsiteX28" fmla="*/ 1512094 w 1562100"/>
                <a:gd name="connsiteY28" fmla="*/ 214312 h 1309687"/>
                <a:gd name="connsiteX29" fmla="*/ 1478756 w 1562100"/>
                <a:gd name="connsiteY29" fmla="*/ 214312 h 1309687"/>
                <a:gd name="connsiteX30" fmla="*/ 1452563 w 1562100"/>
                <a:gd name="connsiteY30" fmla="*/ 252412 h 1309687"/>
                <a:gd name="connsiteX31" fmla="*/ 1421606 w 1562100"/>
                <a:gd name="connsiteY31" fmla="*/ 250031 h 1309687"/>
                <a:gd name="connsiteX32" fmla="*/ 1366838 w 1562100"/>
                <a:gd name="connsiteY32" fmla="*/ 219075 h 1309687"/>
                <a:gd name="connsiteX33" fmla="*/ 1323975 w 1562100"/>
                <a:gd name="connsiteY33" fmla="*/ 207168 h 1309687"/>
                <a:gd name="connsiteX34" fmla="*/ 1238250 w 1562100"/>
                <a:gd name="connsiteY34" fmla="*/ 242887 h 1309687"/>
                <a:gd name="connsiteX35" fmla="*/ 1223963 w 1562100"/>
                <a:gd name="connsiteY35" fmla="*/ 280987 h 1309687"/>
                <a:gd name="connsiteX36" fmla="*/ 1195388 w 1562100"/>
                <a:gd name="connsiteY36" fmla="*/ 338137 h 1309687"/>
                <a:gd name="connsiteX37" fmla="*/ 1109663 w 1562100"/>
                <a:gd name="connsiteY37" fmla="*/ 300037 h 1309687"/>
                <a:gd name="connsiteX38" fmla="*/ 1097756 w 1562100"/>
                <a:gd name="connsiteY38" fmla="*/ 342900 h 1309687"/>
                <a:gd name="connsiteX39" fmla="*/ 1083469 w 1562100"/>
                <a:gd name="connsiteY39" fmla="*/ 376237 h 1309687"/>
                <a:gd name="connsiteX40" fmla="*/ 959644 w 1562100"/>
                <a:gd name="connsiteY40" fmla="*/ 407193 h 1309687"/>
                <a:gd name="connsiteX41" fmla="*/ 945356 w 1562100"/>
                <a:gd name="connsiteY41" fmla="*/ 402431 h 1309687"/>
                <a:gd name="connsiteX42" fmla="*/ 926306 w 1562100"/>
                <a:gd name="connsiteY42" fmla="*/ 423862 h 1309687"/>
                <a:gd name="connsiteX43" fmla="*/ 890588 w 1562100"/>
                <a:gd name="connsiteY43" fmla="*/ 431006 h 1309687"/>
                <a:gd name="connsiteX44" fmla="*/ 854869 w 1562100"/>
                <a:gd name="connsiteY44" fmla="*/ 381000 h 1309687"/>
                <a:gd name="connsiteX45" fmla="*/ 835819 w 1562100"/>
                <a:gd name="connsiteY45" fmla="*/ 369093 h 1309687"/>
                <a:gd name="connsiteX46" fmla="*/ 826294 w 1562100"/>
                <a:gd name="connsiteY46" fmla="*/ 323850 h 1309687"/>
                <a:gd name="connsiteX47" fmla="*/ 792956 w 1562100"/>
                <a:gd name="connsiteY47" fmla="*/ 307181 h 1309687"/>
                <a:gd name="connsiteX48" fmla="*/ 759619 w 1562100"/>
                <a:gd name="connsiteY48" fmla="*/ 300037 h 1309687"/>
                <a:gd name="connsiteX49" fmla="*/ 740569 w 1562100"/>
                <a:gd name="connsiteY49" fmla="*/ 295275 h 1309687"/>
                <a:gd name="connsiteX50" fmla="*/ 728663 w 1562100"/>
                <a:gd name="connsiteY50" fmla="*/ 285750 h 1309687"/>
                <a:gd name="connsiteX51" fmla="*/ 735806 w 1562100"/>
                <a:gd name="connsiteY51" fmla="*/ 259556 h 1309687"/>
                <a:gd name="connsiteX52" fmla="*/ 742950 w 1562100"/>
                <a:gd name="connsiteY52" fmla="*/ 235743 h 1309687"/>
                <a:gd name="connsiteX53" fmla="*/ 700088 w 1562100"/>
                <a:gd name="connsiteY53" fmla="*/ 185737 h 1309687"/>
                <a:gd name="connsiteX54" fmla="*/ 497681 w 1562100"/>
                <a:gd name="connsiteY54" fmla="*/ 119063 h 1309687"/>
                <a:gd name="connsiteX55" fmla="*/ 450056 w 1562100"/>
                <a:gd name="connsiteY55" fmla="*/ 2382 h 1309687"/>
                <a:gd name="connsiteX56" fmla="*/ 428625 w 1562100"/>
                <a:gd name="connsiteY56" fmla="*/ 0 h 1309687"/>
                <a:gd name="connsiteX57" fmla="*/ 376238 w 1562100"/>
                <a:gd name="connsiteY57" fmla="*/ 104775 h 1309687"/>
                <a:gd name="connsiteX58" fmla="*/ 314326 w 1562100"/>
                <a:gd name="connsiteY58" fmla="*/ 104774 h 1309687"/>
                <a:gd name="connsiteX59" fmla="*/ 328613 w 1562100"/>
                <a:gd name="connsiteY59" fmla="*/ 183356 h 1309687"/>
                <a:gd name="connsiteX60" fmla="*/ 292894 w 1562100"/>
                <a:gd name="connsiteY60" fmla="*/ 285750 h 1309687"/>
                <a:gd name="connsiteX61" fmla="*/ 264319 w 1562100"/>
                <a:gd name="connsiteY61" fmla="*/ 292893 h 1309687"/>
                <a:gd name="connsiteX62" fmla="*/ 261938 w 1562100"/>
                <a:gd name="connsiteY62" fmla="*/ 307181 h 1309687"/>
                <a:gd name="connsiteX63" fmla="*/ 261938 w 1562100"/>
                <a:gd name="connsiteY63" fmla="*/ 340518 h 1309687"/>
                <a:gd name="connsiteX64" fmla="*/ 228600 w 1562100"/>
                <a:gd name="connsiteY64" fmla="*/ 383381 h 1309687"/>
                <a:gd name="connsiteX65" fmla="*/ 271463 w 1562100"/>
                <a:gd name="connsiteY65" fmla="*/ 400050 h 1309687"/>
                <a:gd name="connsiteX66" fmla="*/ 278606 w 1562100"/>
                <a:gd name="connsiteY66" fmla="*/ 419100 h 1309687"/>
                <a:gd name="connsiteX67" fmla="*/ 257175 w 1562100"/>
                <a:gd name="connsiteY67" fmla="*/ 454818 h 1309687"/>
                <a:gd name="connsiteX68" fmla="*/ 221456 w 1562100"/>
                <a:gd name="connsiteY68" fmla="*/ 464343 h 1309687"/>
                <a:gd name="connsiteX69" fmla="*/ 221456 w 1562100"/>
                <a:gd name="connsiteY69" fmla="*/ 504825 h 1309687"/>
                <a:gd name="connsiteX70" fmla="*/ 254794 w 1562100"/>
                <a:gd name="connsiteY70" fmla="*/ 542925 h 1309687"/>
                <a:gd name="connsiteX71" fmla="*/ 226219 w 1562100"/>
                <a:gd name="connsiteY71" fmla="*/ 607218 h 1309687"/>
                <a:gd name="connsiteX72" fmla="*/ 180975 w 1562100"/>
                <a:gd name="connsiteY72" fmla="*/ 635793 h 1309687"/>
                <a:gd name="connsiteX73" fmla="*/ 183356 w 1562100"/>
                <a:gd name="connsiteY73" fmla="*/ 652462 h 1309687"/>
                <a:gd name="connsiteX74" fmla="*/ 204788 w 1562100"/>
                <a:gd name="connsiteY74" fmla="*/ 661987 h 1309687"/>
                <a:gd name="connsiteX75" fmla="*/ 219075 w 1562100"/>
                <a:gd name="connsiteY75" fmla="*/ 671512 h 1309687"/>
                <a:gd name="connsiteX76" fmla="*/ 223838 w 1562100"/>
                <a:gd name="connsiteY76" fmla="*/ 690562 h 1309687"/>
                <a:gd name="connsiteX77" fmla="*/ 195263 w 1562100"/>
                <a:gd name="connsiteY77" fmla="*/ 716756 h 1309687"/>
                <a:gd name="connsiteX78" fmla="*/ 123825 w 1562100"/>
                <a:gd name="connsiteY78" fmla="*/ 762000 h 1309687"/>
                <a:gd name="connsiteX79" fmla="*/ 123825 w 1562100"/>
                <a:gd name="connsiteY79" fmla="*/ 797718 h 1309687"/>
                <a:gd name="connsiteX80" fmla="*/ 135731 w 1562100"/>
                <a:gd name="connsiteY80" fmla="*/ 828675 h 1309687"/>
                <a:gd name="connsiteX81" fmla="*/ 123825 w 1562100"/>
                <a:gd name="connsiteY81" fmla="*/ 869156 h 1309687"/>
                <a:gd name="connsiteX82" fmla="*/ 76200 w 1562100"/>
                <a:gd name="connsiteY82" fmla="*/ 864393 h 1309687"/>
                <a:gd name="connsiteX83" fmla="*/ 52388 w 1562100"/>
                <a:gd name="connsiteY83" fmla="*/ 809625 h 1309687"/>
                <a:gd name="connsiteX84" fmla="*/ 33338 w 1562100"/>
                <a:gd name="connsiteY84" fmla="*/ 802481 h 1309687"/>
                <a:gd name="connsiteX85" fmla="*/ 23813 w 1562100"/>
                <a:gd name="connsiteY85" fmla="*/ 840581 h 1309687"/>
                <a:gd name="connsiteX86" fmla="*/ 21431 w 1562100"/>
                <a:gd name="connsiteY86" fmla="*/ 850106 h 1309687"/>
                <a:gd name="connsiteX87" fmla="*/ 7144 w 1562100"/>
                <a:gd name="connsiteY87" fmla="*/ 866775 h 1309687"/>
                <a:gd name="connsiteX88" fmla="*/ 0 w 1562100"/>
                <a:gd name="connsiteY88" fmla="*/ 923925 h 1309687"/>
                <a:gd name="connsiteX89" fmla="*/ 23813 w 1562100"/>
                <a:gd name="connsiteY89" fmla="*/ 952500 h 1309687"/>
                <a:gd name="connsiteX90" fmla="*/ 16669 w 1562100"/>
                <a:gd name="connsiteY90" fmla="*/ 992981 h 1309687"/>
                <a:gd name="connsiteX91" fmla="*/ 35719 w 1562100"/>
                <a:gd name="connsiteY91" fmla="*/ 997743 h 1309687"/>
                <a:gd name="connsiteX92" fmla="*/ 69056 w 1562100"/>
                <a:gd name="connsiteY92" fmla="*/ 997743 h 1309687"/>
                <a:gd name="connsiteX93" fmla="*/ 85725 w 1562100"/>
                <a:gd name="connsiteY93" fmla="*/ 988218 h 1309687"/>
                <a:gd name="connsiteX94" fmla="*/ 135731 w 1562100"/>
                <a:gd name="connsiteY94" fmla="*/ 1045368 h 1309687"/>
                <a:gd name="connsiteX95" fmla="*/ 123825 w 1562100"/>
                <a:gd name="connsiteY95" fmla="*/ 1064418 h 1309687"/>
                <a:gd name="connsiteX96" fmla="*/ 133350 w 1562100"/>
                <a:gd name="connsiteY96" fmla="*/ 1092993 h 1309687"/>
                <a:gd name="connsiteX97" fmla="*/ 164306 w 1562100"/>
                <a:gd name="connsiteY97" fmla="*/ 1112043 h 1309687"/>
                <a:gd name="connsiteX98" fmla="*/ 190500 w 1562100"/>
                <a:gd name="connsiteY98" fmla="*/ 1121568 h 1309687"/>
                <a:gd name="connsiteX99" fmla="*/ 216694 w 1562100"/>
                <a:gd name="connsiteY99" fmla="*/ 1128712 h 1309687"/>
                <a:gd name="connsiteX100" fmla="*/ 228600 w 1562100"/>
                <a:gd name="connsiteY100" fmla="*/ 1131093 h 1309687"/>
                <a:gd name="connsiteX101" fmla="*/ 240506 w 1562100"/>
                <a:gd name="connsiteY101" fmla="*/ 1092993 h 1309687"/>
                <a:gd name="connsiteX102" fmla="*/ 269081 w 1562100"/>
                <a:gd name="connsiteY102" fmla="*/ 1097756 h 1309687"/>
                <a:gd name="connsiteX103" fmla="*/ 288131 w 1562100"/>
                <a:gd name="connsiteY103" fmla="*/ 1085850 h 1309687"/>
                <a:gd name="connsiteX104" fmla="*/ 307181 w 1562100"/>
                <a:gd name="connsiteY104" fmla="*/ 1135856 h 1309687"/>
                <a:gd name="connsiteX105" fmla="*/ 330994 w 1562100"/>
                <a:gd name="connsiteY105" fmla="*/ 1150143 h 1309687"/>
                <a:gd name="connsiteX106" fmla="*/ 340519 w 1562100"/>
                <a:gd name="connsiteY106" fmla="*/ 1178718 h 1309687"/>
                <a:gd name="connsiteX107" fmla="*/ 357188 w 1562100"/>
                <a:gd name="connsiteY107" fmla="*/ 1188243 h 1309687"/>
                <a:gd name="connsiteX108" fmla="*/ 364331 w 1562100"/>
                <a:gd name="connsiteY108" fmla="*/ 1219200 h 1309687"/>
                <a:gd name="connsiteX109" fmla="*/ 335756 w 1562100"/>
                <a:gd name="connsiteY109" fmla="*/ 1245393 h 1309687"/>
                <a:gd name="connsiteX110" fmla="*/ 309563 w 1562100"/>
                <a:gd name="connsiteY110" fmla="*/ 1262062 h 1309687"/>
                <a:gd name="connsiteX111" fmla="*/ 297656 w 1562100"/>
                <a:gd name="connsiteY111" fmla="*/ 1285875 h 1309687"/>
                <a:gd name="connsiteX112" fmla="*/ 302419 w 1562100"/>
                <a:gd name="connsiteY112" fmla="*/ 1309687 h 1309687"/>
                <a:gd name="connsiteX113" fmla="*/ 342900 w 1562100"/>
                <a:gd name="connsiteY113" fmla="*/ 1309687 h 1309687"/>
                <a:gd name="connsiteX114" fmla="*/ 390525 w 1562100"/>
                <a:gd name="connsiteY114" fmla="*/ 1304925 h 1309687"/>
                <a:gd name="connsiteX115" fmla="*/ 428625 w 1562100"/>
                <a:gd name="connsiteY115" fmla="*/ 1295400 h 1309687"/>
                <a:gd name="connsiteX116" fmla="*/ 454819 w 1562100"/>
                <a:gd name="connsiteY116" fmla="*/ 1302543 h 1309687"/>
                <a:gd name="connsiteX117" fmla="*/ 473869 w 1562100"/>
                <a:gd name="connsiteY117" fmla="*/ 1281112 h 1309687"/>
                <a:gd name="connsiteX118" fmla="*/ 492919 w 1562100"/>
                <a:gd name="connsiteY118" fmla="*/ 1281112 h 1309687"/>
                <a:gd name="connsiteX119" fmla="*/ 507206 w 1562100"/>
                <a:gd name="connsiteY119" fmla="*/ 1250156 h 1309687"/>
                <a:gd name="connsiteX120" fmla="*/ 557213 w 1562100"/>
                <a:gd name="connsiteY120" fmla="*/ 1235868 h 1309687"/>
                <a:gd name="connsiteX121" fmla="*/ 583406 w 1562100"/>
                <a:gd name="connsiteY121" fmla="*/ 1216818 h 1309687"/>
                <a:gd name="connsiteX122" fmla="*/ 590550 w 1562100"/>
                <a:gd name="connsiteY122" fmla="*/ 1178718 h 1309687"/>
                <a:gd name="connsiteX123" fmla="*/ 607219 w 1562100"/>
                <a:gd name="connsiteY123" fmla="*/ 1152525 h 1309687"/>
                <a:gd name="connsiteX124" fmla="*/ 688181 w 1562100"/>
                <a:gd name="connsiteY124" fmla="*/ 1183481 h 1309687"/>
                <a:gd name="connsiteX0" fmla="*/ 688181 w 1562100"/>
                <a:gd name="connsiteY0" fmla="*/ 1183481 h 1309687"/>
                <a:gd name="connsiteX1" fmla="*/ 688181 w 1562100"/>
                <a:gd name="connsiteY1" fmla="*/ 1097756 h 1309687"/>
                <a:gd name="connsiteX2" fmla="*/ 692944 w 1562100"/>
                <a:gd name="connsiteY2" fmla="*/ 1054893 h 1309687"/>
                <a:gd name="connsiteX3" fmla="*/ 692944 w 1562100"/>
                <a:gd name="connsiteY3" fmla="*/ 1009650 h 1309687"/>
                <a:gd name="connsiteX4" fmla="*/ 676275 w 1562100"/>
                <a:gd name="connsiteY4" fmla="*/ 985837 h 1309687"/>
                <a:gd name="connsiteX5" fmla="*/ 690563 w 1562100"/>
                <a:gd name="connsiteY5" fmla="*/ 933450 h 1309687"/>
                <a:gd name="connsiteX6" fmla="*/ 685800 w 1562100"/>
                <a:gd name="connsiteY6" fmla="*/ 907256 h 1309687"/>
                <a:gd name="connsiteX7" fmla="*/ 697706 w 1562100"/>
                <a:gd name="connsiteY7" fmla="*/ 862012 h 1309687"/>
                <a:gd name="connsiteX8" fmla="*/ 714375 w 1562100"/>
                <a:gd name="connsiteY8" fmla="*/ 838200 h 1309687"/>
                <a:gd name="connsiteX9" fmla="*/ 721519 w 1562100"/>
                <a:gd name="connsiteY9" fmla="*/ 804862 h 1309687"/>
                <a:gd name="connsiteX10" fmla="*/ 735806 w 1562100"/>
                <a:gd name="connsiteY10" fmla="*/ 785812 h 1309687"/>
                <a:gd name="connsiteX11" fmla="*/ 792956 w 1562100"/>
                <a:gd name="connsiteY11" fmla="*/ 776287 h 1309687"/>
                <a:gd name="connsiteX12" fmla="*/ 838200 w 1562100"/>
                <a:gd name="connsiteY12" fmla="*/ 759618 h 1309687"/>
                <a:gd name="connsiteX13" fmla="*/ 876300 w 1562100"/>
                <a:gd name="connsiteY13" fmla="*/ 719137 h 1309687"/>
                <a:gd name="connsiteX14" fmla="*/ 923925 w 1562100"/>
                <a:gd name="connsiteY14" fmla="*/ 704850 h 1309687"/>
                <a:gd name="connsiteX15" fmla="*/ 995363 w 1562100"/>
                <a:gd name="connsiteY15" fmla="*/ 700087 h 1309687"/>
                <a:gd name="connsiteX16" fmla="*/ 1040606 w 1562100"/>
                <a:gd name="connsiteY16" fmla="*/ 690562 h 1309687"/>
                <a:gd name="connsiteX17" fmla="*/ 1119188 w 1562100"/>
                <a:gd name="connsiteY17" fmla="*/ 583406 h 1309687"/>
                <a:gd name="connsiteX18" fmla="*/ 1126331 w 1562100"/>
                <a:gd name="connsiteY18" fmla="*/ 550068 h 1309687"/>
                <a:gd name="connsiteX19" fmla="*/ 1152525 w 1562100"/>
                <a:gd name="connsiteY19" fmla="*/ 521493 h 1309687"/>
                <a:gd name="connsiteX20" fmla="*/ 1197769 w 1562100"/>
                <a:gd name="connsiteY20" fmla="*/ 511968 h 1309687"/>
                <a:gd name="connsiteX21" fmla="*/ 1290638 w 1562100"/>
                <a:gd name="connsiteY21" fmla="*/ 435768 h 1309687"/>
                <a:gd name="connsiteX22" fmla="*/ 1314450 w 1562100"/>
                <a:gd name="connsiteY22" fmla="*/ 433387 h 1309687"/>
                <a:gd name="connsiteX23" fmla="*/ 1409700 w 1562100"/>
                <a:gd name="connsiteY23" fmla="*/ 352425 h 1309687"/>
                <a:gd name="connsiteX24" fmla="*/ 1414463 w 1562100"/>
                <a:gd name="connsiteY24" fmla="*/ 333375 h 1309687"/>
                <a:gd name="connsiteX25" fmla="*/ 1507331 w 1562100"/>
                <a:gd name="connsiteY25" fmla="*/ 278606 h 1309687"/>
                <a:gd name="connsiteX26" fmla="*/ 1543050 w 1562100"/>
                <a:gd name="connsiteY26" fmla="*/ 233362 h 1309687"/>
                <a:gd name="connsiteX27" fmla="*/ 1562100 w 1562100"/>
                <a:gd name="connsiteY27" fmla="*/ 195262 h 1309687"/>
                <a:gd name="connsiteX28" fmla="*/ 1512094 w 1562100"/>
                <a:gd name="connsiteY28" fmla="*/ 214312 h 1309687"/>
                <a:gd name="connsiteX29" fmla="*/ 1478756 w 1562100"/>
                <a:gd name="connsiteY29" fmla="*/ 214312 h 1309687"/>
                <a:gd name="connsiteX30" fmla="*/ 1452563 w 1562100"/>
                <a:gd name="connsiteY30" fmla="*/ 252412 h 1309687"/>
                <a:gd name="connsiteX31" fmla="*/ 1421606 w 1562100"/>
                <a:gd name="connsiteY31" fmla="*/ 250031 h 1309687"/>
                <a:gd name="connsiteX32" fmla="*/ 1366838 w 1562100"/>
                <a:gd name="connsiteY32" fmla="*/ 219075 h 1309687"/>
                <a:gd name="connsiteX33" fmla="*/ 1323975 w 1562100"/>
                <a:gd name="connsiteY33" fmla="*/ 207168 h 1309687"/>
                <a:gd name="connsiteX34" fmla="*/ 1238250 w 1562100"/>
                <a:gd name="connsiteY34" fmla="*/ 242887 h 1309687"/>
                <a:gd name="connsiteX35" fmla="*/ 1223963 w 1562100"/>
                <a:gd name="connsiteY35" fmla="*/ 280987 h 1309687"/>
                <a:gd name="connsiteX36" fmla="*/ 1195388 w 1562100"/>
                <a:gd name="connsiteY36" fmla="*/ 338137 h 1309687"/>
                <a:gd name="connsiteX37" fmla="*/ 1109663 w 1562100"/>
                <a:gd name="connsiteY37" fmla="*/ 300037 h 1309687"/>
                <a:gd name="connsiteX38" fmla="*/ 1097756 w 1562100"/>
                <a:gd name="connsiteY38" fmla="*/ 342900 h 1309687"/>
                <a:gd name="connsiteX39" fmla="*/ 1083469 w 1562100"/>
                <a:gd name="connsiteY39" fmla="*/ 376237 h 1309687"/>
                <a:gd name="connsiteX40" fmla="*/ 959644 w 1562100"/>
                <a:gd name="connsiteY40" fmla="*/ 407193 h 1309687"/>
                <a:gd name="connsiteX41" fmla="*/ 945356 w 1562100"/>
                <a:gd name="connsiteY41" fmla="*/ 402431 h 1309687"/>
                <a:gd name="connsiteX42" fmla="*/ 926306 w 1562100"/>
                <a:gd name="connsiteY42" fmla="*/ 423862 h 1309687"/>
                <a:gd name="connsiteX43" fmla="*/ 890588 w 1562100"/>
                <a:gd name="connsiteY43" fmla="*/ 431006 h 1309687"/>
                <a:gd name="connsiteX44" fmla="*/ 854869 w 1562100"/>
                <a:gd name="connsiteY44" fmla="*/ 381000 h 1309687"/>
                <a:gd name="connsiteX45" fmla="*/ 835819 w 1562100"/>
                <a:gd name="connsiteY45" fmla="*/ 369093 h 1309687"/>
                <a:gd name="connsiteX46" fmla="*/ 826294 w 1562100"/>
                <a:gd name="connsiteY46" fmla="*/ 323850 h 1309687"/>
                <a:gd name="connsiteX47" fmla="*/ 792956 w 1562100"/>
                <a:gd name="connsiteY47" fmla="*/ 307181 h 1309687"/>
                <a:gd name="connsiteX48" fmla="*/ 759619 w 1562100"/>
                <a:gd name="connsiteY48" fmla="*/ 300037 h 1309687"/>
                <a:gd name="connsiteX49" fmla="*/ 740569 w 1562100"/>
                <a:gd name="connsiteY49" fmla="*/ 295275 h 1309687"/>
                <a:gd name="connsiteX50" fmla="*/ 728663 w 1562100"/>
                <a:gd name="connsiteY50" fmla="*/ 285750 h 1309687"/>
                <a:gd name="connsiteX51" fmla="*/ 735806 w 1562100"/>
                <a:gd name="connsiteY51" fmla="*/ 259556 h 1309687"/>
                <a:gd name="connsiteX52" fmla="*/ 742950 w 1562100"/>
                <a:gd name="connsiteY52" fmla="*/ 235743 h 1309687"/>
                <a:gd name="connsiteX53" fmla="*/ 700088 w 1562100"/>
                <a:gd name="connsiteY53" fmla="*/ 185737 h 1309687"/>
                <a:gd name="connsiteX54" fmla="*/ 500062 w 1562100"/>
                <a:gd name="connsiteY54" fmla="*/ 66676 h 1309687"/>
                <a:gd name="connsiteX55" fmla="*/ 450056 w 1562100"/>
                <a:gd name="connsiteY55" fmla="*/ 2382 h 1309687"/>
                <a:gd name="connsiteX56" fmla="*/ 428625 w 1562100"/>
                <a:gd name="connsiteY56" fmla="*/ 0 h 1309687"/>
                <a:gd name="connsiteX57" fmla="*/ 376238 w 1562100"/>
                <a:gd name="connsiteY57" fmla="*/ 104775 h 1309687"/>
                <a:gd name="connsiteX58" fmla="*/ 314326 w 1562100"/>
                <a:gd name="connsiteY58" fmla="*/ 104774 h 1309687"/>
                <a:gd name="connsiteX59" fmla="*/ 328613 w 1562100"/>
                <a:gd name="connsiteY59" fmla="*/ 183356 h 1309687"/>
                <a:gd name="connsiteX60" fmla="*/ 292894 w 1562100"/>
                <a:gd name="connsiteY60" fmla="*/ 285750 h 1309687"/>
                <a:gd name="connsiteX61" fmla="*/ 264319 w 1562100"/>
                <a:gd name="connsiteY61" fmla="*/ 292893 h 1309687"/>
                <a:gd name="connsiteX62" fmla="*/ 261938 w 1562100"/>
                <a:gd name="connsiteY62" fmla="*/ 307181 h 1309687"/>
                <a:gd name="connsiteX63" fmla="*/ 261938 w 1562100"/>
                <a:gd name="connsiteY63" fmla="*/ 340518 h 1309687"/>
                <a:gd name="connsiteX64" fmla="*/ 228600 w 1562100"/>
                <a:gd name="connsiteY64" fmla="*/ 383381 h 1309687"/>
                <a:gd name="connsiteX65" fmla="*/ 271463 w 1562100"/>
                <a:gd name="connsiteY65" fmla="*/ 400050 h 1309687"/>
                <a:gd name="connsiteX66" fmla="*/ 278606 w 1562100"/>
                <a:gd name="connsiteY66" fmla="*/ 419100 h 1309687"/>
                <a:gd name="connsiteX67" fmla="*/ 257175 w 1562100"/>
                <a:gd name="connsiteY67" fmla="*/ 454818 h 1309687"/>
                <a:gd name="connsiteX68" fmla="*/ 221456 w 1562100"/>
                <a:gd name="connsiteY68" fmla="*/ 464343 h 1309687"/>
                <a:gd name="connsiteX69" fmla="*/ 221456 w 1562100"/>
                <a:gd name="connsiteY69" fmla="*/ 504825 h 1309687"/>
                <a:gd name="connsiteX70" fmla="*/ 254794 w 1562100"/>
                <a:gd name="connsiteY70" fmla="*/ 542925 h 1309687"/>
                <a:gd name="connsiteX71" fmla="*/ 226219 w 1562100"/>
                <a:gd name="connsiteY71" fmla="*/ 607218 h 1309687"/>
                <a:gd name="connsiteX72" fmla="*/ 180975 w 1562100"/>
                <a:gd name="connsiteY72" fmla="*/ 635793 h 1309687"/>
                <a:gd name="connsiteX73" fmla="*/ 183356 w 1562100"/>
                <a:gd name="connsiteY73" fmla="*/ 652462 h 1309687"/>
                <a:gd name="connsiteX74" fmla="*/ 204788 w 1562100"/>
                <a:gd name="connsiteY74" fmla="*/ 661987 h 1309687"/>
                <a:gd name="connsiteX75" fmla="*/ 219075 w 1562100"/>
                <a:gd name="connsiteY75" fmla="*/ 671512 h 1309687"/>
                <a:gd name="connsiteX76" fmla="*/ 223838 w 1562100"/>
                <a:gd name="connsiteY76" fmla="*/ 690562 h 1309687"/>
                <a:gd name="connsiteX77" fmla="*/ 195263 w 1562100"/>
                <a:gd name="connsiteY77" fmla="*/ 716756 h 1309687"/>
                <a:gd name="connsiteX78" fmla="*/ 123825 w 1562100"/>
                <a:gd name="connsiteY78" fmla="*/ 762000 h 1309687"/>
                <a:gd name="connsiteX79" fmla="*/ 123825 w 1562100"/>
                <a:gd name="connsiteY79" fmla="*/ 797718 h 1309687"/>
                <a:gd name="connsiteX80" fmla="*/ 135731 w 1562100"/>
                <a:gd name="connsiteY80" fmla="*/ 828675 h 1309687"/>
                <a:gd name="connsiteX81" fmla="*/ 123825 w 1562100"/>
                <a:gd name="connsiteY81" fmla="*/ 869156 h 1309687"/>
                <a:gd name="connsiteX82" fmla="*/ 76200 w 1562100"/>
                <a:gd name="connsiteY82" fmla="*/ 864393 h 1309687"/>
                <a:gd name="connsiteX83" fmla="*/ 52388 w 1562100"/>
                <a:gd name="connsiteY83" fmla="*/ 809625 h 1309687"/>
                <a:gd name="connsiteX84" fmla="*/ 33338 w 1562100"/>
                <a:gd name="connsiteY84" fmla="*/ 802481 h 1309687"/>
                <a:gd name="connsiteX85" fmla="*/ 23813 w 1562100"/>
                <a:gd name="connsiteY85" fmla="*/ 840581 h 1309687"/>
                <a:gd name="connsiteX86" fmla="*/ 21431 w 1562100"/>
                <a:gd name="connsiteY86" fmla="*/ 850106 h 1309687"/>
                <a:gd name="connsiteX87" fmla="*/ 7144 w 1562100"/>
                <a:gd name="connsiteY87" fmla="*/ 866775 h 1309687"/>
                <a:gd name="connsiteX88" fmla="*/ 0 w 1562100"/>
                <a:gd name="connsiteY88" fmla="*/ 923925 h 1309687"/>
                <a:gd name="connsiteX89" fmla="*/ 23813 w 1562100"/>
                <a:gd name="connsiteY89" fmla="*/ 952500 h 1309687"/>
                <a:gd name="connsiteX90" fmla="*/ 16669 w 1562100"/>
                <a:gd name="connsiteY90" fmla="*/ 992981 h 1309687"/>
                <a:gd name="connsiteX91" fmla="*/ 35719 w 1562100"/>
                <a:gd name="connsiteY91" fmla="*/ 997743 h 1309687"/>
                <a:gd name="connsiteX92" fmla="*/ 69056 w 1562100"/>
                <a:gd name="connsiteY92" fmla="*/ 997743 h 1309687"/>
                <a:gd name="connsiteX93" fmla="*/ 85725 w 1562100"/>
                <a:gd name="connsiteY93" fmla="*/ 988218 h 1309687"/>
                <a:gd name="connsiteX94" fmla="*/ 135731 w 1562100"/>
                <a:gd name="connsiteY94" fmla="*/ 1045368 h 1309687"/>
                <a:gd name="connsiteX95" fmla="*/ 123825 w 1562100"/>
                <a:gd name="connsiteY95" fmla="*/ 1064418 h 1309687"/>
                <a:gd name="connsiteX96" fmla="*/ 133350 w 1562100"/>
                <a:gd name="connsiteY96" fmla="*/ 1092993 h 1309687"/>
                <a:gd name="connsiteX97" fmla="*/ 164306 w 1562100"/>
                <a:gd name="connsiteY97" fmla="*/ 1112043 h 1309687"/>
                <a:gd name="connsiteX98" fmla="*/ 190500 w 1562100"/>
                <a:gd name="connsiteY98" fmla="*/ 1121568 h 1309687"/>
                <a:gd name="connsiteX99" fmla="*/ 216694 w 1562100"/>
                <a:gd name="connsiteY99" fmla="*/ 1128712 h 1309687"/>
                <a:gd name="connsiteX100" fmla="*/ 228600 w 1562100"/>
                <a:gd name="connsiteY100" fmla="*/ 1131093 h 1309687"/>
                <a:gd name="connsiteX101" fmla="*/ 240506 w 1562100"/>
                <a:gd name="connsiteY101" fmla="*/ 1092993 h 1309687"/>
                <a:gd name="connsiteX102" fmla="*/ 269081 w 1562100"/>
                <a:gd name="connsiteY102" fmla="*/ 1097756 h 1309687"/>
                <a:gd name="connsiteX103" fmla="*/ 288131 w 1562100"/>
                <a:gd name="connsiteY103" fmla="*/ 1085850 h 1309687"/>
                <a:gd name="connsiteX104" fmla="*/ 307181 w 1562100"/>
                <a:gd name="connsiteY104" fmla="*/ 1135856 h 1309687"/>
                <a:gd name="connsiteX105" fmla="*/ 330994 w 1562100"/>
                <a:gd name="connsiteY105" fmla="*/ 1150143 h 1309687"/>
                <a:gd name="connsiteX106" fmla="*/ 340519 w 1562100"/>
                <a:gd name="connsiteY106" fmla="*/ 1178718 h 1309687"/>
                <a:gd name="connsiteX107" fmla="*/ 357188 w 1562100"/>
                <a:gd name="connsiteY107" fmla="*/ 1188243 h 1309687"/>
                <a:gd name="connsiteX108" fmla="*/ 364331 w 1562100"/>
                <a:gd name="connsiteY108" fmla="*/ 1219200 h 1309687"/>
                <a:gd name="connsiteX109" fmla="*/ 335756 w 1562100"/>
                <a:gd name="connsiteY109" fmla="*/ 1245393 h 1309687"/>
                <a:gd name="connsiteX110" fmla="*/ 309563 w 1562100"/>
                <a:gd name="connsiteY110" fmla="*/ 1262062 h 1309687"/>
                <a:gd name="connsiteX111" fmla="*/ 297656 w 1562100"/>
                <a:gd name="connsiteY111" fmla="*/ 1285875 h 1309687"/>
                <a:gd name="connsiteX112" fmla="*/ 302419 w 1562100"/>
                <a:gd name="connsiteY112" fmla="*/ 1309687 h 1309687"/>
                <a:gd name="connsiteX113" fmla="*/ 342900 w 1562100"/>
                <a:gd name="connsiteY113" fmla="*/ 1309687 h 1309687"/>
                <a:gd name="connsiteX114" fmla="*/ 390525 w 1562100"/>
                <a:gd name="connsiteY114" fmla="*/ 1304925 h 1309687"/>
                <a:gd name="connsiteX115" fmla="*/ 428625 w 1562100"/>
                <a:gd name="connsiteY115" fmla="*/ 1295400 h 1309687"/>
                <a:gd name="connsiteX116" fmla="*/ 454819 w 1562100"/>
                <a:gd name="connsiteY116" fmla="*/ 1302543 h 1309687"/>
                <a:gd name="connsiteX117" fmla="*/ 473869 w 1562100"/>
                <a:gd name="connsiteY117" fmla="*/ 1281112 h 1309687"/>
                <a:gd name="connsiteX118" fmla="*/ 492919 w 1562100"/>
                <a:gd name="connsiteY118" fmla="*/ 1281112 h 1309687"/>
                <a:gd name="connsiteX119" fmla="*/ 507206 w 1562100"/>
                <a:gd name="connsiteY119" fmla="*/ 1250156 h 1309687"/>
                <a:gd name="connsiteX120" fmla="*/ 557213 w 1562100"/>
                <a:gd name="connsiteY120" fmla="*/ 1235868 h 1309687"/>
                <a:gd name="connsiteX121" fmla="*/ 583406 w 1562100"/>
                <a:gd name="connsiteY121" fmla="*/ 1216818 h 1309687"/>
                <a:gd name="connsiteX122" fmla="*/ 590550 w 1562100"/>
                <a:gd name="connsiteY122" fmla="*/ 1178718 h 1309687"/>
                <a:gd name="connsiteX123" fmla="*/ 607219 w 1562100"/>
                <a:gd name="connsiteY123" fmla="*/ 1152525 h 1309687"/>
                <a:gd name="connsiteX124" fmla="*/ 688181 w 1562100"/>
                <a:gd name="connsiteY124" fmla="*/ 1183481 h 1309687"/>
                <a:gd name="connsiteX0" fmla="*/ 688181 w 1562100"/>
                <a:gd name="connsiteY0" fmla="*/ 1183481 h 1309687"/>
                <a:gd name="connsiteX1" fmla="*/ 688181 w 1562100"/>
                <a:gd name="connsiteY1" fmla="*/ 1097756 h 1309687"/>
                <a:gd name="connsiteX2" fmla="*/ 692944 w 1562100"/>
                <a:gd name="connsiteY2" fmla="*/ 1054893 h 1309687"/>
                <a:gd name="connsiteX3" fmla="*/ 692944 w 1562100"/>
                <a:gd name="connsiteY3" fmla="*/ 1009650 h 1309687"/>
                <a:gd name="connsiteX4" fmla="*/ 676275 w 1562100"/>
                <a:gd name="connsiteY4" fmla="*/ 985837 h 1309687"/>
                <a:gd name="connsiteX5" fmla="*/ 690563 w 1562100"/>
                <a:gd name="connsiteY5" fmla="*/ 933450 h 1309687"/>
                <a:gd name="connsiteX6" fmla="*/ 685800 w 1562100"/>
                <a:gd name="connsiteY6" fmla="*/ 907256 h 1309687"/>
                <a:gd name="connsiteX7" fmla="*/ 697706 w 1562100"/>
                <a:gd name="connsiteY7" fmla="*/ 862012 h 1309687"/>
                <a:gd name="connsiteX8" fmla="*/ 714375 w 1562100"/>
                <a:gd name="connsiteY8" fmla="*/ 838200 h 1309687"/>
                <a:gd name="connsiteX9" fmla="*/ 721519 w 1562100"/>
                <a:gd name="connsiteY9" fmla="*/ 804862 h 1309687"/>
                <a:gd name="connsiteX10" fmla="*/ 735806 w 1562100"/>
                <a:gd name="connsiteY10" fmla="*/ 785812 h 1309687"/>
                <a:gd name="connsiteX11" fmla="*/ 792956 w 1562100"/>
                <a:gd name="connsiteY11" fmla="*/ 776287 h 1309687"/>
                <a:gd name="connsiteX12" fmla="*/ 838200 w 1562100"/>
                <a:gd name="connsiteY12" fmla="*/ 759618 h 1309687"/>
                <a:gd name="connsiteX13" fmla="*/ 876300 w 1562100"/>
                <a:gd name="connsiteY13" fmla="*/ 719137 h 1309687"/>
                <a:gd name="connsiteX14" fmla="*/ 923925 w 1562100"/>
                <a:gd name="connsiteY14" fmla="*/ 704850 h 1309687"/>
                <a:gd name="connsiteX15" fmla="*/ 995363 w 1562100"/>
                <a:gd name="connsiteY15" fmla="*/ 700087 h 1309687"/>
                <a:gd name="connsiteX16" fmla="*/ 1040606 w 1562100"/>
                <a:gd name="connsiteY16" fmla="*/ 690562 h 1309687"/>
                <a:gd name="connsiteX17" fmla="*/ 1119188 w 1562100"/>
                <a:gd name="connsiteY17" fmla="*/ 583406 h 1309687"/>
                <a:gd name="connsiteX18" fmla="*/ 1126331 w 1562100"/>
                <a:gd name="connsiteY18" fmla="*/ 550068 h 1309687"/>
                <a:gd name="connsiteX19" fmla="*/ 1152525 w 1562100"/>
                <a:gd name="connsiteY19" fmla="*/ 521493 h 1309687"/>
                <a:gd name="connsiteX20" fmla="*/ 1197769 w 1562100"/>
                <a:gd name="connsiteY20" fmla="*/ 511968 h 1309687"/>
                <a:gd name="connsiteX21" fmla="*/ 1290638 w 1562100"/>
                <a:gd name="connsiteY21" fmla="*/ 435768 h 1309687"/>
                <a:gd name="connsiteX22" fmla="*/ 1314450 w 1562100"/>
                <a:gd name="connsiteY22" fmla="*/ 433387 h 1309687"/>
                <a:gd name="connsiteX23" fmla="*/ 1409700 w 1562100"/>
                <a:gd name="connsiteY23" fmla="*/ 352425 h 1309687"/>
                <a:gd name="connsiteX24" fmla="*/ 1414463 w 1562100"/>
                <a:gd name="connsiteY24" fmla="*/ 333375 h 1309687"/>
                <a:gd name="connsiteX25" fmla="*/ 1507331 w 1562100"/>
                <a:gd name="connsiteY25" fmla="*/ 278606 h 1309687"/>
                <a:gd name="connsiteX26" fmla="*/ 1543050 w 1562100"/>
                <a:gd name="connsiteY26" fmla="*/ 233362 h 1309687"/>
                <a:gd name="connsiteX27" fmla="*/ 1562100 w 1562100"/>
                <a:gd name="connsiteY27" fmla="*/ 195262 h 1309687"/>
                <a:gd name="connsiteX28" fmla="*/ 1512094 w 1562100"/>
                <a:gd name="connsiteY28" fmla="*/ 214312 h 1309687"/>
                <a:gd name="connsiteX29" fmla="*/ 1478756 w 1562100"/>
                <a:gd name="connsiteY29" fmla="*/ 214312 h 1309687"/>
                <a:gd name="connsiteX30" fmla="*/ 1452563 w 1562100"/>
                <a:gd name="connsiteY30" fmla="*/ 252412 h 1309687"/>
                <a:gd name="connsiteX31" fmla="*/ 1421606 w 1562100"/>
                <a:gd name="connsiteY31" fmla="*/ 250031 h 1309687"/>
                <a:gd name="connsiteX32" fmla="*/ 1366838 w 1562100"/>
                <a:gd name="connsiteY32" fmla="*/ 219075 h 1309687"/>
                <a:gd name="connsiteX33" fmla="*/ 1323975 w 1562100"/>
                <a:gd name="connsiteY33" fmla="*/ 207168 h 1309687"/>
                <a:gd name="connsiteX34" fmla="*/ 1238250 w 1562100"/>
                <a:gd name="connsiteY34" fmla="*/ 242887 h 1309687"/>
                <a:gd name="connsiteX35" fmla="*/ 1223963 w 1562100"/>
                <a:gd name="connsiteY35" fmla="*/ 280987 h 1309687"/>
                <a:gd name="connsiteX36" fmla="*/ 1195388 w 1562100"/>
                <a:gd name="connsiteY36" fmla="*/ 338137 h 1309687"/>
                <a:gd name="connsiteX37" fmla="*/ 1109663 w 1562100"/>
                <a:gd name="connsiteY37" fmla="*/ 300037 h 1309687"/>
                <a:gd name="connsiteX38" fmla="*/ 1097756 w 1562100"/>
                <a:gd name="connsiteY38" fmla="*/ 342900 h 1309687"/>
                <a:gd name="connsiteX39" fmla="*/ 1083469 w 1562100"/>
                <a:gd name="connsiteY39" fmla="*/ 376237 h 1309687"/>
                <a:gd name="connsiteX40" fmla="*/ 959644 w 1562100"/>
                <a:gd name="connsiteY40" fmla="*/ 407193 h 1309687"/>
                <a:gd name="connsiteX41" fmla="*/ 945356 w 1562100"/>
                <a:gd name="connsiteY41" fmla="*/ 402431 h 1309687"/>
                <a:gd name="connsiteX42" fmla="*/ 926306 w 1562100"/>
                <a:gd name="connsiteY42" fmla="*/ 423862 h 1309687"/>
                <a:gd name="connsiteX43" fmla="*/ 890588 w 1562100"/>
                <a:gd name="connsiteY43" fmla="*/ 431006 h 1309687"/>
                <a:gd name="connsiteX44" fmla="*/ 854869 w 1562100"/>
                <a:gd name="connsiteY44" fmla="*/ 381000 h 1309687"/>
                <a:gd name="connsiteX45" fmla="*/ 835819 w 1562100"/>
                <a:gd name="connsiteY45" fmla="*/ 369093 h 1309687"/>
                <a:gd name="connsiteX46" fmla="*/ 826294 w 1562100"/>
                <a:gd name="connsiteY46" fmla="*/ 323850 h 1309687"/>
                <a:gd name="connsiteX47" fmla="*/ 792956 w 1562100"/>
                <a:gd name="connsiteY47" fmla="*/ 307181 h 1309687"/>
                <a:gd name="connsiteX48" fmla="*/ 759619 w 1562100"/>
                <a:gd name="connsiteY48" fmla="*/ 300037 h 1309687"/>
                <a:gd name="connsiteX49" fmla="*/ 740569 w 1562100"/>
                <a:gd name="connsiteY49" fmla="*/ 295275 h 1309687"/>
                <a:gd name="connsiteX50" fmla="*/ 728663 w 1562100"/>
                <a:gd name="connsiteY50" fmla="*/ 285750 h 1309687"/>
                <a:gd name="connsiteX51" fmla="*/ 735806 w 1562100"/>
                <a:gd name="connsiteY51" fmla="*/ 259556 h 1309687"/>
                <a:gd name="connsiteX52" fmla="*/ 742950 w 1562100"/>
                <a:gd name="connsiteY52" fmla="*/ 235743 h 1309687"/>
                <a:gd name="connsiteX53" fmla="*/ 700088 w 1562100"/>
                <a:gd name="connsiteY53" fmla="*/ 185737 h 1309687"/>
                <a:gd name="connsiteX54" fmla="*/ 602456 w 1562100"/>
                <a:gd name="connsiteY54" fmla="*/ 133351 h 1309687"/>
                <a:gd name="connsiteX55" fmla="*/ 500062 w 1562100"/>
                <a:gd name="connsiteY55" fmla="*/ 66676 h 1309687"/>
                <a:gd name="connsiteX56" fmla="*/ 450056 w 1562100"/>
                <a:gd name="connsiteY56" fmla="*/ 2382 h 1309687"/>
                <a:gd name="connsiteX57" fmla="*/ 428625 w 1562100"/>
                <a:gd name="connsiteY57" fmla="*/ 0 h 1309687"/>
                <a:gd name="connsiteX58" fmla="*/ 376238 w 1562100"/>
                <a:gd name="connsiteY58" fmla="*/ 104775 h 1309687"/>
                <a:gd name="connsiteX59" fmla="*/ 314326 w 1562100"/>
                <a:gd name="connsiteY59" fmla="*/ 104774 h 1309687"/>
                <a:gd name="connsiteX60" fmla="*/ 328613 w 1562100"/>
                <a:gd name="connsiteY60" fmla="*/ 183356 h 1309687"/>
                <a:gd name="connsiteX61" fmla="*/ 292894 w 1562100"/>
                <a:gd name="connsiteY61" fmla="*/ 285750 h 1309687"/>
                <a:gd name="connsiteX62" fmla="*/ 264319 w 1562100"/>
                <a:gd name="connsiteY62" fmla="*/ 292893 h 1309687"/>
                <a:gd name="connsiteX63" fmla="*/ 261938 w 1562100"/>
                <a:gd name="connsiteY63" fmla="*/ 307181 h 1309687"/>
                <a:gd name="connsiteX64" fmla="*/ 261938 w 1562100"/>
                <a:gd name="connsiteY64" fmla="*/ 340518 h 1309687"/>
                <a:gd name="connsiteX65" fmla="*/ 228600 w 1562100"/>
                <a:gd name="connsiteY65" fmla="*/ 383381 h 1309687"/>
                <a:gd name="connsiteX66" fmla="*/ 271463 w 1562100"/>
                <a:gd name="connsiteY66" fmla="*/ 400050 h 1309687"/>
                <a:gd name="connsiteX67" fmla="*/ 278606 w 1562100"/>
                <a:gd name="connsiteY67" fmla="*/ 419100 h 1309687"/>
                <a:gd name="connsiteX68" fmla="*/ 257175 w 1562100"/>
                <a:gd name="connsiteY68" fmla="*/ 454818 h 1309687"/>
                <a:gd name="connsiteX69" fmla="*/ 221456 w 1562100"/>
                <a:gd name="connsiteY69" fmla="*/ 464343 h 1309687"/>
                <a:gd name="connsiteX70" fmla="*/ 221456 w 1562100"/>
                <a:gd name="connsiteY70" fmla="*/ 504825 h 1309687"/>
                <a:gd name="connsiteX71" fmla="*/ 254794 w 1562100"/>
                <a:gd name="connsiteY71" fmla="*/ 542925 h 1309687"/>
                <a:gd name="connsiteX72" fmla="*/ 226219 w 1562100"/>
                <a:gd name="connsiteY72" fmla="*/ 607218 h 1309687"/>
                <a:gd name="connsiteX73" fmla="*/ 180975 w 1562100"/>
                <a:gd name="connsiteY73" fmla="*/ 635793 h 1309687"/>
                <a:gd name="connsiteX74" fmla="*/ 183356 w 1562100"/>
                <a:gd name="connsiteY74" fmla="*/ 652462 h 1309687"/>
                <a:gd name="connsiteX75" fmla="*/ 204788 w 1562100"/>
                <a:gd name="connsiteY75" fmla="*/ 661987 h 1309687"/>
                <a:gd name="connsiteX76" fmla="*/ 219075 w 1562100"/>
                <a:gd name="connsiteY76" fmla="*/ 671512 h 1309687"/>
                <a:gd name="connsiteX77" fmla="*/ 223838 w 1562100"/>
                <a:gd name="connsiteY77" fmla="*/ 690562 h 1309687"/>
                <a:gd name="connsiteX78" fmla="*/ 195263 w 1562100"/>
                <a:gd name="connsiteY78" fmla="*/ 716756 h 1309687"/>
                <a:gd name="connsiteX79" fmla="*/ 123825 w 1562100"/>
                <a:gd name="connsiteY79" fmla="*/ 762000 h 1309687"/>
                <a:gd name="connsiteX80" fmla="*/ 123825 w 1562100"/>
                <a:gd name="connsiteY80" fmla="*/ 797718 h 1309687"/>
                <a:gd name="connsiteX81" fmla="*/ 135731 w 1562100"/>
                <a:gd name="connsiteY81" fmla="*/ 828675 h 1309687"/>
                <a:gd name="connsiteX82" fmla="*/ 123825 w 1562100"/>
                <a:gd name="connsiteY82" fmla="*/ 869156 h 1309687"/>
                <a:gd name="connsiteX83" fmla="*/ 76200 w 1562100"/>
                <a:gd name="connsiteY83" fmla="*/ 864393 h 1309687"/>
                <a:gd name="connsiteX84" fmla="*/ 52388 w 1562100"/>
                <a:gd name="connsiteY84" fmla="*/ 809625 h 1309687"/>
                <a:gd name="connsiteX85" fmla="*/ 33338 w 1562100"/>
                <a:gd name="connsiteY85" fmla="*/ 802481 h 1309687"/>
                <a:gd name="connsiteX86" fmla="*/ 23813 w 1562100"/>
                <a:gd name="connsiteY86" fmla="*/ 840581 h 1309687"/>
                <a:gd name="connsiteX87" fmla="*/ 21431 w 1562100"/>
                <a:gd name="connsiteY87" fmla="*/ 850106 h 1309687"/>
                <a:gd name="connsiteX88" fmla="*/ 7144 w 1562100"/>
                <a:gd name="connsiteY88" fmla="*/ 866775 h 1309687"/>
                <a:gd name="connsiteX89" fmla="*/ 0 w 1562100"/>
                <a:gd name="connsiteY89" fmla="*/ 923925 h 1309687"/>
                <a:gd name="connsiteX90" fmla="*/ 23813 w 1562100"/>
                <a:gd name="connsiteY90" fmla="*/ 952500 h 1309687"/>
                <a:gd name="connsiteX91" fmla="*/ 16669 w 1562100"/>
                <a:gd name="connsiteY91" fmla="*/ 992981 h 1309687"/>
                <a:gd name="connsiteX92" fmla="*/ 35719 w 1562100"/>
                <a:gd name="connsiteY92" fmla="*/ 997743 h 1309687"/>
                <a:gd name="connsiteX93" fmla="*/ 69056 w 1562100"/>
                <a:gd name="connsiteY93" fmla="*/ 997743 h 1309687"/>
                <a:gd name="connsiteX94" fmla="*/ 85725 w 1562100"/>
                <a:gd name="connsiteY94" fmla="*/ 988218 h 1309687"/>
                <a:gd name="connsiteX95" fmla="*/ 135731 w 1562100"/>
                <a:gd name="connsiteY95" fmla="*/ 1045368 h 1309687"/>
                <a:gd name="connsiteX96" fmla="*/ 123825 w 1562100"/>
                <a:gd name="connsiteY96" fmla="*/ 1064418 h 1309687"/>
                <a:gd name="connsiteX97" fmla="*/ 133350 w 1562100"/>
                <a:gd name="connsiteY97" fmla="*/ 1092993 h 1309687"/>
                <a:gd name="connsiteX98" fmla="*/ 164306 w 1562100"/>
                <a:gd name="connsiteY98" fmla="*/ 1112043 h 1309687"/>
                <a:gd name="connsiteX99" fmla="*/ 190500 w 1562100"/>
                <a:gd name="connsiteY99" fmla="*/ 1121568 h 1309687"/>
                <a:gd name="connsiteX100" fmla="*/ 216694 w 1562100"/>
                <a:gd name="connsiteY100" fmla="*/ 1128712 h 1309687"/>
                <a:gd name="connsiteX101" fmla="*/ 228600 w 1562100"/>
                <a:gd name="connsiteY101" fmla="*/ 1131093 h 1309687"/>
                <a:gd name="connsiteX102" fmla="*/ 240506 w 1562100"/>
                <a:gd name="connsiteY102" fmla="*/ 1092993 h 1309687"/>
                <a:gd name="connsiteX103" fmla="*/ 269081 w 1562100"/>
                <a:gd name="connsiteY103" fmla="*/ 1097756 h 1309687"/>
                <a:gd name="connsiteX104" fmla="*/ 288131 w 1562100"/>
                <a:gd name="connsiteY104" fmla="*/ 1085850 h 1309687"/>
                <a:gd name="connsiteX105" fmla="*/ 307181 w 1562100"/>
                <a:gd name="connsiteY105" fmla="*/ 1135856 h 1309687"/>
                <a:gd name="connsiteX106" fmla="*/ 330994 w 1562100"/>
                <a:gd name="connsiteY106" fmla="*/ 1150143 h 1309687"/>
                <a:gd name="connsiteX107" fmla="*/ 340519 w 1562100"/>
                <a:gd name="connsiteY107" fmla="*/ 1178718 h 1309687"/>
                <a:gd name="connsiteX108" fmla="*/ 357188 w 1562100"/>
                <a:gd name="connsiteY108" fmla="*/ 1188243 h 1309687"/>
                <a:gd name="connsiteX109" fmla="*/ 364331 w 1562100"/>
                <a:gd name="connsiteY109" fmla="*/ 1219200 h 1309687"/>
                <a:gd name="connsiteX110" fmla="*/ 335756 w 1562100"/>
                <a:gd name="connsiteY110" fmla="*/ 1245393 h 1309687"/>
                <a:gd name="connsiteX111" fmla="*/ 309563 w 1562100"/>
                <a:gd name="connsiteY111" fmla="*/ 1262062 h 1309687"/>
                <a:gd name="connsiteX112" fmla="*/ 297656 w 1562100"/>
                <a:gd name="connsiteY112" fmla="*/ 1285875 h 1309687"/>
                <a:gd name="connsiteX113" fmla="*/ 302419 w 1562100"/>
                <a:gd name="connsiteY113" fmla="*/ 1309687 h 1309687"/>
                <a:gd name="connsiteX114" fmla="*/ 342900 w 1562100"/>
                <a:gd name="connsiteY114" fmla="*/ 1309687 h 1309687"/>
                <a:gd name="connsiteX115" fmla="*/ 390525 w 1562100"/>
                <a:gd name="connsiteY115" fmla="*/ 1304925 h 1309687"/>
                <a:gd name="connsiteX116" fmla="*/ 428625 w 1562100"/>
                <a:gd name="connsiteY116" fmla="*/ 1295400 h 1309687"/>
                <a:gd name="connsiteX117" fmla="*/ 454819 w 1562100"/>
                <a:gd name="connsiteY117" fmla="*/ 1302543 h 1309687"/>
                <a:gd name="connsiteX118" fmla="*/ 473869 w 1562100"/>
                <a:gd name="connsiteY118" fmla="*/ 1281112 h 1309687"/>
                <a:gd name="connsiteX119" fmla="*/ 492919 w 1562100"/>
                <a:gd name="connsiteY119" fmla="*/ 1281112 h 1309687"/>
                <a:gd name="connsiteX120" fmla="*/ 507206 w 1562100"/>
                <a:gd name="connsiteY120" fmla="*/ 1250156 h 1309687"/>
                <a:gd name="connsiteX121" fmla="*/ 557213 w 1562100"/>
                <a:gd name="connsiteY121" fmla="*/ 1235868 h 1309687"/>
                <a:gd name="connsiteX122" fmla="*/ 583406 w 1562100"/>
                <a:gd name="connsiteY122" fmla="*/ 1216818 h 1309687"/>
                <a:gd name="connsiteX123" fmla="*/ 590550 w 1562100"/>
                <a:gd name="connsiteY123" fmla="*/ 1178718 h 1309687"/>
                <a:gd name="connsiteX124" fmla="*/ 607219 w 1562100"/>
                <a:gd name="connsiteY124" fmla="*/ 1152525 h 1309687"/>
                <a:gd name="connsiteX125" fmla="*/ 688181 w 1562100"/>
                <a:gd name="connsiteY125" fmla="*/ 1183481 h 1309687"/>
                <a:gd name="connsiteX0" fmla="*/ 688181 w 1562100"/>
                <a:gd name="connsiteY0" fmla="*/ 1183481 h 1309687"/>
                <a:gd name="connsiteX1" fmla="*/ 688181 w 1562100"/>
                <a:gd name="connsiteY1" fmla="*/ 1097756 h 1309687"/>
                <a:gd name="connsiteX2" fmla="*/ 692944 w 1562100"/>
                <a:gd name="connsiteY2" fmla="*/ 1054893 h 1309687"/>
                <a:gd name="connsiteX3" fmla="*/ 692944 w 1562100"/>
                <a:gd name="connsiteY3" fmla="*/ 1009650 h 1309687"/>
                <a:gd name="connsiteX4" fmla="*/ 676275 w 1562100"/>
                <a:gd name="connsiteY4" fmla="*/ 985837 h 1309687"/>
                <a:gd name="connsiteX5" fmla="*/ 690563 w 1562100"/>
                <a:gd name="connsiteY5" fmla="*/ 933450 h 1309687"/>
                <a:gd name="connsiteX6" fmla="*/ 685800 w 1562100"/>
                <a:gd name="connsiteY6" fmla="*/ 907256 h 1309687"/>
                <a:gd name="connsiteX7" fmla="*/ 697706 w 1562100"/>
                <a:gd name="connsiteY7" fmla="*/ 862012 h 1309687"/>
                <a:gd name="connsiteX8" fmla="*/ 714375 w 1562100"/>
                <a:gd name="connsiteY8" fmla="*/ 838200 h 1309687"/>
                <a:gd name="connsiteX9" fmla="*/ 721519 w 1562100"/>
                <a:gd name="connsiteY9" fmla="*/ 804862 h 1309687"/>
                <a:gd name="connsiteX10" fmla="*/ 735806 w 1562100"/>
                <a:gd name="connsiteY10" fmla="*/ 785812 h 1309687"/>
                <a:gd name="connsiteX11" fmla="*/ 792956 w 1562100"/>
                <a:gd name="connsiteY11" fmla="*/ 776287 h 1309687"/>
                <a:gd name="connsiteX12" fmla="*/ 838200 w 1562100"/>
                <a:gd name="connsiteY12" fmla="*/ 759618 h 1309687"/>
                <a:gd name="connsiteX13" fmla="*/ 876300 w 1562100"/>
                <a:gd name="connsiteY13" fmla="*/ 719137 h 1309687"/>
                <a:gd name="connsiteX14" fmla="*/ 923925 w 1562100"/>
                <a:gd name="connsiteY14" fmla="*/ 704850 h 1309687"/>
                <a:gd name="connsiteX15" fmla="*/ 995363 w 1562100"/>
                <a:gd name="connsiteY15" fmla="*/ 700087 h 1309687"/>
                <a:gd name="connsiteX16" fmla="*/ 1040606 w 1562100"/>
                <a:gd name="connsiteY16" fmla="*/ 690562 h 1309687"/>
                <a:gd name="connsiteX17" fmla="*/ 1119188 w 1562100"/>
                <a:gd name="connsiteY17" fmla="*/ 583406 h 1309687"/>
                <a:gd name="connsiteX18" fmla="*/ 1126331 w 1562100"/>
                <a:gd name="connsiteY18" fmla="*/ 550068 h 1309687"/>
                <a:gd name="connsiteX19" fmla="*/ 1152525 w 1562100"/>
                <a:gd name="connsiteY19" fmla="*/ 521493 h 1309687"/>
                <a:gd name="connsiteX20" fmla="*/ 1197769 w 1562100"/>
                <a:gd name="connsiteY20" fmla="*/ 511968 h 1309687"/>
                <a:gd name="connsiteX21" fmla="*/ 1290638 w 1562100"/>
                <a:gd name="connsiteY21" fmla="*/ 435768 h 1309687"/>
                <a:gd name="connsiteX22" fmla="*/ 1314450 w 1562100"/>
                <a:gd name="connsiteY22" fmla="*/ 433387 h 1309687"/>
                <a:gd name="connsiteX23" fmla="*/ 1409700 w 1562100"/>
                <a:gd name="connsiteY23" fmla="*/ 352425 h 1309687"/>
                <a:gd name="connsiteX24" fmla="*/ 1414463 w 1562100"/>
                <a:gd name="connsiteY24" fmla="*/ 333375 h 1309687"/>
                <a:gd name="connsiteX25" fmla="*/ 1507331 w 1562100"/>
                <a:gd name="connsiteY25" fmla="*/ 278606 h 1309687"/>
                <a:gd name="connsiteX26" fmla="*/ 1543050 w 1562100"/>
                <a:gd name="connsiteY26" fmla="*/ 233362 h 1309687"/>
                <a:gd name="connsiteX27" fmla="*/ 1562100 w 1562100"/>
                <a:gd name="connsiteY27" fmla="*/ 195262 h 1309687"/>
                <a:gd name="connsiteX28" fmla="*/ 1512094 w 1562100"/>
                <a:gd name="connsiteY28" fmla="*/ 214312 h 1309687"/>
                <a:gd name="connsiteX29" fmla="*/ 1478756 w 1562100"/>
                <a:gd name="connsiteY29" fmla="*/ 214312 h 1309687"/>
                <a:gd name="connsiteX30" fmla="*/ 1452563 w 1562100"/>
                <a:gd name="connsiteY30" fmla="*/ 252412 h 1309687"/>
                <a:gd name="connsiteX31" fmla="*/ 1421606 w 1562100"/>
                <a:gd name="connsiteY31" fmla="*/ 250031 h 1309687"/>
                <a:gd name="connsiteX32" fmla="*/ 1366838 w 1562100"/>
                <a:gd name="connsiteY32" fmla="*/ 219075 h 1309687"/>
                <a:gd name="connsiteX33" fmla="*/ 1323975 w 1562100"/>
                <a:gd name="connsiteY33" fmla="*/ 207168 h 1309687"/>
                <a:gd name="connsiteX34" fmla="*/ 1238250 w 1562100"/>
                <a:gd name="connsiteY34" fmla="*/ 242887 h 1309687"/>
                <a:gd name="connsiteX35" fmla="*/ 1223963 w 1562100"/>
                <a:gd name="connsiteY35" fmla="*/ 280987 h 1309687"/>
                <a:gd name="connsiteX36" fmla="*/ 1195388 w 1562100"/>
                <a:gd name="connsiteY36" fmla="*/ 338137 h 1309687"/>
                <a:gd name="connsiteX37" fmla="*/ 1109663 w 1562100"/>
                <a:gd name="connsiteY37" fmla="*/ 300037 h 1309687"/>
                <a:gd name="connsiteX38" fmla="*/ 1097756 w 1562100"/>
                <a:gd name="connsiteY38" fmla="*/ 342900 h 1309687"/>
                <a:gd name="connsiteX39" fmla="*/ 1083469 w 1562100"/>
                <a:gd name="connsiteY39" fmla="*/ 376237 h 1309687"/>
                <a:gd name="connsiteX40" fmla="*/ 959644 w 1562100"/>
                <a:gd name="connsiteY40" fmla="*/ 407193 h 1309687"/>
                <a:gd name="connsiteX41" fmla="*/ 945356 w 1562100"/>
                <a:gd name="connsiteY41" fmla="*/ 402431 h 1309687"/>
                <a:gd name="connsiteX42" fmla="*/ 926306 w 1562100"/>
                <a:gd name="connsiteY42" fmla="*/ 423862 h 1309687"/>
                <a:gd name="connsiteX43" fmla="*/ 890588 w 1562100"/>
                <a:gd name="connsiteY43" fmla="*/ 431006 h 1309687"/>
                <a:gd name="connsiteX44" fmla="*/ 854869 w 1562100"/>
                <a:gd name="connsiteY44" fmla="*/ 381000 h 1309687"/>
                <a:gd name="connsiteX45" fmla="*/ 835819 w 1562100"/>
                <a:gd name="connsiteY45" fmla="*/ 369093 h 1309687"/>
                <a:gd name="connsiteX46" fmla="*/ 826294 w 1562100"/>
                <a:gd name="connsiteY46" fmla="*/ 323850 h 1309687"/>
                <a:gd name="connsiteX47" fmla="*/ 792956 w 1562100"/>
                <a:gd name="connsiteY47" fmla="*/ 307181 h 1309687"/>
                <a:gd name="connsiteX48" fmla="*/ 759619 w 1562100"/>
                <a:gd name="connsiteY48" fmla="*/ 300037 h 1309687"/>
                <a:gd name="connsiteX49" fmla="*/ 740569 w 1562100"/>
                <a:gd name="connsiteY49" fmla="*/ 295275 h 1309687"/>
                <a:gd name="connsiteX50" fmla="*/ 728663 w 1562100"/>
                <a:gd name="connsiteY50" fmla="*/ 285750 h 1309687"/>
                <a:gd name="connsiteX51" fmla="*/ 735806 w 1562100"/>
                <a:gd name="connsiteY51" fmla="*/ 259556 h 1309687"/>
                <a:gd name="connsiteX52" fmla="*/ 742950 w 1562100"/>
                <a:gd name="connsiteY52" fmla="*/ 235743 h 1309687"/>
                <a:gd name="connsiteX53" fmla="*/ 700088 w 1562100"/>
                <a:gd name="connsiteY53" fmla="*/ 185737 h 1309687"/>
                <a:gd name="connsiteX54" fmla="*/ 602456 w 1562100"/>
                <a:gd name="connsiteY54" fmla="*/ 133351 h 1309687"/>
                <a:gd name="connsiteX55" fmla="*/ 628650 w 1562100"/>
                <a:gd name="connsiteY55" fmla="*/ 88107 h 1309687"/>
                <a:gd name="connsiteX56" fmla="*/ 500062 w 1562100"/>
                <a:gd name="connsiteY56" fmla="*/ 66676 h 1309687"/>
                <a:gd name="connsiteX57" fmla="*/ 450056 w 1562100"/>
                <a:gd name="connsiteY57" fmla="*/ 2382 h 1309687"/>
                <a:gd name="connsiteX58" fmla="*/ 428625 w 1562100"/>
                <a:gd name="connsiteY58" fmla="*/ 0 h 1309687"/>
                <a:gd name="connsiteX59" fmla="*/ 376238 w 1562100"/>
                <a:gd name="connsiteY59" fmla="*/ 104775 h 1309687"/>
                <a:gd name="connsiteX60" fmla="*/ 314326 w 1562100"/>
                <a:gd name="connsiteY60" fmla="*/ 104774 h 1309687"/>
                <a:gd name="connsiteX61" fmla="*/ 328613 w 1562100"/>
                <a:gd name="connsiteY61" fmla="*/ 183356 h 1309687"/>
                <a:gd name="connsiteX62" fmla="*/ 292894 w 1562100"/>
                <a:gd name="connsiteY62" fmla="*/ 285750 h 1309687"/>
                <a:gd name="connsiteX63" fmla="*/ 264319 w 1562100"/>
                <a:gd name="connsiteY63" fmla="*/ 292893 h 1309687"/>
                <a:gd name="connsiteX64" fmla="*/ 261938 w 1562100"/>
                <a:gd name="connsiteY64" fmla="*/ 307181 h 1309687"/>
                <a:gd name="connsiteX65" fmla="*/ 261938 w 1562100"/>
                <a:gd name="connsiteY65" fmla="*/ 340518 h 1309687"/>
                <a:gd name="connsiteX66" fmla="*/ 228600 w 1562100"/>
                <a:gd name="connsiteY66" fmla="*/ 383381 h 1309687"/>
                <a:gd name="connsiteX67" fmla="*/ 271463 w 1562100"/>
                <a:gd name="connsiteY67" fmla="*/ 400050 h 1309687"/>
                <a:gd name="connsiteX68" fmla="*/ 278606 w 1562100"/>
                <a:gd name="connsiteY68" fmla="*/ 419100 h 1309687"/>
                <a:gd name="connsiteX69" fmla="*/ 257175 w 1562100"/>
                <a:gd name="connsiteY69" fmla="*/ 454818 h 1309687"/>
                <a:gd name="connsiteX70" fmla="*/ 221456 w 1562100"/>
                <a:gd name="connsiteY70" fmla="*/ 464343 h 1309687"/>
                <a:gd name="connsiteX71" fmla="*/ 221456 w 1562100"/>
                <a:gd name="connsiteY71" fmla="*/ 504825 h 1309687"/>
                <a:gd name="connsiteX72" fmla="*/ 254794 w 1562100"/>
                <a:gd name="connsiteY72" fmla="*/ 542925 h 1309687"/>
                <a:gd name="connsiteX73" fmla="*/ 226219 w 1562100"/>
                <a:gd name="connsiteY73" fmla="*/ 607218 h 1309687"/>
                <a:gd name="connsiteX74" fmla="*/ 180975 w 1562100"/>
                <a:gd name="connsiteY74" fmla="*/ 635793 h 1309687"/>
                <a:gd name="connsiteX75" fmla="*/ 183356 w 1562100"/>
                <a:gd name="connsiteY75" fmla="*/ 652462 h 1309687"/>
                <a:gd name="connsiteX76" fmla="*/ 204788 w 1562100"/>
                <a:gd name="connsiteY76" fmla="*/ 661987 h 1309687"/>
                <a:gd name="connsiteX77" fmla="*/ 219075 w 1562100"/>
                <a:gd name="connsiteY77" fmla="*/ 671512 h 1309687"/>
                <a:gd name="connsiteX78" fmla="*/ 223838 w 1562100"/>
                <a:gd name="connsiteY78" fmla="*/ 690562 h 1309687"/>
                <a:gd name="connsiteX79" fmla="*/ 195263 w 1562100"/>
                <a:gd name="connsiteY79" fmla="*/ 716756 h 1309687"/>
                <a:gd name="connsiteX80" fmla="*/ 123825 w 1562100"/>
                <a:gd name="connsiteY80" fmla="*/ 762000 h 1309687"/>
                <a:gd name="connsiteX81" fmla="*/ 123825 w 1562100"/>
                <a:gd name="connsiteY81" fmla="*/ 797718 h 1309687"/>
                <a:gd name="connsiteX82" fmla="*/ 135731 w 1562100"/>
                <a:gd name="connsiteY82" fmla="*/ 828675 h 1309687"/>
                <a:gd name="connsiteX83" fmla="*/ 123825 w 1562100"/>
                <a:gd name="connsiteY83" fmla="*/ 869156 h 1309687"/>
                <a:gd name="connsiteX84" fmla="*/ 76200 w 1562100"/>
                <a:gd name="connsiteY84" fmla="*/ 864393 h 1309687"/>
                <a:gd name="connsiteX85" fmla="*/ 52388 w 1562100"/>
                <a:gd name="connsiteY85" fmla="*/ 809625 h 1309687"/>
                <a:gd name="connsiteX86" fmla="*/ 33338 w 1562100"/>
                <a:gd name="connsiteY86" fmla="*/ 802481 h 1309687"/>
                <a:gd name="connsiteX87" fmla="*/ 23813 w 1562100"/>
                <a:gd name="connsiteY87" fmla="*/ 840581 h 1309687"/>
                <a:gd name="connsiteX88" fmla="*/ 21431 w 1562100"/>
                <a:gd name="connsiteY88" fmla="*/ 850106 h 1309687"/>
                <a:gd name="connsiteX89" fmla="*/ 7144 w 1562100"/>
                <a:gd name="connsiteY89" fmla="*/ 866775 h 1309687"/>
                <a:gd name="connsiteX90" fmla="*/ 0 w 1562100"/>
                <a:gd name="connsiteY90" fmla="*/ 923925 h 1309687"/>
                <a:gd name="connsiteX91" fmla="*/ 23813 w 1562100"/>
                <a:gd name="connsiteY91" fmla="*/ 952500 h 1309687"/>
                <a:gd name="connsiteX92" fmla="*/ 16669 w 1562100"/>
                <a:gd name="connsiteY92" fmla="*/ 992981 h 1309687"/>
                <a:gd name="connsiteX93" fmla="*/ 35719 w 1562100"/>
                <a:gd name="connsiteY93" fmla="*/ 997743 h 1309687"/>
                <a:gd name="connsiteX94" fmla="*/ 69056 w 1562100"/>
                <a:gd name="connsiteY94" fmla="*/ 997743 h 1309687"/>
                <a:gd name="connsiteX95" fmla="*/ 85725 w 1562100"/>
                <a:gd name="connsiteY95" fmla="*/ 988218 h 1309687"/>
                <a:gd name="connsiteX96" fmla="*/ 135731 w 1562100"/>
                <a:gd name="connsiteY96" fmla="*/ 1045368 h 1309687"/>
                <a:gd name="connsiteX97" fmla="*/ 123825 w 1562100"/>
                <a:gd name="connsiteY97" fmla="*/ 1064418 h 1309687"/>
                <a:gd name="connsiteX98" fmla="*/ 133350 w 1562100"/>
                <a:gd name="connsiteY98" fmla="*/ 1092993 h 1309687"/>
                <a:gd name="connsiteX99" fmla="*/ 164306 w 1562100"/>
                <a:gd name="connsiteY99" fmla="*/ 1112043 h 1309687"/>
                <a:gd name="connsiteX100" fmla="*/ 190500 w 1562100"/>
                <a:gd name="connsiteY100" fmla="*/ 1121568 h 1309687"/>
                <a:gd name="connsiteX101" fmla="*/ 216694 w 1562100"/>
                <a:gd name="connsiteY101" fmla="*/ 1128712 h 1309687"/>
                <a:gd name="connsiteX102" fmla="*/ 228600 w 1562100"/>
                <a:gd name="connsiteY102" fmla="*/ 1131093 h 1309687"/>
                <a:gd name="connsiteX103" fmla="*/ 240506 w 1562100"/>
                <a:gd name="connsiteY103" fmla="*/ 1092993 h 1309687"/>
                <a:gd name="connsiteX104" fmla="*/ 269081 w 1562100"/>
                <a:gd name="connsiteY104" fmla="*/ 1097756 h 1309687"/>
                <a:gd name="connsiteX105" fmla="*/ 288131 w 1562100"/>
                <a:gd name="connsiteY105" fmla="*/ 1085850 h 1309687"/>
                <a:gd name="connsiteX106" fmla="*/ 307181 w 1562100"/>
                <a:gd name="connsiteY106" fmla="*/ 1135856 h 1309687"/>
                <a:gd name="connsiteX107" fmla="*/ 330994 w 1562100"/>
                <a:gd name="connsiteY107" fmla="*/ 1150143 h 1309687"/>
                <a:gd name="connsiteX108" fmla="*/ 340519 w 1562100"/>
                <a:gd name="connsiteY108" fmla="*/ 1178718 h 1309687"/>
                <a:gd name="connsiteX109" fmla="*/ 357188 w 1562100"/>
                <a:gd name="connsiteY109" fmla="*/ 1188243 h 1309687"/>
                <a:gd name="connsiteX110" fmla="*/ 364331 w 1562100"/>
                <a:gd name="connsiteY110" fmla="*/ 1219200 h 1309687"/>
                <a:gd name="connsiteX111" fmla="*/ 335756 w 1562100"/>
                <a:gd name="connsiteY111" fmla="*/ 1245393 h 1309687"/>
                <a:gd name="connsiteX112" fmla="*/ 309563 w 1562100"/>
                <a:gd name="connsiteY112" fmla="*/ 1262062 h 1309687"/>
                <a:gd name="connsiteX113" fmla="*/ 297656 w 1562100"/>
                <a:gd name="connsiteY113" fmla="*/ 1285875 h 1309687"/>
                <a:gd name="connsiteX114" fmla="*/ 302419 w 1562100"/>
                <a:gd name="connsiteY114" fmla="*/ 1309687 h 1309687"/>
                <a:gd name="connsiteX115" fmla="*/ 342900 w 1562100"/>
                <a:gd name="connsiteY115" fmla="*/ 1309687 h 1309687"/>
                <a:gd name="connsiteX116" fmla="*/ 390525 w 1562100"/>
                <a:gd name="connsiteY116" fmla="*/ 1304925 h 1309687"/>
                <a:gd name="connsiteX117" fmla="*/ 428625 w 1562100"/>
                <a:gd name="connsiteY117" fmla="*/ 1295400 h 1309687"/>
                <a:gd name="connsiteX118" fmla="*/ 454819 w 1562100"/>
                <a:gd name="connsiteY118" fmla="*/ 1302543 h 1309687"/>
                <a:gd name="connsiteX119" fmla="*/ 473869 w 1562100"/>
                <a:gd name="connsiteY119" fmla="*/ 1281112 h 1309687"/>
                <a:gd name="connsiteX120" fmla="*/ 492919 w 1562100"/>
                <a:gd name="connsiteY120" fmla="*/ 1281112 h 1309687"/>
                <a:gd name="connsiteX121" fmla="*/ 507206 w 1562100"/>
                <a:gd name="connsiteY121" fmla="*/ 1250156 h 1309687"/>
                <a:gd name="connsiteX122" fmla="*/ 557213 w 1562100"/>
                <a:gd name="connsiteY122" fmla="*/ 1235868 h 1309687"/>
                <a:gd name="connsiteX123" fmla="*/ 583406 w 1562100"/>
                <a:gd name="connsiteY123" fmla="*/ 1216818 h 1309687"/>
                <a:gd name="connsiteX124" fmla="*/ 590550 w 1562100"/>
                <a:gd name="connsiteY124" fmla="*/ 1178718 h 1309687"/>
                <a:gd name="connsiteX125" fmla="*/ 607219 w 1562100"/>
                <a:gd name="connsiteY125" fmla="*/ 1152525 h 1309687"/>
                <a:gd name="connsiteX126" fmla="*/ 688181 w 1562100"/>
                <a:gd name="connsiteY126" fmla="*/ 1183481 h 1309687"/>
                <a:gd name="connsiteX0" fmla="*/ 688181 w 1562100"/>
                <a:gd name="connsiteY0" fmla="*/ 1183481 h 1309687"/>
                <a:gd name="connsiteX1" fmla="*/ 688181 w 1562100"/>
                <a:gd name="connsiteY1" fmla="*/ 1097756 h 1309687"/>
                <a:gd name="connsiteX2" fmla="*/ 692944 w 1562100"/>
                <a:gd name="connsiteY2" fmla="*/ 1054893 h 1309687"/>
                <a:gd name="connsiteX3" fmla="*/ 692944 w 1562100"/>
                <a:gd name="connsiteY3" fmla="*/ 1009650 h 1309687"/>
                <a:gd name="connsiteX4" fmla="*/ 676275 w 1562100"/>
                <a:gd name="connsiteY4" fmla="*/ 985837 h 1309687"/>
                <a:gd name="connsiteX5" fmla="*/ 690563 w 1562100"/>
                <a:gd name="connsiteY5" fmla="*/ 933450 h 1309687"/>
                <a:gd name="connsiteX6" fmla="*/ 685800 w 1562100"/>
                <a:gd name="connsiteY6" fmla="*/ 907256 h 1309687"/>
                <a:gd name="connsiteX7" fmla="*/ 697706 w 1562100"/>
                <a:gd name="connsiteY7" fmla="*/ 862012 h 1309687"/>
                <a:gd name="connsiteX8" fmla="*/ 714375 w 1562100"/>
                <a:gd name="connsiteY8" fmla="*/ 838200 h 1309687"/>
                <a:gd name="connsiteX9" fmla="*/ 721519 w 1562100"/>
                <a:gd name="connsiteY9" fmla="*/ 804862 h 1309687"/>
                <a:gd name="connsiteX10" fmla="*/ 735806 w 1562100"/>
                <a:gd name="connsiteY10" fmla="*/ 785812 h 1309687"/>
                <a:gd name="connsiteX11" fmla="*/ 792956 w 1562100"/>
                <a:gd name="connsiteY11" fmla="*/ 776287 h 1309687"/>
                <a:gd name="connsiteX12" fmla="*/ 838200 w 1562100"/>
                <a:gd name="connsiteY12" fmla="*/ 759618 h 1309687"/>
                <a:gd name="connsiteX13" fmla="*/ 876300 w 1562100"/>
                <a:gd name="connsiteY13" fmla="*/ 719137 h 1309687"/>
                <a:gd name="connsiteX14" fmla="*/ 923925 w 1562100"/>
                <a:gd name="connsiteY14" fmla="*/ 704850 h 1309687"/>
                <a:gd name="connsiteX15" fmla="*/ 995363 w 1562100"/>
                <a:gd name="connsiteY15" fmla="*/ 700087 h 1309687"/>
                <a:gd name="connsiteX16" fmla="*/ 1040606 w 1562100"/>
                <a:gd name="connsiteY16" fmla="*/ 690562 h 1309687"/>
                <a:gd name="connsiteX17" fmla="*/ 1119188 w 1562100"/>
                <a:gd name="connsiteY17" fmla="*/ 583406 h 1309687"/>
                <a:gd name="connsiteX18" fmla="*/ 1126331 w 1562100"/>
                <a:gd name="connsiteY18" fmla="*/ 550068 h 1309687"/>
                <a:gd name="connsiteX19" fmla="*/ 1152525 w 1562100"/>
                <a:gd name="connsiteY19" fmla="*/ 521493 h 1309687"/>
                <a:gd name="connsiteX20" fmla="*/ 1197769 w 1562100"/>
                <a:gd name="connsiteY20" fmla="*/ 511968 h 1309687"/>
                <a:gd name="connsiteX21" fmla="*/ 1290638 w 1562100"/>
                <a:gd name="connsiteY21" fmla="*/ 435768 h 1309687"/>
                <a:gd name="connsiteX22" fmla="*/ 1314450 w 1562100"/>
                <a:gd name="connsiteY22" fmla="*/ 433387 h 1309687"/>
                <a:gd name="connsiteX23" fmla="*/ 1409700 w 1562100"/>
                <a:gd name="connsiteY23" fmla="*/ 352425 h 1309687"/>
                <a:gd name="connsiteX24" fmla="*/ 1414463 w 1562100"/>
                <a:gd name="connsiteY24" fmla="*/ 333375 h 1309687"/>
                <a:gd name="connsiteX25" fmla="*/ 1507331 w 1562100"/>
                <a:gd name="connsiteY25" fmla="*/ 278606 h 1309687"/>
                <a:gd name="connsiteX26" fmla="*/ 1543050 w 1562100"/>
                <a:gd name="connsiteY26" fmla="*/ 233362 h 1309687"/>
                <a:gd name="connsiteX27" fmla="*/ 1562100 w 1562100"/>
                <a:gd name="connsiteY27" fmla="*/ 195262 h 1309687"/>
                <a:gd name="connsiteX28" fmla="*/ 1512094 w 1562100"/>
                <a:gd name="connsiteY28" fmla="*/ 214312 h 1309687"/>
                <a:gd name="connsiteX29" fmla="*/ 1478756 w 1562100"/>
                <a:gd name="connsiteY29" fmla="*/ 214312 h 1309687"/>
                <a:gd name="connsiteX30" fmla="*/ 1452563 w 1562100"/>
                <a:gd name="connsiteY30" fmla="*/ 252412 h 1309687"/>
                <a:gd name="connsiteX31" fmla="*/ 1421606 w 1562100"/>
                <a:gd name="connsiteY31" fmla="*/ 250031 h 1309687"/>
                <a:gd name="connsiteX32" fmla="*/ 1366838 w 1562100"/>
                <a:gd name="connsiteY32" fmla="*/ 219075 h 1309687"/>
                <a:gd name="connsiteX33" fmla="*/ 1323975 w 1562100"/>
                <a:gd name="connsiteY33" fmla="*/ 207168 h 1309687"/>
                <a:gd name="connsiteX34" fmla="*/ 1238250 w 1562100"/>
                <a:gd name="connsiteY34" fmla="*/ 242887 h 1309687"/>
                <a:gd name="connsiteX35" fmla="*/ 1223963 w 1562100"/>
                <a:gd name="connsiteY35" fmla="*/ 280987 h 1309687"/>
                <a:gd name="connsiteX36" fmla="*/ 1195388 w 1562100"/>
                <a:gd name="connsiteY36" fmla="*/ 338137 h 1309687"/>
                <a:gd name="connsiteX37" fmla="*/ 1109663 w 1562100"/>
                <a:gd name="connsiteY37" fmla="*/ 300037 h 1309687"/>
                <a:gd name="connsiteX38" fmla="*/ 1097756 w 1562100"/>
                <a:gd name="connsiteY38" fmla="*/ 342900 h 1309687"/>
                <a:gd name="connsiteX39" fmla="*/ 1083469 w 1562100"/>
                <a:gd name="connsiteY39" fmla="*/ 376237 h 1309687"/>
                <a:gd name="connsiteX40" fmla="*/ 959644 w 1562100"/>
                <a:gd name="connsiteY40" fmla="*/ 407193 h 1309687"/>
                <a:gd name="connsiteX41" fmla="*/ 945356 w 1562100"/>
                <a:gd name="connsiteY41" fmla="*/ 402431 h 1309687"/>
                <a:gd name="connsiteX42" fmla="*/ 926306 w 1562100"/>
                <a:gd name="connsiteY42" fmla="*/ 423862 h 1309687"/>
                <a:gd name="connsiteX43" fmla="*/ 890588 w 1562100"/>
                <a:gd name="connsiteY43" fmla="*/ 431006 h 1309687"/>
                <a:gd name="connsiteX44" fmla="*/ 854869 w 1562100"/>
                <a:gd name="connsiteY44" fmla="*/ 381000 h 1309687"/>
                <a:gd name="connsiteX45" fmla="*/ 835819 w 1562100"/>
                <a:gd name="connsiteY45" fmla="*/ 369093 h 1309687"/>
                <a:gd name="connsiteX46" fmla="*/ 826294 w 1562100"/>
                <a:gd name="connsiteY46" fmla="*/ 323850 h 1309687"/>
                <a:gd name="connsiteX47" fmla="*/ 792956 w 1562100"/>
                <a:gd name="connsiteY47" fmla="*/ 307181 h 1309687"/>
                <a:gd name="connsiteX48" fmla="*/ 759619 w 1562100"/>
                <a:gd name="connsiteY48" fmla="*/ 300037 h 1309687"/>
                <a:gd name="connsiteX49" fmla="*/ 740569 w 1562100"/>
                <a:gd name="connsiteY49" fmla="*/ 295275 h 1309687"/>
                <a:gd name="connsiteX50" fmla="*/ 728663 w 1562100"/>
                <a:gd name="connsiteY50" fmla="*/ 285750 h 1309687"/>
                <a:gd name="connsiteX51" fmla="*/ 735806 w 1562100"/>
                <a:gd name="connsiteY51" fmla="*/ 259556 h 1309687"/>
                <a:gd name="connsiteX52" fmla="*/ 742950 w 1562100"/>
                <a:gd name="connsiteY52" fmla="*/ 235743 h 1309687"/>
                <a:gd name="connsiteX53" fmla="*/ 700088 w 1562100"/>
                <a:gd name="connsiteY53" fmla="*/ 185737 h 1309687"/>
                <a:gd name="connsiteX54" fmla="*/ 657225 w 1562100"/>
                <a:gd name="connsiteY54" fmla="*/ 64294 h 1309687"/>
                <a:gd name="connsiteX55" fmla="*/ 628650 w 1562100"/>
                <a:gd name="connsiteY55" fmla="*/ 88107 h 1309687"/>
                <a:gd name="connsiteX56" fmla="*/ 500062 w 1562100"/>
                <a:gd name="connsiteY56" fmla="*/ 66676 h 1309687"/>
                <a:gd name="connsiteX57" fmla="*/ 450056 w 1562100"/>
                <a:gd name="connsiteY57" fmla="*/ 2382 h 1309687"/>
                <a:gd name="connsiteX58" fmla="*/ 428625 w 1562100"/>
                <a:gd name="connsiteY58" fmla="*/ 0 h 1309687"/>
                <a:gd name="connsiteX59" fmla="*/ 376238 w 1562100"/>
                <a:gd name="connsiteY59" fmla="*/ 104775 h 1309687"/>
                <a:gd name="connsiteX60" fmla="*/ 314326 w 1562100"/>
                <a:gd name="connsiteY60" fmla="*/ 104774 h 1309687"/>
                <a:gd name="connsiteX61" fmla="*/ 328613 w 1562100"/>
                <a:gd name="connsiteY61" fmla="*/ 183356 h 1309687"/>
                <a:gd name="connsiteX62" fmla="*/ 292894 w 1562100"/>
                <a:gd name="connsiteY62" fmla="*/ 285750 h 1309687"/>
                <a:gd name="connsiteX63" fmla="*/ 264319 w 1562100"/>
                <a:gd name="connsiteY63" fmla="*/ 292893 h 1309687"/>
                <a:gd name="connsiteX64" fmla="*/ 261938 w 1562100"/>
                <a:gd name="connsiteY64" fmla="*/ 307181 h 1309687"/>
                <a:gd name="connsiteX65" fmla="*/ 261938 w 1562100"/>
                <a:gd name="connsiteY65" fmla="*/ 340518 h 1309687"/>
                <a:gd name="connsiteX66" fmla="*/ 228600 w 1562100"/>
                <a:gd name="connsiteY66" fmla="*/ 383381 h 1309687"/>
                <a:gd name="connsiteX67" fmla="*/ 271463 w 1562100"/>
                <a:gd name="connsiteY67" fmla="*/ 400050 h 1309687"/>
                <a:gd name="connsiteX68" fmla="*/ 278606 w 1562100"/>
                <a:gd name="connsiteY68" fmla="*/ 419100 h 1309687"/>
                <a:gd name="connsiteX69" fmla="*/ 257175 w 1562100"/>
                <a:gd name="connsiteY69" fmla="*/ 454818 h 1309687"/>
                <a:gd name="connsiteX70" fmla="*/ 221456 w 1562100"/>
                <a:gd name="connsiteY70" fmla="*/ 464343 h 1309687"/>
                <a:gd name="connsiteX71" fmla="*/ 221456 w 1562100"/>
                <a:gd name="connsiteY71" fmla="*/ 504825 h 1309687"/>
                <a:gd name="connsiteX72" fmla="*/ 254794 w 1562100"/>
                <a:gd name="connsiteY72" fmla="*/ 542925 h 1309687"/>
                <a:gd name="connsiteX73" fmla="*/ 226219 w 1562100"/>
                <a:gd name="connsiteY73" fmla="*/ 607218 h 1309687"/>
                <a:gd name="connsiteX74" fmla="*/ 180975 w 1562100"/>
                <a:gd name="connsiteY74" fmla="*/ 635793 h 1309687"/>
                <a:gd name="connsiteX75" fmla="*/ 183356 w 1562100"/>
                <a:gd name="connsiteY75" fmla="*/ 652462 h 1309687"/>
                <a:gd name="connsiteX76" fmla="*/ 204788 w 1562100"/>
                <a:gd name="connsiteY76" fmla="*/ 661987 h 1309687"/>
                <a:gd name="connsiteX77" fmla="*/ 219075 w 1562100"/>
                <a:gd name="connsiteY77" fmla="*/ 671512 h 1309687"/>
                <a:gd name="connsiteX78" fmla="*/ 223838 w 1562100"/>
                <a:gd name="connsiteY78" fmla="*/ 690562 h 1309687"/>
                <a:gd name="connsiteX79" fmla="*/ 195263 w 1562100"/>
                <a:gd name="connsiteY79" fmla="*/ 716756 h 1309687"/>
                <a:gd name="connsiteX80" fmla="*/ 123825 w 1562100"/>
                <a:gd name="connsiteY80" fmla="*/ 762000 h 1309687"/>
                <a:gd name="connsiteX81" fmla="*/ 123825 w 1562100"/>
                <a:gd name="connsiteY81" fmla="*/ 797718 h 1309687"/>
                <a:gd name="connsiteX82" fmla="*/ 135731 w 1562100"/>
                <a:gd name="connsiteY82" fmla="*/ 828675 h 1309687"/>
                <a:gd name="connsiteX83" fmla="*/ 123825 w 1562100"/>
                <a:gd name="connsiteY83" fmla="*/ 869156 h 1309687"/>
                <a:gd name="connsiteX84" fmla="*/ 76200 w 1562100"/>
                <a:gd name="connsiteY84" fmla="*/ 864393 h 1309687"/>
                <a:gd name="connsiteX85" fmla="*/ 52388 w 1562100"/>
                <a:gd name="connsiteY85" fmla="*/ 809625 h 1309687"/>
                <a:gd name="connsiteX86" fmla="*/ 33338 w 1562100"/>
                <a:gd name="connsiteY86" fmla="*/ 802481 h 1309687"/>
                <a:gd name="connsiteX87" fmla="*/ 23813 w 1562100"/>
                <a:gd name="connsiteY87" fmla="*/ 840581 h 1309687"/>
                <a:gd name="connsiteX88" fmla="*/ 21431 w 1562100"/>
                <a:gd name="connsiteY88" fmla="*/ 850106 h 1309687"/>
                <a:gd name="connsiteX89" fmla="*/ 7144 w 1562100"/>
                <a:gd name="connsiteY89" fmla="*/ 866775 h 1309687"/>
                <a:gd name="connsiteX90" fmla="*/ 0 w 1562100"/>
                <a:gd name="connsiteY90" fmla="*/ 923925 h 1309687"/>
                <a:gd name="connsiteX91" fmla="*/ 23813 w 1562100"/>
                <a:gd name="connsiteY91" fmla="*/ 952500 h 1309687"/>
                <a:gd name="connsiteX92" fmla="*/ 16669 w 1562100"/>
                <a:gd name="connsiteY92" fmla="*/ 992981 h 1309687"/>
                <a:gd name="connsiteX93" fmla="*/ 35719 w 1562100"/>
                <a:gd name="connsiteY93" fmla="*/ 997743 h 1309687"/>
                <a:gd name="connsiteX94" fmla="*/ 69056 w 1562100"/>
                <a:gd name="connsiteY94" fmla="*/ 997743 h 1309687"/>
                <a:gd name="connsiteX95" fmla="*/ 85725 w 1562100"/>
                <a:gd name="connsiteY95" fmla="*/ 988218 h 1309687"/>
                <a:gd name="connsiteX96" fmla="*/ 135731 w 1562100"/>
                <a:gd name="connsiteY96" fmla="*/ 1045368 h 1309687"/>
                <a:gd name="connsiteX97" fmla="*/ 123825 w 1562100"/>
                <a:gd name="connsiteY97" fmla="*/ 1064418 h 1309687"/>
                <a:gd name="connsiteX98" fmla="*/ 133350 w 1562100"/>
                <a:gd name="connsiteY98" fmla="*/ 1092993 h 1309687"/>
                <a:gd name="connsiteX99" fmla="*/ 164306 w 1562100"/>
                <a:gd name="connsiteY99" fmla="*/ 1112043 h 1309687"/>
                <a:gd name="connsiteX100" fmla="*/ 190500 w 1562100"/>
                <a:gd name="connsiteY100" fmla="*/ 1121568 h 1309687"/>
                <a:gd name="connsiteX101" fmla="*/ 216694 w 1562100"/>
                <a:gd name="connsiteY101" fmla="*/ 1128712 h 1309687"/>
                <a:gd name="connsiteX102" fmla="*/ 228600 w 1562100"/>
                <a:gd name="connsiteY102" fmla="*/ 1131093 h 1309687"/>
                <a:gd name="connsiteX103" fmla="*/ 240506 w 1562100"/>
                <a:gd name="connsiteY103" fmla="*/ 1092993 h 1309687"/>
                <a:gd name="connsiteX104" fmla="*/ 269081 w 1562100"/>
                <a:gd name="connsiteY104" fmla="*/ 1097756 h 1309687"/>
                <a:gd name="connsiteX105" fmla="*/ 288131 w 1562100"/>
                <a:gd name="connsiteY105" fmla="*/ 1085850 h 1309687"/>
                <a:gd name="connsiteX106" fmla="*/ 307181 w 1562100"/>
                <a:gd name="connsiteY106" fmla="*/ 1135856 h 1309687"/>
                <a:gd name="connsiteX107" fmla="*/ 330994 w 1562100"/>
                <a:gd name="connsiteY107" fmla="*/ 1150143 h 1309687"/>
                <a:gd name="connsiteX108" fmla="*/ 340519 w 1562100"/>
                <a:gd name="connsiteY108" fmla="*/ 1178718 h 1309687"/>
                <a:gd name="connsiteX109" fmla="*/ 357188 w 1562100"/>
                <a:gd name="connsiteY109" fmla="*/ 1188243 h 1309687"/>
                <a:gd name="connsiteX110" fmla="*/ 364331 w 1562100"/>
                <a:gd name="connsiteY110" fmla="*/ 1219200 h 1309687"/>
                <a:gd name="connsiteX111" fmla="*/ 335756 w 1562100"/>
                <a:gd name="connsiteY111" fmla="*/ 1245393 h 1309687"/>
                <a:gd name="connsiteX112" fmla="*/ 309563 w 1562100"/>
                <a:gd name="connsiteY112" fmla="*/ 1262062 h 1309687"/>
                <a:gd name="connsiteX113" fmla="*/ 297656 w 1562100"/>
                <a:gd name="connsiteY113" fmla="*/ 1285875 h 1309687"/>
                <a:gd name="connsiteX114" fmla="*/ 302419 w 1562100"/>
                <a:gd name="connsiteY114" fmla="*/ 1309687 h 1309687"/>
                <a:gd name="connsiteX115" fmla="*/ 342900 w 1562100"/>
                <a:gd name="connsiteY115" fmla="*/ 1309687 h 1309687"/>
                <a:gd name="connsiteX116" fmla="*/ 390525 w 1562100"/>
                <a:gd name="connsiteY116" fmla="*/ 1304925 h 1309687"/>
                <a:gd name="connsiteX117" fmla="*/ 428625 w 1562100"/>
                <a:gd name="connsiteY117" fmla="*/ 1295400 h 1309687"/>
                <a:gd name="connsiteX118" fmla="*/ 454819 w 1562100"/>
                <a:gd name="connsiteY118" fmla="*/ 1302543 h 1309687"/>
                <a:gd name="connsiteX119" fmla="*/ 473869 w 1562100"/>
                <a:gd name="connsiteY119" fmla="*/ 1281112 h 1309687"/>
                <a:gd name="connsiteX120" fmla="*/ 492919 w 1562100"/>
                <a:gd name="connsiteY120" fmla="*/ 1281112 h 1309687"/>
                <a:gd name="connsiteX121" fmla="*/ 507206 w 1562100"/>
                <a:gd name="connsiteY121" fmla="*/ 1250156 h 1309687"/>
                <a:gd name="connsiteX122" fmla="*/ 557213 w 1562100"/>
                <a:gd name="connsiteY122" fmla="*/ 1235868 h 1309687"/>
                <a:gd name="connsiteX123" fmla="*/ 583406 w 1562100"/>
                <a:gd name="connsiteY123" fmla="*/ 1216818 h 1309687"/>
                <a:gd name="connsiteX124" fmla="*/ 590550 w 1562100"/>
                <a:gd name="connsiteY124" fmla="*/ 1178718 h 1309687"/>
                <a:gd name="connsiteX125" fmla="*/ 607219 w 1562100"/>
                <a:gd name="connsiteY125" fmla="*/ 1152525 h 1309687"/>
                <a:gd name="connsiteX126" fmla="*/ 688181 w 1562100"/>
                <a:gd name="connsiteY126" fmla="*/ 1183481 h 1309687"/>
                <a:gd name="connsiteX0" fmla="*/ 688181 w 1562100"/>
                <a:gd name="connsiteY0" fmla="*/ 1183481 h 1309687"/>
                <a:gd name="connsiteX1" fmla="*/ 688181 w 1562100"/>
                <a:gd name="connsiteY1" fmla="*/ 1097756 h 1309687"/>
                <a:gd name="connsiteX2" fmla="*/ 692944 w 1562100"/>
                <a:gd name="connsiteY2" fmla="*/ 1054893 h 1309687"/>
                <a:gd name="connsiteX3" fmla="*/ 692944 w 1562100"/>
                <a:gd name="connsiteY3" fmla="*/ 1009650 h 1309687"/>
                <a:gd name="connsiteX4" fmla="*/ 676275 w 1562100"/>
                <a:gd name="connsiteY4" fmla="*/ 985837 h 1309687"/>
                <a:gd name="connsiteX5" fmla="*/ 690563 w 1562100"/>
                <a:gd name="connsiteY5" fmla="*/ 933450 h 1309687"/>
                <a:gd name="connsiteX6" fmla="*/ 685800 w 1562100"/>
                <a:gd name="connsiteY6" fmla="*/ 907256 h 1309687"/>
                <a:gd name="connsiteX7" fmla="*/ 697706 w 1562100"/>
                <a:gd name="connsiteY7" fmla="*/ 862012 h 1309687"/>
                <a:gd name="connsiteX8" fmla="*/ 714375 w 1562100"/>
                <a:gd name="connsiteY8" fmla="*/ 838200 h 1309687"/>
                <a:gd name="connsiteX9" fmla="*/ 721519 w 1562100"/>
                <a:gd name="connsiteY9" fmla="*/ 804862 h 1309687"/>
                <a:gd name="connsiteX10" fmla="*/ 735806 w 1562100"/>
                <a:gd name="connsiteY10" fmla="*/ 785812 h 1309687"/>
                <a:gd name="connsiteX11" fmla="*/ 792956 w 1562100"/>
                <a:gd name="connsiteY11" fmla="*/ 776287 h 1309687"/>
                <a:gd name="connsiteX12" fmla="*/ 838200 w 1562100"/>
                <a:gd name="connsiteY12" fmla="*/ 759618 h 1309687"/>
                <a:gd name="connsiteX13" fmla="*/ 876300 w 1562100"/>
                <a:gd name="connsiteY13" fmla="*/ 719137 h 1309687"/>
                <a:gd name="connsiteX14" fmla="*/ 923925 w 1562100"/>
                <a:gd name="connsiteY14" fmla="*/ 704850 h 1309687"/>
                <a:gd name="connsiteX15" fmla="*/ 995363 w 1562100"/>
                <a:gd name="connsiteY15" fmla="*/ 700087 h 1309687"/>
                <a:gd name="connsiteX16" fmla="*/ 1040606 w 1562100"/>
                <a:gd name="connsiteY16" fmla="*/ 690562 h 1309687"/>
                <a:gd name="connsiteX17" fmla="*/ 1119188 w 1562100"/>
                <a:gd name="connsiteY17" fmla="*/ 583406 h 1309687"/>
                <a:gd name="connsiteX18" fmla="*/ 1126331 w 1562100"/>
                <a:gd name="connsiteY18" fmla="*/ 550068 h 1309687"/>
                <a:gd name="connsiteX19" fmla="*/ 1152525 w 1562100"/>
                <a:gd name="connsiteY19" fmla="*/ 521493 h 1309687"/>
                <a:gd name="connsiteX20" fmla="*/ 1197769 w 1562100"/>
                <a:gd name="connsiteY20" fmla="*/ 511968 h 1309687"/>
                <a:gd name="connsiteX21" fmla="*/ 1290638 w 1562100"/>
                <a:gd name="connsiteY21" fmla="*/ 435768 h 1309687"/>
                <a:gd name="connsiteX22" fmla="*/ 1314450 w 1562100"/>
                <a:gd name="connsiteY22" fmla="*/ 433387 h 1309687"/>
                <a:gd name="connsiteX23" fmla="*/ 1409700 w 1562100"/>
                <a:gd name="connsiteY23" fmla="*/ 352425 h 1309687"/>
                <a:gd name="connsiteX24" fmla="*/ 1414463 w 1562100"/>
                <a:gd name="connsiteY24" fmla="*/ 333375 h 1309687"/>
                <a:gd name="connsiteX25" fmla="*/ 1507331 w 1562100"/>
                <a:gd name="connsiteY25" fmla="*/ 278606 h 1309687"/>
                <a:gd name="connsiteX26" fmla="*/ 1543050 w 1562100"/>
                <a:gd name="connsiteY26" fmla="*/ 233362 h 1309687"/>
                <a:gd name="connsiteX27" fmla="*/ 1562100 w 1562100"/>
                <a:gd name="connsiteY27" fmla="*/ 195262 h 1309687"/>
                <a:gd name="connsiteX28" fmla="*/ 1512094 w 1562100"/>
                <a:gd name="connsiteY28" fmla="*/ 214312 h 1309687"/>
                <a:gd name="connsiteX29" fmla="*/ 1478756 w 1562100"/>
                <a:gd name="connsiteY29" fmla="*/ 214312 h 1309687"/>
                <a:gd name="connsiteX30" fmla="*/ 1452563 w 1562100"/>
                <a:gd name="connsiteY30" fmla="*/ 252412 h 1309687"/>
                <a:gd name="connsiteX31" fmla="*/ 1421606 w 1562100"/>
                <a:gd name="connsiteY31" fmla="*/ 250031 h 1309687"/>
                <a:gd name="connsiteX32" fmla="*/ 1366838 w 1562100"/>
                <a:gd name="connsiteY32" fmla="*/ 219075 h 1309687"/>
                <a:gd name="connsiteX33" fmla="*/ 1323975 w 1562100"/>
                <a:gd name="connsiteY33" fmla="*/ 207168 h 1309687"/>
                <a:gd name="connsiteX34" fmla="*/ 1238250 w 1562100"/>
                <a:gd name="connsiteY34" fmla="*/ 242887 h 1309687"/>
                <a:gd name="connsiteX35" fmla="*/ 1223963 w 1562100"/>
                <a:gd name="connsiteY35" fmla="*/ 280987 h 1309687"/>
                <a:gd name="connsiteX36" fmla="*/ 1195388 w 1562100"/>
                <a:gd name="connsiteY36" fmla="*/ 338137 h 1309687"/>
                <a:gd name="connsiteX37" fmla="*/ 1109663 w 1562100"/>
                <a:gd name="connsiteY37" fmla="*/ 300037 h 1309687"/>
                <a:gd name="connsiteX38" fmla="*/ 1097756 w 1562100"/>
                <a:gd name="connsiteY38" fmla="*/ 342900 h 1309687"/>
                <a:gd name="connsiteX39" fmla="*/ 1083469 w 1562100"/>
                <a:gd name="connsiteY39" fmla="*/ 376237 h 1309687"/>
                <a:gd name="connsiteX40" fmla="*/ 959644 w 1562100"/>
                <a:gd name="connsiteY40" fmla="*/ 407193 h 1309687"/>
                <a:gd name="connsiteX41" fmla="*/ 945356 w 1562100"/>
                <a:gd name="connsiteY41" fmla="*/ 402431 h 1309687"/>
                <a:gd name="connsiteX42" fmla="*/ 926306 w 1562100"/>
                <a:gd name="connsiteY42" fmla="*/ 423862 h 1309687"/>
                <a:gd name="connsiteX43" fmla="*/ 890588 w 1562100"/>
                <a:gd name="connsiteY43" fmla="*/ 431006 h 1309687"/>
                <a:gd name="connsiteX44" fmla="*/ 854869 w 1562100"/>
                <a:gd name="connsiteY44" fmla="*/ 381000 h 1309687"/>
                <a:gd name="connsiteX45" fmla="*/ 835819 w 1562100"/>
                <a:gd name="connsiteY45" fmla="*/ 369093 h 1309687"/>
                <a:gd name="connsiteX46" fmla="*/ 826294 w 1562100"/>
                <a:gd name="connsiteY46" fmla="*/ 323850 h 1309687"/>
                <a:gd name="connsiteX47" fmla="*/ 792956 w 1562100"/>
                <a:gd name="connsiteY47" fmla="*/ 307181 h 1309687"/>
                <a:gd name="connsiteX48" fmla="*/ 759619 w 1562100"/>
                <a:gd name="connsiteY48" fmla="*/ 300037 h 1309687"/>
                <a:gd name="connsiteX49" fmla="*/ 740569 w 1562100"/>
                <a:gd name="connsiteY49" fmla="*/ 295275 h 1309687"/>
                <a:gd name="connsiteX50" fmla="*/ 728663 w 1562100"/>
                <a:gd name="connsiteY50" fmla="*/ 285750 h 1309687"/>
                <a:gd name="connsiteX51" fmla="*/ 735806 w 1562100"/>
                <a:gd name="connsiteY51" fmla="*/ 259556 h 1309687"/>
                <a:gd name="connsiteX52" fmla="*/ 742950 w 1562100"/>
                <a:gd name="connsiteY52" fmla="*/ 235743 h 1309687"/>
                <a:gd name="connsiteX53" fmla="*/ 700088 w 1562100"/>
                <a:gd name="connsiteY53" fmla="*/ 185737 h 1309687"/>
                <a:gd name="connsiteX54" fmla="*/ 671513 w 1562100"/>
                <a:gd name="connsiteY54" fmla="*/ 92869 h 1309687"/>
                <a:gd name="connsiteX55" fmla="*/ 657225 w 1562100"/>
                <a:gd name="connsiteY55" fmla="*/ 64294 h 1309687"/>
                <a:gd name="connsiteX56" fmla="*/ 628650 w 1562100"/>
                <a:gd name="connsiteY56" fmla="*/ 88107 h 1309687"/>
                <a:gd name="connsiteX57" fmla="*/ 500062 w 1562100"/>
                <a:gd name="connsiteY57" fmla="*/ 66676 h 1309687"/>
                <a:gd name="connsiteX58" fmla="*/ 450056 w 1562100"/>
                <a:gd name="connsiteY58" fmla="*/ 2382 h 1309687"/>
                <a:gd name="connsiteX59" fmla="*/ 428625 w 1562100"/>
                <a:gd name="connsiteY59" fmla="*/ 0 h 1309687"/>
                <a:gd name="connsiteX60" fmla="*/ 376238 w 1562100"/>
                <a:gd name="connsiteY60" fmla="*/ 104775 h 1309687"/>
                <a:gd name="connsiteX61" fmla="*/ 314326 w 1562100"/>
                <a:gd name="connsiteY61" fmla="*/ 104774 h 1309687"/>
                <a:gd name="connsiteX62" fmla="*/ 328613 w 1562100"/>
                <a:gd name="connsiteY62" fmla="*/ 183356 h 1309687"/>
                <a:gd name="connsiteX63" fmla="*/ 292894 w 1562100"/>
                <a:gd name="connsiteY63" fmla="*/ 285750 h 1309687"/>
                <a:gd name="connsiteX64" fmla="*/ 264319 w 1562100"/>
                <a:gd name="connsiteY64" fmla="*/ 292893 h 1309687"/>
                <a:gd name="connsiteX65" fmla="*/ 261938 w 1562100"/>
                <a:gd name="connsiteY65" fmla="*/ 307181 h 1309687"/>
                <a:gd name="connsiteX66" fmla="*/ 261938 w 1562100"/>
                <a:gd name="connsiteY66" fmla="*/ 340518 h 1309687"/>
                <a:gd name="connsiteX67" fmla="*/ 228600 w 1562100"/>
                <a:gd name="connsiteY67" fmla="*/ 383381 h 1309687"/>
                <a:gd name="connsiteX68" fmla="*/ 271463 w 1562100"/>
                <a:gd name="connsiteY68" fmla="*/ 400050 h 1309687"/>
                <a:gd name="connsiteX69" fmla="*/ 278606 w 1562100"/>
                <a:gd name="connsiteY69" fmla="*/ 419100 h 1309687"/>
                <a:gd name="connsiteX70" fmla="*/ 257175 w 1562100"/>
                <a:gd name="connsiteY70" fmla="*/ 454818 h 1309687"/>
                <a:gd name="connsiteX71" fmla="*/ 221456 w 1562100"/>
                <a:gd name="connsiteY71" fmla="*/ 464343 h 1309687"/>
                <a:gd name="connsiteX72" fmla="*/ 221456 w 1562100"/>
                <a:gd name="connsiteY72" fmla="*/ 504825 h 1309687"/>
                <a:gd name="connsiteX73" fmla="*/ 254794 w 1562100"/>
                <a:gd name="connsiteY73" fmla="*/ 542925 h 1309687"/>
                <a:gd name="connsiteX74" fmla="*/ 226219 w 1562100"/>
                <a:gd name="connsiteY74" fmla="*/ 607218 h 1309687"/>
                <a:gd name="connsiteX75" fmla="*/ 180975 w 1562100"/>
                <a:gd name="connsiteY75" fmla="*/ 635793 h 1309687"/>
                <a:gd name="connsiteX76" fmla="*/ 183356 w 1562100"/>
                <a:gd name="connsiteY76" fmla="*/ 652462 h 1309687"/>
                <a:gd name="connsiteX77" fmla="*/ 204788 w 1562100"/>
                <a:gd name="connsiteY77" fmla="*/ 661987 h 1309687"/>
                <a:gd name="connsiteX78" fmla="*/ 219075 w 1562100"/>
                <a:gd name="connsiteY78" fmla="*/ 671512 h 1309687"/>
                <a:gd name="connsiteX79" fmla="*/ 223838 w 1562100"/>
                <a:gd name="connsiteY79" fmla="*/ 690562 h 1309687"/>
                <a:gd name="connsiteX80" fmla="*/ 195263 w 1562100"/>
                <a:gd name="connsiteY80" fmla="*/ 716756 h 1309687"/>
                <a:gd name="connsiteX81" fmla="*/ 123825 w 1562100"/>
                <a:gd name="connsiteY81" fmla="*/ 762000 h 1309687"/>
                <a:gd name="connsiteX82" fmla="*/ 123825 w 1562100"/>
                <a:gd name="connsiteY82" fmla="*/ 797718 h 1309687"/>
                <a:gd name="connsiteX83" fmla="*/ 135731 w 1562100"/>
                <a:gd name="connsiteY83" fmla="*/ 828675 h 1309687"/>
                <a:gd name="connsiteX84" fmla="*/ 123825 w 1562100"/>
                <a:gd name="connsiteY84" fmla="*/ 869156 h 1309687"/>
                <a:gd name="connsiteX85" fmla="*/ 76200 w 1562100"/>
                <a:gd name="connsiteY85" fmla="*/ 864393 h 1309687"/>
                <a:gd name="connsiteX86" fmla="*/ 52388 w 1562100"/>
                <a:gd name="connsiteY86" fmla="*/ 809625 h 1309687"/>
                <a:gd name="connsiteX87" fmla="*/ 33338 w 1562100"/>
                <a:gd name="connsiteY87" fmla="*/ 802481 h 1309687"/>
                <a:gd name="connsiteX88" fmla="*/ 23813 w 1562100"/>
                <a:gd name="connsiteY88" fmla="*/ 840581 h 1309687"/>
                <a:gd name="connsiteX89" fmla="*/ 21431 w 1562100"/>
                <a:gd name="connsiteY89" fmla="*/ 850106 h 1309687"/>
                <a:gd name="connsiteX90" fmla="*/ 7144 w 1562100"/>
                <a:gd name="connsiteY90" fmla="*/ 866775 h 1309687"/>
                <a:gd name="connsiteX91" fmla="*/ 0 w 1562100"/>
                <a:gd name="connsiteY91" fmla="*/ 923925 h 1309687"/>
                <a:gd name="connsiteX92" fmla="*/ 23813 w 1562100"/>
                <a:gd name="connsiteY92" fmla="*/ 952500 h 1309687"/>
                <a:gd name="connsiteX93" fmla="*/ 16669 w 1562100"/>
                <a:gd name="connsiteY93" fmla="*/ 992981 h 1309687"/>
                <a:gd name="connsiteX94" fmla="*/ 35719 w 1562100"/>
                <a:gd name="connsiteY94" fmla="*/ 997743 h 1309687"/>
                <a:gd name="connsiteX95" fmla="*/ 69056 w 1562100"/>
                <a:gd name="connsiteY95" fmla="*/ 997743 h 1309687"/>
                <a:gd name="connsiteX96" fmla="*/ 85725 w 1562100"/>
                <a:gd name="connsiteY96" fmla="*/ 988218 h 1309687"/>
                <a:gd name="connsiteX97" fmla="*/ 135731 w 1562100"/>
                <a:gd name="connsiteY97" fmla="*/ 1045368 h 1309687"/>
                <a:gd name="connsiteX98" fmla="*/ 123825 w 1562100"/>
                <a:gd name="connsiteY98" fmla="*/ 1064418 h 1309687"/>
                <a:gd name="connsiteX99" fmla="*/ 133350 w 1562100"/>
                <a:gd name="connsiteY99" fmla="*/ 1092993 h 1309687"/>
                <a:gd name="connsiteX100" fmla="*/ 164306 w 1562100"/>
                <a:gd name="connsiteY100" fmla="*/ 1112043 h 1309687"/>
                <a:gd name="connsiteX101" fmla="*/ 190500 w 1562100"/>
                <a:gd name="connsiteY101" fmla="*/ 1121568 h 1309687"/>
                <a:gd name="connsiteX102" fmla="*/ 216694 w 1562100"/>
                <a:gd name="connsiteY102" fmla="*/ 1128712 h 1309687"/>
                <a:gd name="connsiteX103" fmla="*/ 228600 w 1562100"/>
                <a:gd name="connsiteY103" fmla="*/ 1131093 h 1309687"/>
                <a:gd name="connsiteX104" fmla="*/ 240506 w 1562100"/>
                <a:gd name="connsiteY104" fmla="*/ 1092993 h 1309687"/>
                <a:gd name="connsiteX105" fmla="*/ 269081 w 1562100"/>
                <a:gd name="connsiteY105" fmla="*/ 1097756 h 1309687"/>
                <a:gd name="connsiteX106" fmla="*/ 288131 w 1562100"/>
                <a:gd name="connsiteY106" fmla="*/ 1085850 h 1309687"/>
                <a:gd name="connsiteX107" fmla="*/ 307181 w 1562100"/>
                <a:gd name="connsiteY107" fmla="*/ 1135856 h 1309687"/>
                <a:gd name="connsiteX108" fmla="*/ 330994 w 1562100"/>
                <a:gd name="connsiteY108" fmla="*/ 1150143 h 1309687"/>
                <a:gd name="connsiteX109" fmla="*/ 340519 w 1562100"/>
                <a:gd name="connsiteY109" fmla="*/ 1178718 h 1309687"/>
                <a:gd name="connsiteX110" fmla="*/ 357188 w 1562100"/>
                <a:gd name="connsiteY110" fmla="*/ 1188243 h 1309687"/>
                <a:gd name="connsiteX111" fmla="*/ 364331 w 1562100"/>
                <a:gd name="connsiteY111" fmla="*/ 1219200 h 1309687"/>
                <a:gd name="connsiteX112" fmla="*/ 335756 w 1562100"/>
                <a:gd name="connsiteY112" fmla="*/ 1245393 h 1309687"/>
                <a:gd name="connsiteX113" fmla="*/ 309563 w 1562100"/>
                <a:gd name="connsiteY113" fmla="*/ 1262062 h 1309687"/>
                <a:gd name="connsiteX114" fmla="*/ 297656 w 1562100"/>
                <a:gd name="connsiteY114" fmla="*/ 1285875 h 1309687"/>
                <a:gd name="connsiteX115" fmla="*/ 302419 w 1562100"/>
                <a:gd name="connsiteY115" fmla="*/ 1309687 h 1309687"/>
                <a:gd name="connsiteX116" fmla="*/ 342900 w 1562100"/>
                <a:gd name="connsiteY116" fmla="*/ 1309687 h 1309687"/>
                <a:gd name="connsiteX117" fmla="*/ 390525 w 1562100"/>
                <a:gd name="connsiteY117" fmla="*/ 1304925 h 1309687"/>
                <a:gd name="connsiteX118" fmla="*/ 428625 w 1562100"/>
                <a:gd name="connsiteY118" fmla="*/ 1295400 h 1309687"/>
                <a:gd name="connsiteX119" fmla="*/ 454819 w 1562100"/>
                <a:gd name="connsiteY119" fmla="*/ 1302543 h 1309687"/>
                <a:gd name="connsiteX120" fmla="*/ 473869 w 1562100"/>
                <a:gd name="connsiteY120" fmla="*/ 1281112 h 1309687"/>
                <a:gd name="connsiteX121" fmla="*/ 492919 w 1562100"/>
                <a:gd name="connsiteY121" fmla="*/ 1281112 h 1309687"/>
                <a:gd name="connsiteX122" fmla="*/ 507206 w 1562100"/>
                <a:gd name="connsiteY122" fmla="*/ 1250156 h 1309687"/>
                <a:gd name="connsiteX123" fmla="*/ 557213 w 1562100"/>
                <a:gd name="connsiteY123" fmla="*/ 1235868 h 1309687"/>
                <a:gd name="connsiteX124" fmla="*/ 583406 w 1562100"/>
                <a:gd name="connsiteY124" fmla="*/ 1216818 h 1309687"/>
                <a:gd name="connsiteX125" fmla="*/ 590550 w 1562100"/>
                <a:gd name="connsiteY125" fmla="*/ 1178718 h 1309687"/>
                <a:gd name="connsiteX126" fmla="*/ 607219 w 1562100"/>
                <a:gd name="connsiteY126" fmla="*/ 1152525 h 1309687"/>
                <a:gd name="connsiteX127" fmla="*/ 688181 w 1562100"/>
                <a:gd name="connsiteY127" fmla="*/ 1183481 h 1309687"/>
                <a:gd name="connsiteX0" fmla="*/ 688181 w 1562100"/>
                <a:gd name="connsiteY0" fmla="*/ 1183481 h 1309687"/>
                <a:gd name="connsiteX1" fmla="*/ 688181 w 1562100"/>
                <a:gd name="connsiteY1" fmla="*/ 1097756 h 1309687"/>
                <a:gd name="connsiteX2" fmla="*/ 692944 w 1562100"/>
                <a:gd name="connsiteY2" fmla="*/ 1054893 h 1309687"/>
                <a:gd name="connsiteX3" fmla="*/ 692944 w 1562100"/>
                <a:gd name="connsiteY3" fmla="*/ 1009650 h 1309687"/>
                <a:gd name="connsiteX4" fmla="*/ 676275 w 1562100"/>
                <a:gd name="connsiteY4" fmla="*/ 985837 h 1309687"/>
                <a:gd name="connsiteX5" fmla="*/ 690563 w 1562100"/>
                <a:gd name="connsiteY5" fmla="*/ 933450 h 1309687"/>
                <a:gd name="connsiteX6" fmla="*/ 685800 w 1562100"/>
                <a:gd name="connsiteY6" fmla="*/ 907256 h 1309687"/>
                <a:gd name="connsiteX7" fmla="*/ 697706 w 1562100"/>
                <a:gd name="connsiteY7" fmla="*/ 862012 h 1309687"/>
                <a:gd name="connsiteX8" fmla="*/ 714375 w 1562100"/>
                <a:gd name="connsiteY8" fmla="*/ 838200 h 1309687"/>
                <a:gd name="connsiteX9" fmla="*/ 721519 w 1562100"/>
                <a:gd name="connsiteY9" fmla="*/ 804862 h 1309687"/>
                <a:gd name="connsiteX10" fmla="*/ 735806 w 1562100"/>
                <a:gd name="connsiteY10" fmla="*/ 785812 h 1309687"/>
                <a:gd name="connsiteX11" fmla="*/ 792956 w 1562100"/>
                <a:gd name="connsiteY11" fmla="*/ 776287 h 1309687"/>
                <a:gd name="connsiteX12" fmla="*/ 838200 w 1562100"/>
                <a:gd name="connsiteY12" fmla="*/ 759618 h 1309687"/>
                <a:gd name="connsiteX13" fmla="*/ 876300 w 1562100"/>
                <a:gd name="connsiteY13" fmla="*/ 719137 h 1309687"/>
                <a:gd name="connsiteX14" fmla="*/ 923925 w 1562100"/>
                <a:gd name="connsiteY14" fmla="*/ 704850 h 1309687"/>
                <a:gd name="connsiteX15" fmla="*/ 995363 w 1562100"/>
                <a:gd name="connsiteY15" fmla="*/ 700087 h 1309687"/>
                <a:gd name="connsiteX16" fmla="*/ 1040606 w 1562100"/>
                <a:gd name="connsiteY16" fmla="*/ 690562 h 1309687"/>
                <a:gd name="connsiteX17" fmla="*/ 1119188 w 1562100"/>
                <a:gd name="connsiteY17" fmla="*/ 583406 h 1309687"/>
                <a:gd name="connsiteX18" fmla="*/ 1126331 w 1562100"/>
                <a:gd name="connsiteY18" fmla="*/ 550068 h 1309687"/>
                <a:gd name="connsiteX19" fmla="*/ 1152525 w 1562100"/>
                <a:gd name="connsiteY19" fmla="*/ 521493 h 1309687"/>
                <a:gd name="connsiteX20" fmla="*/ 1197769 w 1562100"/>
                <a:gd name="connsiteY20" fmla="*/ 511968 h 1309687"/>
                <a:gd name="connsiteX21" fmla="*/ 1290638 w 1562100"/>
                <a:gd name="connsiteY21" fmla="*/ 435768 h 1309687"/>
                <a:gd name="connsiteX22" fmla="*/ 1314450 w 1562100"/>
                <a:gd name="connsiteY22" fmla="*/ 433387 h 1309687"/>
                <a:gd name="connsiteX23" fmla="*/ 1409700 w 1562100"/>
                <a:gd name="connsiteY23" fmla="*/ 352425 h 1309687"/>
                <a:gd name="connsiteX24" fmla="*/ 1414463 w 1562100"/>
                <a:gd name="connsiteY24" fmla="*/ 333375 h 1309687"/>
                <a:gd name="connsiteX25" fmla="*/ 1507331 w 1562100"/>
                <a:gd name="connsiteY25" fmla="*/ 278606 h 1309687"/>
                <a:gd name="connsiteX26" fmla="*/ 1543050 w 1562100"/>
                <a:gd name="connsiteY26" fmla="*/ 233362 h 1309687"/>
                <a:gd name="connsiteX27" fmla="*/ 1562100 w 1562100"/>
                <a:gd name="connsiteY27" fmla="*/ 195262 h 1309687"/>
                <a:gd name="connsiteX28" fmla="*/ 1512094 w 1562100"/>
                <a:gd name="connsiteY28" fmla="*/ 214312 h 1309687"/>
                <a:gd name="connsiteX29" fmla="*/ 1478756 w 1562100"/>
                <a:gd name="connsiteY29" fmla="*/ 214312 h 1309687"/>
                <a:gd name="connsiteX30" fmla="*/ 1452563 w 1562100"/>
                <a:gd name="connsiteY30" fmla="*/ 252412 h 1309687"/>
                <a:gd name="connsiteX31" fmla="*/ 1421606 w 1562100"/>
                <a:gd name="connsiteY31" fmla="*/ 250031 h 1309687"/>
                <a:gd name="connsiteX32" fmla="*/ 1366838 w 1562100"/>
                <a:gd name="connsiteY32" fmla="*/ 219075 h 1309687"/>
                <a:gd name="connsiteX33" fmla="*/ 1323975 w 1562100"/>
                <a:gd name="connsiteY33" fmla="*/ 207168 h 1309687"/>
                <a:gd name="connsiteX34" fmla="*/ 1238250 w 1562100"/>
                <a:gd name="connsiteY34" fmla="*/ 242887 h 1309687"/>
                <a:gd name="connsiteX35" fmla="*/ 1223963 w 1562100"/>
                <a:gd name="connsiteY35" fmla="*/ 280987 h 1309687"/>
                <a:gd name="connsiteX36" fmla="*/ 1195388 w 1562100"/>
                <a:gd name="connsiteY36" fmla="*/ 338137 h 1309687"/>
                <a:gd name="connsiteX37" fmla="*/ 1109663 w 1562100"/>
                <a:gd name="connsiteY37" fmla="*/ 300037 h 1309687"/>
                <a:gd name="connsiteX38" fmla="*/ 1097756 w 1562100"/>
                <a:gd name="connsiteY38" fmla="*/ 342900 h 1309687"/>
                <a:gd name="connsiteX39" fmla="*/ 1083469 w 1562100"/>
                <a:gd name="connsiteY39" fmla="*/ 376237 h 1309687"/>
                <a:gd name="connsiteX40" fmla="*/ 959644 w 1562100"/>
                <a:gd name="connsiteY40" fmla="*/ 407193 h 1309687"/>
                <a:gd name="connsiteX41" fmla="*/ 945356 w 1562100"/>
                <a:gd name="connsiteY41" fmla="*/ 402431 h 1309687"/>
                <a:gd name="connsiteX42" fmla="*/ 926306 w 1562100"/>
                <a:gd name="connsiteY42" fmla="*/ 423862 h 1309687"/>
                <a:gd name="connsiteX43" fmla="*/ 890588 w 1562100"/>
                <a:gd name="connsiteY43" fmla="*/ 431006 h 1309687"/>
                <a:gd name="connsiteX44" fmla="*/ 854869 w 1562100"/>
                <a:gd name="connsiteY44" fmla="*/ 381000 h 1309687"/>
                <a:gd name="connsiteX45" fmla="*/ 835819 w 1562100"/>
                <a:gd name="connsiteY45" fmla="*/ 369093 h 1309687"/>
                <a:gd name="connsiteX46" fmla="*/ 826294 w 1562100"/>
                <a:gd name="connsiteY46" fmla="*/ 323850 h 1309687"/>
                <a:gd name="connsiteX47" fmla="*/ 792956 w 1562100"/>
                <a:gd name="connsiteY47" fmla="*/ 307181 h 1309687"/>
                <a:gd name="connsiteX48" fmla="*/ 759619 w 1562100"/>
                <a:gd name="connsiteY48" fmla="*/ 300037 h 1309687"/>
                <a:gd name="connsiteX49" fmla="*/ 740569 w 1562100"/>
                <a:gd name="connsiteY49" fmla="*/ 295275 h 1309687"/>
                <a:gd name="connsiteX50" fmla="*/ 728663 w 1562100"/>
                <a:gd name="connsiteY50" fmla="*/ 285750 h 1309687"/>
                <a:gd name="connsiteX51" fmla="*/ 735806 w 1562100"/>
                <a:gd name="connsiteY51" fmla="*/ 259556 h 1309687"/>
                <a:gd name="connsiteX52" fmla="*/ 742950 w 1562100"/>
                <a:gd name="connsiteY52" fmla="*/ 235743 h 1309687"/>
                <a:gd name="connsiteX53" fmla="*/ 700088 w 1562100"/>
                <a:gd name="connsiteY53" fmla="*/ 185737 h 1309687"/>
                <a:gd name="connsiteX54" fmla="*/ 704851 w 1562100"/>
                <a:gd name="connsiteY54" fmla="*/ 92869 h 1309687"/>
                <a:gd name="connsiteX55" fmla="*/ 657225 w 1562100"/>
                <a:gd name="connsiteY55" fmla="*/ 64294 h 1309687"/>
                <a:gd name="connsiteX56" fmla="*/ 628650 w 1562100"/>
                <a:gd name="connsiteY56" fmla="*/ 88107 h 1309687"/>
                <a:gd name="connsiteX57" fmla="*/ 500062 w 1562100"/>
                <a:gd name="connsiteY57" fmla="*/ 66676 h 1309687"/>
                <a:gd name="connsiteX58" fmla="*/ 450056 w 1562100"/>
                <a:gd name="connsiteY58" fmla="*/ 2382 h 1309687"/>
                <a:gd name="connsiteX59" fmla="*/ 428625 w 1562100"/>
                <a:gd name="connsiteY59" fmla="*/ 0 h 1309687"/>
                <a:gd name="connsiteX60" fmla="*/ 376238 w 1562100"/>
                <a:gd name="connsiteY60" fmla="*/ 104775 h 1309687"/>
                <a:gd name="connsiteX61" fmla="*/ 314326 w 1562100"/>
                <a:gd name="connsiteY61" fmla="*/ 104774 h 1309687"/>
                <a:gd name="connsiteX62" fmla="*/ 328613 w 1562100"/>
                <a:gd name="connsiteY62" fmla="*/ 183356 h 1309687"/>
                <a:gd name="connsiteX63" fmla="*/ 292894 w 1562100"/>
                <a:gd name="connsiteY63" fmla="*/ 285750 h 1309687"/>
                <a:gd name="connsiteX64" fmla="*/ 264319 w 1562100"/>
                <a:gd name="connsiteY64" fmla="*/ 292893 h 1309687"/>
                <a:gd name="connsiteX65" fmla="*/ 261938 w 1562100"/>
                <a:gd name="connsiteY65" fmla="*/ 307181 h 1309687"/>
                <a:gd name="connsiteX66" fmla="*/ 261938 w 1562100"/>
                <a:gd name="connsiteY66" fmla="*/ 340518 h 1309687"/>
                <a:gd name="connsiteX67" fmla="*/ 228600 w 1562100"/>
                <a:gd name="connsiteY67" fmla="*/ 383381 h 1309687"/>
                <a:gd name="connsiteX68" fmla="*/ 271463 w 1562100"/>
                <a:gd name="connsiteY68" fmla="*/ 400050 h 1309687"/>
                <a:gd name="connsiteX69" fmla="*/ 278606 w 1562100"/>
                <a:gd name="connsiteY69" fmla="*/ 419100 h 1309687"/>
                <a:gd name="connsiteX70" fmla="*/ 257175 w 1562100"/>
                <a:gd name="connsiteY70" fmla="*/ 454818 h 1309687"/>
                <a:gd name="connsiteX71" fmla="*/ 221456 w 1562100"/>
                <a:gd name="connsiteY71" fmla="*/ 464343 h 1309687"/>
                <a:gd name="connsiteX72" fmla="*/ 221456 w 1562100"/>
                <a:gd name="connsiteY72" fmla="*/ 504825 h 1309687"/>
                <a:gd name="connsiteX73" fmla="*/ 254794 w 1562100"/>
                <a:gd name="connsiteY73" fmla="*/ 542925 h 1309687"/>
                <a:gd name="connsiteX74" fmla="*/ 226219 w 1562100"/>
                <a:gd name="connsiteY74" fmla="*/ 607218 h 1309687"/>
                <a:gd name="connsiteX75" fmla="*/ 180975 w 1562100"/>
                <a:gd name="connsiteY75" fmla="*/ 635793 h 1309687"/>
                <a:gd name="connsiteX76" fmla="*/ 183356 w 1562100"/>
                <a:gd name="connsiteY76" fmla="*/ 652462 h 1309687"/>
                <a:gd name="connsiteX77" fmla="*/ 204788 w 1562100"/>
                <a:gd name="connsiteY77" fmla="*/ 661987 h 1309687"/>
                <a:gd name="connsiteX78" fmla="*/ 219075 w 1562100"/>
                <a:gd name="connsiteY78" fmla="*/ 671512 h 1309687"/>
                <a:gd name="connsiteX79" fmla="*/ 223838 w 1562100"/>
                <a:gd name="connsiteY79" fmla="*/ 690562 h 1309687"/>
                <a:gd name="connsiteX80" fmla="*/ 195263 w 1562100"/>
                <a:gd name="connsiteY80" fmla="*/ 716756 h 1309687"/>
                <a:gd name="connsiteX81" fmla="*/ 123825 w 1562100"/>
                <a:gd name="connsiteY81" fmla="*/ 762000 h 1309687"/>
                <a:gd name="connsiteX82" fmla="*/ 123825 w 1562100"/>
                <a:gd name="connsiteY82" fmla="*/ 797718 h 1309687"/>
                <a:gd name="connsiteX83" fmla="*/ 135731 w 1562100"/>
                <a:gd name="connsiteY83" fmla="*/ 828675 h 1309687"/>
                <a:gd name="connsiteX84" fmla="*/ 123825 w 1562100"/>
                <a:gd name="connsiteY84" fmla="*/ 869156 h 1309687"/>
                <a:gd name="connsiteX85" fmla="*/ 76200 w 1562100"/>
                <a:gd name="connsiteY85" fmla="*/ 864393 h 1309687"/>
                <a:gd name="connsiteX86" fmla="*/ 52388 w 1562100"/>
                <a:gd name="connsiteY86" fmla="*/ 809625 h 1309687"/>
                <a:gd name="connsiteX87" fmla="*/ 33338 w 1562100"/>
                <a:gd name="connsiteY87" fmla="*/ 802481 h 1309687"/>
                <a:gd name="connsiteX88" fmla="*/ 23813 w 1562100"/>
                <a:gd name="connsiteY88" fmla="*/ 840581 h 1309687"/>
                <a:gd name="connsiteX89" fmla="*/ 21431 w 1562100"/>
                <a:gd name="connsiteY89" fmla="*/ 850106 h 1309687"/>
                <a:gd name="connsiteX90" fmla="*/ 7144 w 1562100"/>
                <a:gd name="connsiteY90" fmla="*/ 866775 h 1309687"/>
                <a:gd name="connsiteX91" fmla="*/ 0 w 1562100"/>
                <a:gd name="connsiteY91" fmla="*/ 923925 h 1309687"/>
                <a:gd name="connsiteX92" fmla="*/ 23813 w 1562100"/>
                <a:gd name="connsiteY92" fmla="*/ 952500 h 1309687"/>
                <a:gd name="connsiteX93" fmla="*/ 16669 w 1562100"/>
                <a:gd name="connsiteY93" fmla="*/ 992981 h 1309687"/>
                <a:gd name="connsiteX94" fmla="*/ 35719 w 1562100"/>
                <a:gd name="connsiteY94" fmla="*/ 997743 h 1309687"/>
                <a:gd name="connsiteX95" fmla="*/ 69056 w 1562100"/>
                <a:gd name="connsiteY95" fmla="*/ 997743 h 1309687"/>
                <a:gd name="connsiteX96" fmla="*/ 85725 w 1562100"/>
                <a:gd name="connsiteY96" fmla="*/ 988218 h 1309687"/>
                <a:gd name="connsiteX97" fmla="*/ 135731 w 1562100"/>
                <a:gd name="connsiteY97" fmla="*/ 1045368 h 1309687"/>
                <a:gd name="connsiteX98" fmla="*/ 123825 w 1562100"/>
                <a:gd name="connsiteY98" fmla="*/ 1064418 h 1309687"/>
                <a:gd name="connsiteX99" fmla="*/ 133350 w 1562100"/>
                <a:gd name="connsiteY99" fmla="*/ 1092993 h 1309687"/>
                <a:gd name="connsiteX100" fmla="*/ 164306 w 1562100"/>
                <a:gd name="connsiteY100" fmla="*/ 1112043 h 1309687"/>
                <a:gd name="connsiteX101" fmla="*/ 190500 w 1562100"/>
                <a:gd name="connsiteY101" fmla="*/ 1121568 h 1309687"/>
                <a:gd name="connsiteX102" fmla="*/ 216694 w 1562100"/>
                <a:gd name="connsiteY102" fmla="*/ 1128712 h 1309687"/>
                <a:gd name="connsiteX103" fmla="*/ 228600 w 1562100"/>
                <a:gd name="connsiteY103" fmla="*/ 1131093 h 1309687"/>
                <a:gd name="connsiteX104" fmla="*/ 240506 w 1562100"/>
                <a:gd name="connsiteY104" fmla="*/ 1092993 h 1309687"/>
                <a:gd name="connsiteX105" fmla="*/ 269081 w 1562100"/>
                <a:gd name="connsiteY105" fmla="*/ 1097756 h 1309687"/>
                <a:gd name="connsiteX106" fmla="*/ 288131 w 1562100"/>
                <a:gd name="connsiteY106" fmla="*/ 1085850 h 1309687"/>
                <a:gd name="connsiteX107" fmla="*/ 307181 w 1562100"/>
                <a:gd name="connsiteY107" fmla="*/ 1135856 h 1309687"/>
                <a:gd name="connsiteX108" fmla="*/ 330994 w 1562100"/>
                <a:gd name="connsiteY108" fmla="*/ 1150143 h 1309687"/>
                <a:gd name="connsiteX109" fmla="*/ 340519 w 1562100"/>
                <a:gd name="connsiteY109" fmla="*/ 1178718 h 1309687"/>
                <a:gd name="connsiteX110" fmla="*/ 357188 w 1562100"/>
                <a:gd name="connsiteY110" fmla="*/ 1188243 h 1309687"/>
                <a:gd name="connsiteX111" fmla="*/ 364331 w 1562100"/>
                <a:gd name="connsiteY111" fmla="*/ 1219200 h 1309687"/>
                <a:gd name="connsiteX112" fmla="*/ 335756 w 1562100"/>
                <a:gd name="connsiteY112" fmla="*/ 1245393 h 1309687"/>
                <a:gd name="connsiteX113" fmla="*/ 309563 w 1562100"/>
                <a:gd name="connsiteY113" fmla="*/ 1262062 h 1309687"/>
                <a:gd name="connsiteX114" fmla="*/ 297656 w 1562100"/>
                <a:gd name="connsiteY114" fmla="*/ 1285875 h 1309687"/>
                <a:gd name="connsiteX115" fmla="*/ 302419 w 1562100"/>
                <a:gd name="connsiteY115" fmla="*/ 1309687 h 1309687"/>
                <a:gd name="connsiteX116" fmla="*/ 342900 w 1562100"/>
                <a:gd name="connsiteY116" fmla="*/ 1309687 h 1309687"/>
                <a:gd name="connsiteX117" fmla="*/ 390525 w 1562100"/>
                <a:gd name="connsiteY117" fmla="*/ 1304925 h 1309687"/>
                <a:gd name="connsiteX118" fmla="*/ 428625 w 1562100"/>
                <a:gd name="connsiteY118" fmla="*/ 1295400 h 1309687"/>
                <a:gd name="connsiteX119" fmla="*/ 454819 w 1562100"/>
                <a:gd name="connsiteY119" fmla="*/ 1302543 h 1309687"/>
                <a:gd name="connsiteX120" fmla="*/ 473869 w 1562100"/>
                <a:gd name="connsiteY120" fmla="*/ 1281112 h 1309687"/>
                <a:gd name="connsiteX121" fmla="*/ 492919 w 1562100"/>
                <a:gd name="connsiteY121" fmla="*/ 1281112 h 1309687"/>
                <a:gd name="connsiteX122" fmla="*/ 507206 w 1562100"/>
                <a:gd name="connsiteY122" fmla="*/ 1250156 h 1309687"/>
                <a:gd name="connsiteX123" fmla="*/ 557213 w 1562100"/>
                <a:gd name="connsiteY123" fmla="*/ 1235868 h 1309687"/>
                <a:gd name="connsiteX124" fmla="*/ 583406 w 1562100"/>
                <a:gd name="connsiteY124" fmla="*/ 1216818 h 1309687"/>
                <a:gd name="connsiteX125" fmla="*/ 590550 w 1562100"/>
                <a:gd name="connsiteY125" fmla="*/ 1178718 h 1309687"/>
                <a:gd name="connsiteX126" fmla="*/ 607219 w 1562100"/>
                <a:gd name="connsiteY126" fmla="*/ 1152525 h 1309687"/>
                <a:gd name="connsiteX127" fmla="*/ 688181 w 1562100"/>
                <a:gd name="connsiteY127" fmla="*/ 1183481 h 1309687"/>
                <a:gd name="connsiteX0" fmla="*/ 688181 w 1562100"/>
                <a:gd name="connsiteY0" fmla="*/ 1183481 h 1309687"/>
                <a:gd name="connsiteX1" fmla="*/ 688181 w 1562100"/>
                <a:gd name="connsiteY1" fmla="*/ 1097756 h 1309687"/>
                <a:gd name="connsiteX2" fmla="*/ 692944 w 1562100"/>
                <a:gd name="connsiteY2" fmla="*/ 1054893 h 1309687"/>
                <a:gd name="connsiteX3" fmla="*/ 692944 w 1562100"/>
                <a:gd name="connsiteY3" fmla="*/ 1009650 h 1309687"/>
                <a:gd name="connsiteX4" fmla="*/ 676275 w 1562100"/>
                <a:gd name="connsiteY4" fmla="*/ 985837 h 1309687"/>
                <a:gd name="connsiteX5" fmla="*/ 690563 w 1562100"/>
                <a:gd name="connsiteY5" fmla="*/ 933450 h 1309687"/>
                <a:gd name="connsiteX6" fmla="*/ 685800 w 1562100"/>
                <a:gd name="connsiteY6" fmla="*/ 907256 h 1309687"/>
                <a:gd name="connsiteX7" fmla="*/ 697706 w 1562100"/>
                <a:gd name="connsiteY7" fmla="*/ 862012 h 1309687"/>
                <a:gd name="connsiteX8" fmla="*/ 714375 w 1562100"/>
                <a:gd name="connsiteY8" fmla="*/ 838200 h 1309687"/>
                <a:gd name="connsiteX9" fmla="*/ 721519 w 1562100"/>
                <a:gd name="connsiteY9" fmla="*/ 804862 h 1309687"/>
                <a:gd name="connsiteX10" fmla="*/ 735806 w 1562100"/>
                <a:gd name="connsiteY10" fmla="*/ 785812 h 1309687"/>
                <a:gd name="connsiteX11" fmla="*/ 792956 w 1562100"/>
                <a:gd name="connsiteY11" fmla="*/ 776287 h 1309687"/>
                <a:gd name="connsiteX12" fmla="*/ 838200 w 1562100"/>
                <a:gd name="connsiteY12" fmla="*/ 759618 h 1309687"/>
                <a:gd name="connsiteX13" fmla="*/ 876300 w 1562100"/>
                <a:gd name="connsiteY13" fmla="*/ 719137 h 1309687"/>
                <a:gd name="connsiteX14" fmla="*/ 923925 w 1562100"/>
                <a:gd name="connsiteY14" fmla="*/ 704850 h 1309687"/>
                <a:gd name="connsiteX15" fmla="*/ 995363 w 1562100"/>
                <a:gd name="connsiteY15" fmla="*/ 700087 h 1309687"/>
                <a:gd name="connsiteX16" fmla="*/ 1040606 w 1562100"/>
                <a:gd name="connsiteY16" fmla="*/ 690562 h 1309687"/>
                <a:gd name="connsiteX17" fmla="*/ 1119188 w 1562100"/>
                <a:gd name="connsiteY17" fmla="*/ 583406 h 1309687"/>
                <a:gd name="connsiteX18" fmla="*/ 1126331 w 1562100"/>
                <a:gd name="connsiteY18" fmla="*/ 550068 h 1309687"/>
                <a:gd name="connsiteX19" fmla="*/ 1152525 w 1562100"/>
                <a:gd name="connsiteY19" fmla="*/ 521493 h 1309687"/>
                <a:gd name="connsiteX20" fmla="*/ 1197769 w 1562100"/>
                <a:gd name="connsiteY20" fmla="*/ 511968 h 1309687"/>
                <a:gd name="connsiteX21" fmla="*/ 1290638 w 1562100"/>
                <a:gd name="connsiteY21" fmla="*/ 435768 h 1309687"/>
                <a:gd name="connsiteX22" fmla="*/ 1314450 w 1562100"/>
                <a:gd name="connsiteY22" fmla="*/ 433387 h 1309687"/>
                <a:gd name="connsiteX23" fmla="*/ 1409700 w 1562100"/>
                <a:gd name="connsiteY23" fmla="*/ 352425 h 1309687"/>
                <a:gd name="connsiteX24" fmla="*/ 1414463 w 1562100"/>
                <a:gd name="connsiteY24" fmla="*/ 333375 h 1309687"/>
                <a:gd name="connsiteX25" fmla="*/ 1507331 w 1562100"/>
                <a:gd name="connsiteY25" fmla="*/ 278606 h 1309687"/>
                <a:gd name="connsiteX26" fmla="*/ 1543050 w 1562100"/>
                <a:gd name="connsiteY26" fmla="*/ 233362 h 1309687"/>
                <a:gd name="connsiteX27" fmla="*/ 1562100 w 1562100"/>
                <a:gd name="connsiteY27" fmla="*/ 195262 h 1309687"/>
                <a:gd name="connsiteX28" fmla="*/ 1512094 w 1562100"/>
                <a:gd name="connsiteY28" fmla="*/ 214312 h 1309687"/>
                <a:gd name="connsiteX29" fmla="*/ 1478756 w 1562100"/>
                <a:gd name="connsiteY29" fmla="*/ 214312 h 1309687"/>
                <a:gd name="connsiteX30" fmla="*/ 1452563 w 1562100"/>
                <a:gd name="connsiteY30" fmla="*/ 252412 h 1309687"/>
                <a:gd name="connsiteX31" fmla="*/ 1421606 w 1562100"/>
                <a:gd name="connsiteY31" fmla="*/ 250031 h 1309687"/>
                <a:gd name="connsiteX32" fmla="*/ 1366838 w 1562100"/>
                <a:gd name="connsiteY32" fmla="*/ 219075 h 1309687"/>
                <a:gd name="connsiteX33" fmla="*/ 1323975 w 1562100"/>
                <a:gd name="connsiteY33" fmla="*/ 207168 h 1309687"/>
                <a:gd name="connsiteX34" fmla="*/ 1238250 w 1562100"/>
                <a:gd name="connsiteY34" fmla="*/ 242887 h 1309687"/>
                <a:gd name="connsiteX35" fmla="*/ 1223963 w 1562100"/>
                <a:gd name="connsiteY35" fmla="*/ 280987 h 1309687"/>
                <a:gd name="connsiteX36" fmla="*/ 1195388 w 1562100"/>
                <a:gd name="connsiteY36" fmla="*/ 338137 h 1309687"/>
                <a:gd name="connsiteX37" fmla="*/ 1109663 w 1562100"/>
                <a:gd name="connsiteY37" fmla="*/ 300037 h 1309687"/>
                <a:gd name="connsiteX38" fmla="*/ 1097756 w 1562100"/>
                <a:gd name="connsiteY38" fmla="*/ 342900 h 1309687"/>
                <a:gd name="connsiteX39" fmla="*/ 1083469 w 1562100"/>
                <a:gd name="connsiteY39" fmla="*/ 376237 h 1309687"/>
                <a:gd name="connsiteX40" fmla="*/ 959644 w 1562100"/>
                <a:gd name="connsiteY40" fmla="*/ 407193 h 1309687"/>
                <a:gd name="connsiteX41" fmla="*/ 945356 w 1562100"/>
                <a:gd name="connsiteY41" fmla="*/ 402431 h 1309687"/>
                <a:gd name="connsiteX42" fmla="*/ 926306 w 1562100"/>
                <a:gd name="connsiteY42" fmla="*/ 423862 h 1309687"/>
                <a:gd name="connsiteX43" fmla="*/ 890588 w 1562100"/>
                <a:gd name="connsiteY43" fmla="*/ 431006 h 1309687"/>
                <a:gd name="connsiteX44" fmla="*/ 854869 w 1562100"/>
                <a:gd name="connsiteY44" fmla="*/ 381000 h 1309687"/>
                <a:gd name="connsiteX45" fmla="*/ 835819 w 1562100"/>
                <a:gd name="connsiteY45" fmla="*/ 369093 h 1309687"/>
                <a:gd name="connsiteX46" fmla="*/ 826294 w 1562100"/>
                <a:gd name="connsiteY46" fmla="*/ 323850 h 1309687"/>
                <a:gd name="connsiteX47" fmla="*/ 792956 w 1562100"/>
                <a:gd name="connsiteY47" fmla="*/ 307181 h 1309687"/>
                <a:gd name="connsiteX48" fmla="*/ 759619 w 1562100"/>
                <a:gd name="connsiteY48" fmla="*/ 300037 h 1309687"/>
                <a:gd name="connsiteX49" fmla="*/ 740569 w 1562100"/>
                <a:gd name="connsiteY49" fmla="*/ 295275 h 1309687"/>
                <a:gd name="connsiteX50" fmla="*/ 728663 w 1562100"/>
                <a:gd name="connsiteY50" fmla="*/ 285750 h 1309687"/>
                <a:gd name="connsiteX51" fmla="*/ 735806 w 1562100"/>
                <a:gd name="connsiteY51" fmla="*/ 259556 h 1309687"/>
                <a:gd name="connsiteX52" fmla="*/ 742950 w 1562100"/>
                <a:gd name="connsiteY52" fmla="*/ 235743 h 1309687"/>
                <a:gd name="connsiteX53" fmla="*/ 700088 w 1562100"/>
                <a:gd name="connsiteY53" fmla="*/ 185737 h 1309687"/>
                <a:gd name="connsiteX54" fmla="*/ 702469 w 1562100"/>
                <a:gd name="connsiteY54" fmla="*/ 152401 h 1309687"/>
                <a:gd name="connsiteX55" fmla="*/ 704851 w 1562100"/>
                <a:gd name="connsiteY55" fmla="*/ 92869 h 1309687"/>
                <a:gd name="connsiteX56" fmla="*/ 657225 w 1562100"/>
                <a:gd name="connsiteY56" fmla="*/ 64294 h 1309687"/>
                <a:gd name="connsiteX57" fmla="*/ 628650 w 1562100"/>
                <a:gd name="connsiteY57" fmla="*/ 88107 h 1309687"/>
                <a:gd name="connsiteX58" fmla="*/ 500062 w 1562100"/>
                <a:gd name="connsiteY58" fmla="*/ 66676 h 1309687"/>
                <a:gd name="connsiteX59" fmla="*/ 450056 w 1562100"/>
                <a:gd name="connsiteY59" fmla="*/ 2382 h 1309687"/>
                <a:gd name="connsiteX60" fmla="*/ 428625 w 1562100"/>
                <a:gd name="connsiteY60" fmla="*/ 0 h 1309687"/>
                <a:gd name="connsiteX61" fmla="*/ 376238 w 1562100"/>
                <a:gd name="connsiteY61" fmla="*/ 104775 h 1309687"/>
                <a:gd name="connsiteX62" fmla="*/ 314326 w 1562100"/>
                <a:gd name="connsiteY62" fmla="*/ 104774 h 1309687"/>
                <a:gd name="connsiteX63" fmla="*/ 328613 w 1562100"/>
                <a:gd name="connsiteY63" fmla="*/ 183356 h 1309687"/>
                <a:gd name="connsiteX64" fmla="*/ 292894 w 1562100"/>
                <a:gd name="connsiteY64" fmla="*/ 285750 h 1309687"/>
                <a:gd name="connsiteX65" fmla="*/ 264319 w 1562100"/>
                <a:gd name="connsiteY65" fmla="*/ 292893 h 1309687"/>
                <a:gd name="connsiteX66" fmla="*/ 261938 w 1562100"/>
                <a:gd name="connsiteY66" fmla="*/ 307181 h 1309687"/>
                <a:gd name="connsiteX67" fmla="*/ 261938 w 1562100"/>
                <a:gd name="connsiteY67" fmla="*/ 340518 h 1309687"/>
                <a:gd name="connsiteX68" fmla="*/ 228600 w 1562100"/>
                <a:gd name="connsiteY68" fmla="*/ 383381 h 1309687"/>
                <a:gd name="connsiteX69" fmla="*/ 271463 w 1562100"/>
                <a:gd name="connsiteY69" fmla="*/ 400050 h 1309687"/>
                <a:gd name="connsiteX70" fmla="*/ 278606 w 1562100"/>
                <a:gd name="connsiteY70" fmla="*/ 419100 h 1309687"/>
                <a:gd name="connsiteX71" fmla="*/ 257175 w 1562100"/>
                <a:gd name="connsiteY71" fmla="*/ 454818 h 1309687"/>
                <a:gd name="connsiteX72" fmla="*/ 221456 w 1562100"/>
                <a:gd name="connsiteY72" fmla="*/ 464343 h 1309687"/>
                <a:gd name="connsiteX73" fmla="*/ 221456 w 1562100"/>
                <a:gd name="connsiteY73" fmla="*/ 504825 h 1309687"/>
                <a:gd name="connsiteX74" fmla="*/ 254794 w 1562100"/>
                <a:gd name="connsiteY74" fmla="*/ 542925 h 1309687"/>
                <a:gd name="connsiteX75" fmla="*/ 226219 w 1562100"/>
                <a:gd name="connsiteY75" fmla="*/ 607218 h 1309687"/>
                <a:gd name="connsiteX76" fmla="*/ 180975 w 1562100"/>
                <a:gd name="connsiteY76" fmla="*/ 635793 h 1309687"/>
                <a:gd name="connsiteX77" fmla="*/ 183356 w 1562100"/>
                <a:gd name="connsiteY77" fmla="*/ 652462 h 1309687"/>
                <a:gd name="connsiteX78" fmla="*/ 204788 w 1562100"/>
                <a:gd name="connsiteY78" fmla="*/ 661987 h 1309687"/>
                <a:gd name="connsiteX79" fmla="*/ 219075 w 1562100"/>
                <a:gd name="connsiteY79" fmla="*/ 671512 h 1309687"/>
                <a:gd name="connsiteX80" fmla="*/ 223838 w 1562100"/>
                <a:gd name="connsiteY80" fmla="*/ 690562 h 1309687"/>
                <a:gd name="connsiteX81" fmla="*/ 195263 w 1562100"/>
                <a:gd name="connsiteY81" fmla="*/ 716756 h 1309687"/>
                <a:gd name="connsiteX82" fmla="*/ 123825 w 1562100"/>
                <a:gd name="connsiteY82" fmla="*/ 762000 h 1309687"/>
                <a:gd name="connsiteX83" fmla="*/ 123825 w 1562100"/>
                <a:gd name="connsiteY83" fmla="*/ 797718 h 1309687"/>
                <a:gd name="connsiteX84" fmla="*/ 135731 w 1562100"/>
                <a:gd name="connsiteY84" fmla="*/ 828675 h 1309687"/>
                <a:gd name="connsiteX85" fmla="*/ 123825 w 1562100"/>
                <a:gd name="connsiteY85" fmla="*/ 869156 h 1309687"/>
                <a:gd name="connsiteX86" fmla="*/ 76200 w 1562100"/>
                <a:gd name="connsiteY86" fmla="*/ 864393 h 1309687"/>
                <a:gd name="connsiteX87" fmla="*/ 52388 w 1562100"/>
                <a:gd name="connsiteY87" fmla="*/ 809625 h 1309687"/>
                <a:gd name="connsiteX88" fmla="*/ 33338 w 1562100"/>
                <a:gd name="connsiteY88" fmla="*/ 802481 h 1309687"/>
                <a:gd name="connsiteX89" fmla="*/ 23813 w 1562100"/>
                <a:gd name="connsiteY89" fmla="*/ 840581 h 1309687"/>
                <a:gd name="connsiteX90" fmla="*/ 21431 w 1562100"/>
                <a:gd name="connsiteY90" fmla="*/ 850106 h 1309687"/>
                <a:gd name="connsiteX91" fmla="*/ 7144 w 1562100"/>
                <a:gd name="connsiteY91" fmla="*/ 866775 h 1309687"/>
                <a:gd name="connsiteX92" fmla="*/ 0 w 1562100"/>
                <a:gd name="connsiteY92" fmla="*/ 923925 h 1309687"/>
                <a:gd name="connsiteX93" fmla="*/ 23813 w 1562100"/>
                <a:gd name="connsiteY93" fmla="*/ 952500 h 1309687"/>
                <a:gd name="connsiteX94" fmla="*/ 16669 w 1562100"/>
                <a:gd name="connsiteY94" fmla="*/ 992981 h 1309687"/>
                <a:gd name="connsiteX95" fmla="*/ 35719 w 1562100"/>
                <a:gd name="connsiteY95" fmla="*/ 997743 h 1309687"/>
                <a:gd name="connsiteX96" fmla="*/ 69056 w 1562100"/>
                <a:gd name="connsiteY96" fmla="*/ 997743 h 1309687"/>
                <a:gd name="connsiteX97" fmla="*/ 85725 w 1562100"/>
                <a:gd name="connsiteY97" fmla="*/ 988218 h 1309687"/>
                <a:gd name="connsiteX98" fmla="*/ 135731 w 1562100"/>
                <a:gd name="connsiteY98" fmla="*/ 1045368 h 1309687"/>
                <a:gd name="connsiteX99" fmla="*/ 123825 w 1562100"/>
                <a:gd name="connsiteY99" fmla="*/ 1064418 h 1309687"/>
                <a:gd name="connsiteX100" fmla="*/ 133350 w 1562100"/>
                <a:gd name="connsiteY100" fmla="*/ 1092993 h 1309687"/>
                <a:gd name="connsiteX101" fmla="*/ 164306 w 1562100"/>
                <a:gd name="connsiteY101" fmla="*/ 1112043 h 1309687"/>
                <a:gd name="connsiteX102" fmla="*/ 190500 w 1562100"/>
                <a:gd name="connsiteY102" fmla="*/ 1121568 h 1309687"/>
                <a:gd name="connsiteX103" fmla="*/ 216694 w 1562100"/>
                <a:gd name="connsiteY103" fmla="*/ 1128712 h 1309687"/>
                <a:gd name="connsiteX104" fmla="*/ 228600 w 1562100"/>
                <a:gd name="connsiteY104" fmla="*/ 1131093 h 1309687"/>
                <a:gd name="connsiteX105" fmla="*/ 240506 w 1562100"/>
                <a:gd name="connsiteY105" fmla="*/ 1092993 h 1309687"/>
                <a:gd name="connsiteX106" fmla="*/ 269081 w 1562100"/>
                <a:gd name="connsiteY106" fmla="*/ 1097756 h 1309687"/>
                <a:gd name="connsiteX107" fmla="*/ 288131 w 1562100"/>
                <a:gd name="connsiteY107" fmla="*/ 1085850 h 1309687"/>
                <a:gd name="connsiteX108" fmla="*/ 307181 w 1562100"/>
                <a:gd name="connsiteY108" fmla="*/ 1135856 h 1309687"/>
                <a:gd name="connsiteX109" fmla="*/ 330994 w 1562100"/>
                <a:gd name="connsiteY109" fmla="*/ 1150143 h 1309687"/>
                <a:gd name="connsiteX110" fmla="*/ 340519 w 1562100"/>
                <a:gd name="connsiteY110" fmla="*/ 1178718 h 1309687"/>
                <a:gd name="connsiteX111" fmla="*/ 357188 w 1562100"/>
                <a:gd name="connsiteY111" fmla="*/ 1188243 h 1309687"/>
                <a:gd name="connsiteX112" fmla="*/ 364331 w 1562100"/>
                <a:gd name="connsiteY112" fmla="*/ 1219200 h 1309687"/>
                <a:gd name="connsiteX113" fmla="*/ 335756 w 1562100"/>
                <a:gd name="connsiteY113" fmla="*/ 1245393 h 1309687"/>
                <a:gd name="connsiteX114" fmla="*/ 309563 w 1562100"/>
                <a:gd name="connsiteY114" fmla="*/ 1262062 h 1309687"/>
                <a:gd name="connsiteX115" fmla="*/ 297656 w 1562100"/>
                <a:gd name="connsiteY115" fmla="*/ 1285875 h 1309687"/>
                <a:gd name="connsiteX116" fmla="*/ 302419 w 1562100"/>
                <a:gd name="connsiteY116" fmla="*/ 1309687 h 1309687"/>
                <a:gd name="connsiteX117" fmla="*/ 342900 w 1562100"/>
                <a:gd name="connsiteY117" fmla="*/ 1309687 h 1309687"/>
                <a:gd name="connsiteX118" fmla="*/ 390525 w 1562100"/>
                <a:gd name="connsiteY118" fmla="*/ 1304925 h 1309687"/>
                <a:gd name="connsiteX119" fmla="*/ 428625 w 1562100"/>
                <a:gd name="connsiteY119" fmla="*/ 1295400 h 1309687"/>
                <a:gd name="connsiteX120" fmla="*/ 454819 w 1562100"/>
                <a:gd name="connsiteY120" fmla="*/ 1302543 h 1309687"/>
                <a:gd name="connsiteX121" fmla="*/ 473869 w 1562100"/>
                <a:gd name="connsiteY121" fmla="*/ 1281112 h 1309687"/>
                <a:gd name="connsiteX122" fmla="*/ 492919 w 1562100"/>
                <a:gd name="connsiteY122" fmla="*/ 1281112 h 1309687"/>
                <a:gd name="connsiteX123" fmla="*/ 507206 w 1562100"/>
                <a:gd name="connsiteY123" fmla="*/ 1250156 h 1309687"/>
                <a:gd name="connsiteX124" fmla="*/ 557213 w 1562100"/>
                <a:gd name="connsiteY124" fmla="*/ 1235868 h 1309687"/>
                <a:gd name="connsiteX125" fmla="*/ 583406 w 1562100"/>
                <a:gd name="connsiteY125" fmla="*/ 1216818 h 1309687"/>
                <a:gd name="connsiteX126" fmla="*/ 590550 w 1562100"/>
                <a:gd name="connsiteY126" fmla="*/ 1178718 h 1309687"/>
                <a:gd name="connsiteX127" fmla="*/ 607219 w 1562100"/>
                <a:gd name="connsiteY127" fmla="*/ 1152525 h 1309687"/>
                <a:gd name="connsiteX128" fmla="*/ 688181 w 1562100"/>
                <a:gd name="connsiteY128" fmla="*/ 1183481 h 1309687"/>
                <a:gd name="connsiteX0" fmla="*/ 688181 w 1562100"/>
                <a:gd name="connsiteY0" fmla="*/ 1183481 h 1309687"/>
                <a:gd name="connsiteX1" fmla="*/ 688181 w 1562100"/>
                <a:gd name="connsiteY1" fmla="*/ 1097756 h 1309687"/>
                <a:gd name="connsiteX2" fmla="*/ 692944 w 1562100"/>
                <a:gd name="connsiteY2" fmla="*/ 1054893 h 1309687"/>
                <a:gd name="connsiteX3" fmla="*/ 692944 w 1562100"/>
                <a:gd name="connsiteY3" fmla="*/ 1009650 h 1309687"/>
                <a:gd name="connsiteX4" fmla="*/ 676275 w 1562100"/>
                <a:gd name="connsiteY4" fmla="*/ 985837 h 1309687"/>
                <a:gd name="connsiteX5" fmla="*/ 690563 w 1562100"/>
                <a:gd name="connsiteY5" fmla="*/ 933450 h 1309687"/>
                <a:gd name="connsiteX6" fmla="*/ 685800 w 1562100"/>
                <a:gd name="connsiteY6" fmla="*/ 907256 h 1309687"/>
                <a:gd name="connsiteX7" fmla="*/ 697706 w 1562100"/>
                <a:gd name="connsiteY7" fmla="*/ 862012 h 1309687"/>
                <a:gd name="connsiteX8" fmla="*/ 714375 w 1562100"/>
                <a:gd name="connsiteY8" fmla="*/ 838200 h 1309687"/>
                <a:gd name="connsiteX9" fmla="*/ 721519 w 1562100"/>
                <a:gd name="connsiteY9" fmla="*/ 804862 h 1309687"/>
                <a:gd name="connsiteX10" fmla="*/ 735806 w 1562100"/>
                <a:gd name="connsiteY10" fmla="*/ 785812 h 1309687"/>
                <a:gd name="connsiteX11" fmla="*/ 792956 w 1562100"/>
                <a:gd name="connsiteY11" fmla="*/ 776287 h 1309687"/>
                <a:gd name="connsiteX12" fmla="*/ 838200 w 1562100"/>
                <a:gd name="connsiteY12" fmla="*/ 759618 h 1309687"/>
                <a:gd name="connsiteX13" fmla="*/ 876300 w 1562100"/>
                <a:gd name="connsiteY13" fmla="*/ 719137 h 1309687"/>
                <a:gd name="connsiteX14" fmla="*/ 923925 w 1562100"/>
                <a:gd name="connsiteY14" fmla="*/ 704850 h 1309687"/>
                <a:gd name="connsiteX15" fmla="*/ 995363 w 1562100"/>
                <a:gd name="connsiteY15" fmla="*/ 700087 h 1309687"/>
                <a:gd name="connsiteX16" fmla="*/ 1040606 w 1562100"/>
                <a:gd name="connsiteY16" fmla="*/ 690562 h 1309687"/>
                <a:gd name="connsiteX17" fmla="*/ 1119188 w 1562100"/>
                <a:gd name="connsiteY17" fmla="*/ 583406 h 1309687"/>
                <a:gd name="connsiteX18" fmla="*/ 1126331 w 1562100"/>
                <a:gd name="connsiteY18" fmla="*/ 550068 h 1309687"/>
                <a:gd name="connsiteX19" fmla="*/ 1152525 w 1562100"/>
                <a:gd name="connsiteY19" fmla="*/ 521493 h 1309687"/>
                <a:gd name="connsiteX20" fmla="*/ 1197769 w 1562100"/>
                <a:gd name="connsiteY20" fmla="*/ 511968 h 1309687"/>
                <a:gd name="connsiteX21" fmla="*/ 1290638 w 1562100"/>
                <a:gd name="connsiteY21" fmla="*/ 435768 h 1309687"/>
                <a:gd name="connsiteX22" fmla="*/ 1314450 w 1562100"/>
                <a:gd name="connsiteY22" fmla="*/ 433387 h 1309687"/>
                <a:gd name="connsiteX23" fmla="*/ 1409700 w 1562100"/>
                <a:gd name="connsiteY23" fmla="*/ 352425 h 1309687"/>
                <a:gd name="connsiteX24" fmla="*/ 1414463 w 1562100"/>
                <a:gd name="connsiteY24" fmla="*/ 333375 h 1309687"/>
                <a:gd name="connsiteX25" fmla="*/ 1507331 w 1562100"/>
                <a:gd name="connsiteY25" fmla="*/ 278606 h 1309687"/>
                <a:gd name="connsiteX26" fmla="*/ 1543050 w 1562100"/>
                <a:gd name="connsiteY26" fmla="*/ 233362 h 1309687"/>
                <a:gd name="connsiteX27" fmla="*/ 1562100 w 1562100"/>
                <a:gd name="connsiteY27" fmla="*/ 195262 h 1309687"/>
                <a:gd name="connsiteX28" fmla="*/ 1512094 w 1562100"/>
                <a:gd name="connsiteY28" fmla="*/ 214312 h 1309687"/>
                <a:gd name="connsiteX29" fmla="*/ 1478756 w 1562100"/>
                <a:gd name="connsiteY29" fmla="*/ 214312 h 1309687"/>
                <a:gd name="connsiteX30" fmla="*/ 1452563 w 1562100"/>
                <a:gd name="connsiteY30" fmla="*/ 252412 h 1309687"/>
                <a:gd name="connsiteX31" fmla="*/ 1421606 w 1562100"/>
                <a:gd name="connsiteY31" fmla="*/ 250031 h 1309687"/>
                <a:gd name="connsiteX32" fmla="*/ 1366838 w 1562100"/>
                <a:gd name="connsiteY32" fmla="*/ 219075 h 1309687"/>
                <a:gd name="connsiteX33" fmla="*/ 1323975 w 1562100"/>
                <a:gd name="connsiteY33" fmla="*/ 207168 h 1309687"/>
                <a:gd name="connsiteX34" fmla="*/ 1238250 w 1562100"/>
                <a:gd name="connsiteY34" fmla="*/ 242887 h 1309687"/>
                <a:gd name="connsiteX35" fmla="*/ 1223963 w 1562100"/>
                <a:gd name="connsiteY35" fmla="*/ 280987 h 1309687"/>
                <a:gd name="connsiteX36" fmla="*/ 1195388 w 1562100"/>
                <a:gd name="connsiteY36" fmla="*/ 338137 h 1309687"/>
                <a:gd name="connsiteX37" fmla="*/ 1109663 w 1562100"/>
                <a:gd name="connsiteY37" fmla="*/ 300037 h 1309687"/>
                <a:gd name="connsiteX38" fmla="*/ 1097756 w 1562100"/>
                <a:gd name="connsiteY38" fmla="*/ 342900 h 1309687"/>
                <a:gd name="connsiteX39" fmla="*/ 1083469 w 1562100"/>
                <a:gd name="connsiteY39" fmla="*/ 376237 h 1309687"/>
                <a:gd name="connsiteX40" fmla="*/ 959644 w 1562100"/>
                <a:gd name="connsiteY40" fmla="*/ 407193 h 1309687"/>
                <a:gd name="connsiteX41" fmla="*/ 945356 w 1562100"/>
                <a:gd name="connsiteY41" fmla="*/ 402431 h 1309687"/>
                <a:gd name="connsiteX42" fmla="*/ 926306 w 1562100"/>
                <a:gd name="connsiteY42" fmla="*/ 423862 h 1309687"/>
                <a:gd name="connsiteX43" fmla="*/ 890588 w 1562100"/>
                <a:gd name="connsiteY43" fmla="*/ 431006 h 1309687"/>
                <a:gd name="connsiteX44" fmla="*/ 854869 w 1562100"/>
                <a:gd name="connsiteY44" fmla="*/ 381000 h 1309687"/>
                <a:gd name="connsiteX45" fmla="*/ 835819 w 1562100"/>
                <a:gd name="connsiteY45" fmla="*/ 369093 h 1309687"/>
                <a:gd name="connsiteX46" fmla="*/ 826294 w 1562100"/>
                <a:gd name="connsiteY46" fmla="*/ 323850 h 1309687"/>
                <a:gd name="connsiteX47" fmla="*/ 792956 w 1562100"/>
                <a:gd name="connsiteY47" fmla="*/ 307181 h 1309687"/>
                <a:gd name="connsiteX48" fmla="*/ 759619 w 1562100"/>
                <a:gd name="connsiteY48" fmla="*/ 300037 h 1309687"/>
                <a:gd name="connsiteX49" fmla="*/ 740569 w 1562100"/>
                <a:gd name="connsiteY49" fmla="*/ 295275 h 1309687"/>
                <a:gd name="connsiteX50" fmla="*/ 728663 w 1562100"/>
                <a:gd name="connsiteY50" fmla="*/ 285750 h 1309687"/>
                <a:gd name="connsiteX51" fmla="*/ 735806 w 1562100"/>
                <a:gd name="connsiteY51" fmla="*/ 259556 h 1309687"/>
                <a:gd name="connsiteX52" fmla="*/ 742950 w 1562100"/>
                <a:gd name="connsiteY52" fmla="*/ 235743 h 1309687"/>
                <a:gd name="connsiteX53" fmla="*/ 700088 w 1562100"/>
                <a:gd name="connsiteY53" fmla="*/ 185737 h 1309687"/>
                <a:gd name="connsiteX54" fmla="*/ 702469 w 1562100"/>
                <a:gd name="connsiteY54" fmla="*/ 152401 h 1309687"/>
                <a:gd name="connsiteX55" fmla="*/ 704851 w 1562100"/>
                <a:gd name="connsiteY55" fmla="*/ 92869 h 1309687"/>
                <a:gd name="connsiteX56" fmla="*/ 657225 w 1562100"/>
                <a:gd name="connsiteY56" fmla="*/ 64294 h 1309687"/>
                <a:gd name="connsiteX57" fmla="*/ 628650 w 1562100"/>
                <a:gd name="connsiteY57" fmla="*/ 88107 h 1309687"/>
                <a:gd name="connsiteX58" fmla="*/ 500062 w 1562100"/>
                <a:gd name="connsiteY58" fmla="*/ 66676 h 1309687"/>
                <a:gd name="connsiteX59" fmla="*/ 450056 w 1562100"/>
                <a:gd name="connsiteY59" fmla="*/ 2382 h 1309687"/>
                <a:gd name="connsiteX60" fmla="*/ 428625 w 1562100"/>
                <a:gd name="connsiteY60" fmla="*/ 0 h 1309687"/>
                <a:gd name="connsiteX61" fmla="*/ 376238 w 1562100"/>
                <a:gd name="connsiteY61" fmla="*/ 104775 h 1309687"/>
                <a:gd name="connsiteX62" fmla="*/ 314326 w 1562100"/>
                <a:gd name="connsiteY62" fmla="*/ 104774 h 1309687"/>
                <a:gd name="connsiteX63" fmla="*/ 328613 w 1562100"/>
                <a:gd name="connsiteY63" fmla="*/ 183356 h 1309687"/>
                <a:gd name="connsiteX64" fmla="*/ 292894 w 1562100"/>
                <a:gd name="connsiteY64" fmla="*/ 285750 h 1309687"/>
                <a:gd name="connsiteX65" fmla="*/ 264319 w 1562100"/>
                <a:gd name="connsiteY65" fmla="*/ 292893 h 1309687"/>
                <a:gd name="connsiteX66" fmla="*/ 261938 w 1562100"/>
                <a:gd name="connsiteY66" fmla="*/ 307181 h 1309687"/>
                <a:gd name="connsiteX67" fmla="*/ 261938 w 1562100"/>
                <a:gd name="connsiteY67" fmla="*/ 340518 h 1309687"/>
                <a:gd name="connsiteX68" fmla="*/ 228600 w 1562100"/>
                <a:gd name="connsiteY68" fmla="*/ 383381 h 1309687"/>
                <a:gd name="connsiteX69" fmla="*/ 271463 w 1562100"/>
                <a:gd name="connsiteY69" fmla="*/ 400050 h 1309687"/>
                <a:gd name="connsiteX70" fmla="*/ 278606 w 1562100"/>
                <a:gd name="connsiteY70" fmla="*/ 419100 h 1309687"/>
                <a:gd name="connsiteX71" fmla="*/ 257175 w 1562100"/>
                <a:gd name="connsiteY71" fmla="*/ 454818 h 1309687"/>
                <a:gd name="connsiteX72" fmla="*/ 221456 w 1562100"/>
                <a:gd name="connsiteY72" fmla="*/ 464343 h 1309687"/>
                <a:gd name="connsiteX73" fmla="*/ 221456 w 1562100"/>
                <a:gd name="connsiteY73" fmla="*/ 504825 h 1309687"/>
                <a:gd name="connsiteX74" fmla="*/ 254794 w 1562100"/>
                <a:gd name="connsiteY74" fmla="*/ 542925 h 1309687"/>
                <a:gd name="connsiteX75" fmla="*/ 226219 w 1562100"/>
                <a:gd name="connsiteY75" fmla="*/ 607218 h 1309687"/>
                <a:gd name="connsiteX76" fmla="*/ 180975 w 1562100"/>
                <a:gd name="connsiteY76" fmla="*/ 635793 h 1309687"/>
                <a:gd name="connsiteX77" fmla="*/ 183356 w 1562100"/>
                <a:gd name="connsiteY77" fmla="*/ 652462 h 1309687"/>
                <a:gd name="connsiteX78" fmla="*/ 204788 w 1562100"/>
                <a:gd name="connsiteY78" fmla="*/ 661987 h 1309687"/>
                <a:gd name="connsiteX79" fmla="*/ 219075 w 1562100"/>
                <a:gd name="connsiteY79" fmla="*/ 671512 h 1309687"/>
                <a:gd name="connsiteX80" fmla="*/ 223838 w 1562100"/>
                <a:gd name="connsiteY80" fmla="*/ 690562 h 1309687"/>
                <a:gd name="connsiteX81" fmla="*/ 195263 w 1562100"/>
                <a:gd name="connsiteY81" fmla="*/ 716756 h 1309687"/>
                <a:gd name="connsiteX82" fmla="*/ 123825 w 1562100"/>
                <a:gd name="connsiteY82" fmla="*/ 762000 h 1309687"/>
                <a:gd name="connsiteX83" fmla="*/ 123825 w 1562100"/>
                <a:gd name="connsiteY83" fmla="*/ 797718 h 1309687"/>
                <a:gd name="connsiteX84" fmla="*/ 135731 w 1562100"/>
                <a:gd name="connsiteY84" fmla="*/ 828675 h 1309687"/>
                <a:gd name="connsiteX85" fmla="*/ 123825 w 1562100"/>
                <a:gd name="connsiteY85" fmla="*/ 869156 h 1309687"/>
                <a:gd name="connsiteX86" fmla="*/ 76200 w 1562100"/>
                <a:gd name="connsiteY86" fmla="*/ 864393 h 1309687"/>
                <a:gd name="connsiteX87" fmla="*/ 52388 w 1562100"/>
                <a:gd name="connsiteY87" fmla="*/ 809625 h 1309687"/>
                <a:gd name="connsiteX88" fmla="*/ 33338 w 1562100"/>
                <a:gd name="connsiteY88" fmla="*/ 802481 h 1309687"/>
                <a:gd name="connsiteX89" fmla="*/ 23813 w 1562100"/>
                <a:gd name="connsiteY89" fmla="*/ 840581 h 1309687"/>
                <a:gd name="connsiteX90" fmla="*/ 21431 w 1562100"/>
                <a:gd name="connsiteY90" fmla="*/ 850106 h 1309687"/>
                <a:gd name="connsiteX91" fmla="*/ 7144 w 1562100"/>
                <a:gd name="connsiteY91" fmla="*/ 866775 h 1309687"/>
                <a:gd name="connsiteX92" fmla="*/ 0 w 1562100"/>
                <a:gd name="connsiteY92" fmla="*/ 923925 h 1309687"/>
                <a:gd name="connsiteX93" fmla="*/ 23813 w 1562100"/>
                <a:gd name="connsiteY93" fmla="*/ 952500 h 1309687"/>
                <a:gd name="connsiteX94" fmla="*/ 16669 w 1562100"/>
                <a:gd name="connsiteY94" fmla="*/ 992981 h 1309687"/>
                <a:gd name="connsiteX95" fmla="*/ 35719 w 1562100"/>
                <a:gd name="connsiteY95" fmla="*/ 997743 h 1309687"/>
                <a:gd name="connsiteX96" fmla="*/ 69056 w 1562100"/>
                <a:gd name="connsiteY96" fmla="*/ 997743 h 1309687"/>
                <a:gd name="connsiteX97" fmla="*/ 85725 w 1562100"/>
                <a:gd name="connsiteY97" fmla="*/ 988218 h 1309687"/>
                <a:gd name="connsiteX98" fmla="*/ 135731 w 1562100"/>
                <a:gd name="connsiteY98" fmla="*/ 1045368 h 1309687"/>
                <a:gd name="connsiteX99" fmla="*/ 123825 w 1562100"/>
                <a:gd name="connsiteY99" fmla="*/ 1064418 h 1309687"/>
                <a:gd name="connsiteX100" fmla="*/ 133350 w 1562100"/>
                <a:gd name="connsiteY100" fmla="*/ 1092993 h 1309687"/>
                <a:gd name="connsiteX101" fmla="*/ 164306 w 1562100"/>
                <a:gd name="connsiteY101" fmla="*/ 1112043 h 1309687"/>
                <a:gd name="connsiteX102" fmla="*/ 190500 w 1562100"/>
                <a:gd name="connsiteY102" fmla="*/ 1121568 h 1309687"/>
                <a:gd name="connsiteX103" fmla="*/ 216694 w 1562100"/>
                <a:gd name="connsiteY103" fmla="*/ 1128712 h 1309687"/>
                <a:gd name="connsiteX104" fmla="*/ 228600 w 1562100"/>
                <a:gd name="connsiteY104" fmla="*/ 1131093 h 1309687"/>
                <a:gd name="connsiteX105" fmla="*/ 240506 w 1562100"/>
                <a:gd name="connsiteY105" fmla="*/ 1092993 h 1309687"/>
                <a:gd name="connsiteX106" fmla="*/ 269081 w 1562100"/>
                <a:gd name="connsiteY106" fmla="*/ 1097756 h 1309687"/>
                <a:gd name="connsiteX107" fmla="*/ 288131 w 1562100"/>
                <a:gd name="connsiteY107" fmla="*/ 1085850 h 1309687"/>
                <a:gd name="connsiteX108" fmla="*/ 307181 w 1562100"/>
                <a:gd name="connsiteY108" fmla="*/ 1135856 h 1309687"/>
                <a:gd name="connsiteX109" fmla="*/ 330994 w 1562100"/>
                <a:gd name="connsiteY109" fmla="*/ 1150143 h 1309687"/>
                <a:gd name="connsiteX110" fmla="*/ 340519 w 1562100"/>
                <a:gd name="connsiteY110" fmla="*/ 1178718 h 1309687"/>
                <a:gd name="connsiteX111" fmla="*/ 357188 w 1562100"/>
                <a:gd name="connsiteY111" fmla="*/ 1188243 h 1309687"/>
                <a:gd name="connsiteX112" fmla="*/ 364331 w 1562100"/>
                <a:gd name="connsiteY112" fmla="*/ 1219200 h 1309687"/>
                <a:gd name="connsiteX113" fmla="*/ 335756 w 1562100"/>
                <a:gd name="connsiteY113" fmla="*/ 1245393 h 1309687"/>
                <a:gd name="connsiteX114" fmla="*/ 309563 w 1562100"/>
                <a:gd name="connsiteY114" fmla="*/ 1262062 h 1309687"/>
                <a:gd name="connsiteX115" fmla="*/ 297656 w 1562100"/>
                <a:gd name="connsiteY115" fmla="*/ 1285875 h 1309687"/>
                <a:gd name="connsiteX116" fmla="*/ 302419 w 1562100"/>
                <a:gd name="connsiteY116" fmla="*/ 1309687 h 1309687"/>
                <a:gd name="connsiteX117" fmla="*/ 342900 w 1562100"/>
                <a:gd name="connsiteY117" fmla="*/ 1309687 h 1309687"/>
                <a:gd name="connsiteX118" fmla="*/ 390525 w 1562100"/>
                <a:gd name="connsiteY118" fmla="*/ 1304925 h 1309687"/>
                <a:gd name="connsiteX119" fmla="*/ 428625 w 1562100"/>
                <a:gd name="connsiteY119" fmla="*/ 1295400 h 1309687"/>
                <a:gd name="connsiteX120" fmla="*/ 454819 w 1562100"/>
                <a:gd name="connsiteY120" fmla="*/ 1302543 h 1309687"/>
                <a:gd name="connsiteX121" fmla="*/ 473869 w 1562100"/>
                <a:gd name="connsiteY121" fmla="*/ 1281112 h 1309687"/>
                <a:gd name="connsiteX122" fmla="*/ 492919 w 1562100"/>
                <a:gd name="connsiteY122" fmla="*/ 1281112 h 1309687"/>
                <a:gd name="connsiteX123" fmla="*/ 507206 w 1562100"/>
                <a:gd name="connsiteY123" fmla="*/ 1250156 h 1309687"/>
                <a:gd name="connsiteX124" fmla="*/ 557213 w 1562100"/>
                <a:gd name="connsiteY124" fmla="*/ 1235868 h 1309687"/>
                <a:gd name="connsiteX125" fmla="*/ 583406 w 1562100"/>
                <a:gd name="connsiteY125" fmla="*/ 1216818 h 1309687"/>
                <a:gd name="connsiteX126" fmla="*/ 590550 w 1562100"/>
                <a:gd name="connsiteY126" fmla="*/ 1178718 h 1309687"/>
                <a:gd name="connsiteX127" fmla="*/ 607219 w 1562100"/>
                <a:gd name="connsiteY127" fmla="*/ 1152525 h 1309687"/>
                <a:gd name="connsiteX128" fmla="*/ 688181 w 1562100"/>
                <a:gd name="connsiteY128" fmla="*/ 1183481 h 1309687"/>
                <a:gd name="connsiteX0" fmla="*/ 688181 w 1562100"/>
                <a:gd name="connsiteY0" fmla="*/ 1183481 h 1309687"/>
                <a:gd name="connsiteX1" fmla="*/ 688181 w 1562100"/>
                <a:gd name="connsiteY1" fmla="*/ 1097756 h 1309687"/>
                <a:gd name="connsiteX2" fmla="*/ 692944 w 1562100"/>
                <a:gd name="connsiteY2" fmla="*/ 1054893 h 1309687"/>
                <a:gd name="connsiteX3" fmla="*/ 692944 w 1562100"/>
                <a:gd name="connsiteY3" fmla="*/ 1009650 h 1309687"/>
                <a:gd name="connsiteX4" fmla="*/ 676275 w 1562100"/>
                <a:gd name="connsiteY4" fmla="*/ 985837 h 1309687"/>
                <a:gd name="connsiteX5" fmla="*/ 690563 w 1562100"/>
                <a:gd name="connsiteY5" fmla="*/ 933450 h 1309687"/>
                <a:gd name="connsiteX6" fmla="*/ 685800 w 1562100"/>
                <a:gd name="connsiteY6" fmla="*/ 907256 h 1309687"/>
                <a:gd name="connsiteX7" fmla="*/ 697706 w 1562100"/>
                <a:gd name="connsiteY7" fmla="*/ 862012 h 1309687"/>
                <a:gd name="connsiteX8" fmla="*/ 714375 w 1562100"/>
                <a:gd name="connsiteY8" fmla="*/ 838200 h 1309687"/>
                <a:gd name="connsiteX9" fmla="*/ 721519 w 1562100"/>
                <a:gd name="connsiteY9" fmla="*/ 804862 h 1309687"/>
                <a:gd name="connsiteX10" fmla="*/ 735806 w 1562100"/>
                <a:gd name="connsiteY10" fmla="*/ 785812 h 1309687"/>
                <a:gd name="connsiteX11" fmla="*/ 792956 w 1562100"/>
                <a:gd name="connsiteY11" fmla="*/ 776287 h 1309687"/>
                <a:gd name="connsiteX12" fmla="*/ 838200 w 1562100"/>
                <a:gd name="connsiteY12" fmla="*/ 759618 h 1309687"/>
                <a:gd name="connsiteX13" fmla="*/ 876300 w 1562100"/>
                <a:gd name="connsiteY13" fmla="*/ 719137 h 1309687"/>
                <a:gd name="connsiteX14" fmla="*/ 923925 w 1562100"/>
                <a:gd name="connsiteY14" fmla="*/ 704850 h 1309687"/>
                <a:gd name="connsiteX15" fmla="*/ 995363 w 1562100"/>
                <a:gd name="connsiteY15" fmla="*/ 700087 h 1309687"/>
                <a:gd name="connsiteX16" fmla="*/ 1040606 w 1562100"/>
                <a:gd name="connsiteY16" fmla="*/ 690562 h 1309687"/>
                <a:gd name="connsiteX17" fmla="*/ 1119188 w 1562100"/>
                <a:gd name="connsiteY17" fmla="*/ 583406 h 1309687"/>
                <a:gd name="connsiteX18" fmla="*/ 1126331 w 1562100"/>
                <a:gd name="connsiteY18" fmla="*/ 550068 h 1309687"/>
                <a:gd name="connsiteX19" fmla="*/ 1152525 w 1562100"/>
                <a:gd name="connsiteY19" fmla="*/ 521493 h 1309687"/>
                <a:gd name="connsiteX20" fmla="*/ 1197769 w 1562100"/>
                <a:gd name="connsiteY20" fmla="*/ 511968 h 1309687"/>
                <a:gd name="connsiteX21" fmla="*/ 1290638 w 1562100"/>
                <a:gd name="connsiteY21" fmla="*/ 435768 h 1309687"/>
                <a:gd name="connsiteX22" fmla="*/ 1314450 w 1562100"/>
                <a:gd name="connsiteY22" fmla="*/ 433387 h 1309687"/>
                <a:gd name="connsiteX23" fmla="*/ 1409700 w 1562100"/>
                <a:gd name="connsiteY23" fmla="*/ 352425 h 1309687"/>
                <a:gd name="connsiteX24" fmla="*/ 1414463 w 1562100"/>
                <a:gd name="connsiteY24" fmla="*/ 333375 h 1309687"/>
                <a:gd name="connsiteX25" fmla="*/ 1507331 w 1562100"/>
                <a:gd name="connsiteY25" fmla="*/ 278606 h 1309687"/>
                <a:gd name="connsiteX26" fmla="*/ 1543050 w 1562100"/>
                <a:gd name="connsiteY26" fmla="*/ 233362 h 1309687"/>
                <a:gd name="connsiteX27" fmla="*/ 1562100 w 1562100"/>
                <a:gd name="connsiteY27" fmla="*/ 195262 h 1309687"/>
                <a:gd name="connsiteX28" fmla="*/ 1512094 w 1562100"/>
                <a:gd name="connsiteY28" fmla="*/ 214312 h 1309687"/>
                <a:gd name="connsiteX29" fmla="*/ 1478756 w 1562100"/>
                <a:gd name="connsiteY29" fmla="*/ 214312 h 1309687"/>
                <a:gd name="connsiteX30" fmla="*/ 1452563 w 1562100"/>
                <a:gd name="connsiteY30" fmla="*/ 252412 h 1309687"/>
                <a:gd name="connsiteX31" fmla="*/ 1421606 w 1562100"/>
                <a:gd name="connsiteY31" fmla="*/ 250031 h 1309687"/>
                <a:gd name="connsiteX32" fmla="*/ 1366838 w 1562100"/>
                <a:gd name="connsiteY32" fmla="*/ 219075 h 1309687"/>
                <a:gd name="connsiteX33" fmla="*/ 1323975 w 1562100"/>
                <a:gd name="connsiteY33" fmla="*/ 207168 h 1309687"/>
                <a:gd name="connsiteX34" fmla="*/ 1238250 w 1562100"/>
                <a:gd name="connsiteY34" fmla="*/ 242887 h 1309687"/>
                <a:gd name="connsiteX35" fmla="*/ 1223963 w 1562100"/>
                <a:gd name="connsiteY35" fmla="*/ 280987 h 1309687"/>
                <a:gd name="connsiteX36" fmla="*/ 1195388 w 1562100"/>
                <a:gd name="connsiteY36" fmla="*/ 338137 h 1309687"/>
                <a:gd name="connsiteX37" fmla="*/ 1109663 w 1562100"/>
                <a:gd name="connsiteY37" fmla="*/ 300037 h 1309687"/>
                <a:gd name="connsiteX38" fmla="*/ 1097756 w 1562100"/>
                <a:gd name="connsiteY38" fmla="*/ 342900 h 1309687"/>
                <a:gd name="connsiteX39" fmla="*/ 1083469 w 1562100"/>
                <a:gd name="connsiteY39" fmla="*/ 376237 h 1309687"/>
                <a:gd name="connsiteX40" fmla="*/ 959644 w 1562100"/>
                <a:gd name="connsiteY40" fmla="*/ 407193 h 1309687"/>
                <a:gd name="connsiteX41" fmla="*/ 945356 w 1562100"/>
                <a:gd name="connsiteY41" fmla="*/ 402431 h 1309687"/>
                <a:gd name="connsiteX42" fmla="*/ 926306 w 1562100"/>
                <a:gd name="connsiteY42" fmla="*/ 423862 h 1309687"/>
                <a:gd name="connsiteX43" fmla="*/ 890588 w 1562100"/>
                <a:gd name="connsiteY43" fmla="*/ 431006 h 1309687"/>
                <a:gd name="connsiteX44" fmla="*/ 854869 w 1562100"/>
                <a:gd name="connsiteY44" fmla="*/ 381000 h 1309687"/>
                <a:gd name="connsiteX45" fmla="*/ 835819 w 1562100"/>
                <a:gd name="connsiteY45" fmla="*/ 369093 h 1309687"/>
                <a:gd name="connsiteX46" fmla="*/ 826294 w 1562100"/>
                <a:gd name="connsiteY46" fmla="*/ 323850 h 1309687"/>
                <a:gd name="connsiteX47" fmla="*/ 792956 w 1562100"/>
                <a:gd name="connsiteY47" fmla="*/ 307181 h 1309687"/>
                <a:gd name="connsiteX48" fmla="*/ 759619 w 1562100"/>
                <a:gd name="connsiteY48" fmla="*/ 300037 h 1309687"/>
                <a:gd name="connsiteX49" fmla="*/ 740569 w 1562100"/>
                <a:gd name="connsiteY49" fmla="*/ 295275 h 1309687"/>
                <a:gd name="connsiteX50" fmla="*/ 728663 w 1562100"/>
                <a:gd name="connsiteY50" fmla="*/ 285750 h 1309687"/>
                <a:gd name="connsiteX51" fmla="*/ 735806 w 1562100"/>
                <a:gd name="connsiteY51" fmla="*/ 259556 h 1309687"/>
                <a:gd name="connsiteX52" fmla="*/ 742950 w 1562100"/>
                <a:gd name="connsiteY52" fmla="*/ 235743 h 1309687"/>
                <a:gd name="connsiteX53" fmla="*/ 700088 w 1562100"/>
                <a:gd name="connsiteY53" fmla="*/ 185737 h 1309687"/>
                <a:gd name="connsiteX54" fmla="*/ 681038 w 1562100"/>
                <a:gd name="connsiteY54" fmla="*/ 157164 h 1309687"/>
                <a:gd name="connsiteX55" fmla="*/ 704851 w 1562100"/>
                <a:gd name="connsiteY55" fmla="*/ 92869 h 1309687"/>
                <a:gd name="connsiteX56" fmla="*/ 657225 w 1562100"/>
                <a:gd name="connsiteY56" fmla="*/ 64294 h 1309687"/>
                <a:gd name="connsiteX57" fmla="*/ 628650 w 1562100"/>
                <a:gd name="connsiteY57" fmla="*/ 88107 h 1309687"/>
                <a:gd name="connsiteX58" fmla="*/ 500062 w 1562100"/>
                <a:gd name="connsiteY58" fmla="*/ 66676 h 1309687"/>
                <a:gd name="connsiteX59" fmla="*/ 450056 w 1562100"/>
                <a:gd name="connsiteY59" fmla="*/ 2382 h 1309687"/>
                <a:gd name="connsiteX60" fmla="*/ 428625 w 1562100"/>
                <a:gd name="connsiteY60" fmla="*/ 0 h 1309687"/>
                <a:gd name="connsiteX61" fmla="*/ 376238 w 1562100"/>
                <a:gd name="connsiteY61" fmla="*/ 104775 h 1309687"/>
                <a:gd name="connsiteX62" fmla="*/ 314326 w 1562100"/>
                <a:gd name="connsiteY62" fmla="*/ 104774 h 1309687"/>
                <a:gd name="connsiteX63" fmla="*/ 328613 w 1562100"/>
                <a:gd name="connsiteY63" fmla="*/ 183356 h 1309687"/>
                <a:gd name="connsiteX64" fmla="*/ 292894 w 1562100"/>
                <a:gd name="connsiteY64" fmla="*/ 285750 h 1309687"/>
                <a:gd name="connsiteX65" fmla="*/ 264319 w 1562100"/>
                <a:gd name="connsiteY65" fmla="*/ 292893 h 1309687"/>
                <a:gd name="connsiteX66" fmla="*/ 261938 w 1562100"/>
                <a:gd name="connsiteY66" fmla="*/ 307181 h 1309687"/>
                <a:gd name="connsiteX67" fmla="*/ 261938 w 1562100"/>
                <a:gd name="connsiteY67" fmla="*/ 340518 h 1309687"/>
                <a:gd name="connsiteX68" fmla="*/ 228600 w 1562100"/>
                <a:gd name="connsiteY68" fmla="*/ 383381 h 1309687"/>
                <a:gd name="connsiteX69" fmla="*/ 271463 w 1562100"/>
                <a:gd name="connsiteY69" fmla="*/ 400050 h 1309687"/>
                <a:gd name="connsiteX70" fmla="*/ 278606 w 1562100"/>
                <a:gd name="connsiteY70" fmla="*/ 419100 h 1309687"/>
                <a:gd name="connsiteX71" fmla="*/ 257175 w 1562100"/>
                <a:gd name="connsiteY71" fmla="*/ 454818 h 1309687"/>
                <a:gd name="connsiteX72" fmla="*/ 221456 w 1562100"/>
                <a:gd name="connsiteY72" fmla="*/ 464343 h 1309687"/>
                <a:gd name="connsiteX73" fmla="*/ 221456 w 1562100"/>
                <a:gd name="connsiteY73" fmla="*/ 504825 h 1309687"/>
                <a:gd name="connsiteX74" fmla="*/ 254794 w 1562100"/>
                <a:gd name="connsiteY74" fmla="*/ 542925 h 1309687"/>
                <a:gd name="connsiteX75" fmla="*/ 226219 w 1562100"/>
                <a:gd name="connsiteY75" fmla="*/ 607218 h 1309687"/>
                <a:gd name="connsiteX76" fmla="*/ 180975 w 1562100"/>
                <a:gd name="connsiteY76" fmla="*/ 635793 h 1309687"/>
                <a:gd name="connsiteX77" fmla="*/ 183356 w 1562100"/>
                <a:gd name="connsiteY77" fmla="*/ 652462 h 1309687"/>
                <a:gd name="connsiteX78" fmla="*/ 204788 w 1562100"/>
                <a:gd name="connsiteY78" fmla="*/ 661987 h 1309687"/>
                <a:gd name="connsiteX79" fmla="*/ 219075 w 1562100"/>
                <a:gd name="connsiteY79" fmla="*/ 671512 h 1309687"/>
                <a:gd name="connsiteX80" fmla="*/ 223838 w 1562100"/>
                <a:gd name="connsiteY80" fmla="*/ 690562 h 1309687"/>
                <a:gd name="connsiteX81" fmla="*/ 195263 w 1562100"/>
                <a:gd name="connsiteY81" fmla="*/ 716756 h 1309687"/>
                <a:gd name="connsiteX82" fmla="*/ 123825 w 1562100"/>
                <a:gd name="connsiteY82" fmla="*/ 762000 h 1309687"/>
                <a:gd name="connsiteX83" fmla="*/ 123825 w 1562100"/>
                <a:gd name="connsiteY83" fmla="*/ 797718 h 1309687"/>
                <a:gd name="connsiteX84" fmla="*/ 135731 w 1562100"/>
                <a:gd name="connsiteY84" fmla="*/ 828675 h 1309687"/>
                <a:gd name="connsiteX85" fmla="*/ 123825 w 1562100"/>
                <a:gd name="connsiteY85" fmla="*/ 869156 h 1309687"/>
                <a:gd name="connsiteX86" fmla="*/ 76200 w 1562100"/>
                <a:gd name="connsiteY86" fmla="*/ 864393 h 1309687"/>
                <a:gd name="connsiteX87" fmla="*/ 52388 w 1562100"/>
                <a:gd name="connsiteY87" fmla="*/ 809625 h 1309687"/>
                <a:gd name="connsiteX88" fmla="*/ 33338 w 1562100"/>
                <a:gd name="connsiteY88" fmla="*/ 802481 h 1309687"/>
                <a:gd name="connsiteX89" fmla="*/ 23813 w 1562100"/>
                <a:gd name="connsiteY89" fmla="*/ 840581 h 1309687"/>
                <a:gd name="connsiteX90" fmla="*/ 21431 w 1562100"/>
                <a:gd name="connsiteY90" fmla="*/ 850106 h 1309687"/>
                <a:gd name="connsiteX91" fmla="*/ 7144 w 1562100"/>
                <a:gd name="connsiteY91" fmla="*/ 866775 h 1309687"/>
                <a:gd name="connsiteX92" fmla="*/ 0 w 1562100"/>
                <a:gd name="connsiteY92" fmla="*/ 923925 h 1309687"/>
                <a:gd name="connsiteX93" fmla="*/ 23813 w 1562100"/>
                <a:gd name="connsiteY93" fmla="*/ 952500 h 1309687"/>
                <a:gd name="connsiteX94" fmla="*/ 16669 w 1562100"/>
                <a:gd name="connsiteY94" fmla="*/ 992981 h 1309687"/>
                <a:gd name="connsiteX95" fmla="*/ 35719 w 1562100"/>
                <a:gd name="connsiteY95" fmla="*/ 997743 h 1309687"/>
                <a:gd name="connsiteX96" fmla="*/ 69056 w 1562100"/>
                <a:gd name="connsiteY96" fmla="*/ 997743 h 1309687"/>
                <a:gd name="connsiteX97" fmla="*/ 85725 w 1562100"/>
                <a:gd name="connsiteY97" fmla="*/ 988218 h 1309687"/>
                <a:gd name="connsiteX98" fmla="*/ 135731 w 1562100"/>
                <a:gd name="connsiteY98" fmla="*/ 1045368 h 1309687"/>
                <a:gd name="connsiteX99" fmla="*/ 123825 w 1562100"/>
                <a:gd name="connsiteY99" fmla="*/ 1064418 h 1309687"/>
                <a:gd name="connsiteX100" fmla="*/ 133350 w 1562100"/>
                <a:gd name="connsiteY100" fmla="*/ 1092993 h 1309687"/>
                <a:gd name="connsiteX101" fmla="*/ 164306 w 1562100"/>
                <a:gd name="connsiteY101" fmla="*/ 1112043 h 1309687"/>
                <a:gd name="connsiteX102" fmla="*/ 190500 w 1562100"/>
                <a:gd name="connsiteY102" fmla="*/ 1121568 h 1309687"/>
                <a:gd name="connsiteX103" fmla="*/ 216694 w 1562100"/>
                <a:gd name="connsiteY103" fmla="*/ 1128712 h 1309687"/>
                <a:gd name="connsiteX104" fmla="*/ 228600 w 1562100"/>
                <a:gd name="connsiteY104" fmla="*/ 1131093 h 1309687"/>
                <a:gd name="connsiteX105" fmla="*/ 240506 w 1562100"/>
                <a:gd name="connsiteY105" fmla="*/ 1092993 h 1309687"/>
                <a:gd name="connsiteX106" fmla="*/ 269081 w 1562100"/>
                <a:gd name="connsiteY106" fmla="*/ 1097756 h 1309687"/>
                <a:gd name="connsiteX107" fmla="*/ 288131 w 1562100"/>
                <a:gd name="connsiteY107" fmla="*/ 1085850 h 1309687"/>
                <a:gd name="connsiteX108" fmla="*/ 307181 w 1562100"/>
                <a:gd name="connsiteY108" fmla="*/ 1135856 h 1309687"/>
                <a:gd name="connsiteX109" fmla="*/ 330994 w 1562100"/>
                <a:gd name="connsiteY109" fmla="*/ 1150143 h 1309687"/>
                <a:gd name="connsiteX110" fmla="*/ 340519 w 1562100"/>
                <a:gd name="connsiteY110" fmla="*/ 1178718 h 1309687"/>
                <a:gd name="connsiteX111" fmla="*/ 357188 w 1562100"/>
                <a:gd name="connsiteY111" fmla="*/ 1188243 h 1309687"/>
                <a:gd name="connsiteX112" fmla="*/ 364331 w 1562100"/>
                <a:gd name="connsiteY112" fmla="*/ 1219200 h 1309687"/>
                <a:gd name="connsiteX113" fmla="*/ 335756 w 1562100"/>
                <a:gd name="connsiteY113" fmla="*/ 1245393 h 1309687"/>
                <a:gd name="connsiteX114" fmla="*/ 309563 w 1562100"/>
                <a:gd name="connsiteY114" fmla="*/ 1262062 h 1309687"/>
                <a:gd name="connsiteX115" fmla="*/ 297656 w 1562100"/>
                <a:gd name="connsiteY115" fmla="*/ 1285875 h 1309687"/>
                <a:gd name="connsiteX116" fmla="*/ 302419 w 1562100"/>
                <a:gd name="connsiteY116" fmla="*/ 1309687 h 1309687"/>
                <a:gd name="connsiteX117" fmla="*/ 342900 w 1562100"/>
                <a:gd name="connsiteY117" fmla="*/ 1309687 h 1309687"/>
                <a:gd name="connsiteX118" fmla="*/ 390525 w 1562100"/>
                <a:gd name="connsiteY118" fmla="*/ 1304925 h 1309687"/>
                <a:gd name="connsiteX119" fmla="*/ 428625 w 1562100"/>
                <a:gd name="connsiteY119" fmla="*/ 1295400 h 1309687"/>
                <a:gd name="connsiteX120" fmla="*/ 454819 w 1562100"/>
                <a:gd name="connsiteY120" fmla="*/ 1302543 h 1309687"/>
                <a:gd name="connsiteX121" fmla="*/ 473869 w 1562100"/>
                <a:gd name="connsiteY121" fmla="*/ 1281112 h 1309687"/>
                <a:gd name="connsiteX122" fmla="*/ 492919 w 1562100"/>
                <a:gd name="connsiteY122" fmla="*/ 1281112 h 1309687"/>
                <a:gd name="connsiteX123" fmla="*/ 507206 w 1562100"/>
                <a:gd name="connsiteY123" fmla="*/ 1250156 h 1309687"/>
                <a:gd name="connsiteX124" fmla="*/ 557213 w 1562100"/>
                <a:gd name="connsiteY124" fmla="*/ 1235868 h 1309687"/>
                <a:gd name="connsiteX125" fmla="*/ 583406 w 1562100"/>
                <a:gd name="connsiteY125" fmla="*/ 1216818 h 1309687"/>
                <a:gd name="connsiteX126" fmla="*/ 590550 w 1562100"/>
                <a:gd name="connsiteY126" fmla="*/ 1178718 h 1309687"/>
                <a:gd name="connsiteX127" fmla="*/ 607219 w 1562100"/>
                <a:gd name="connsiteY127" fmla="*/ 1152525 h 1309687"/>
                <a:gd name="connsiteX128" fmla="*/ 688181 w 1562100"/>
                <a:gd name="connsiteY128" fmla="*/ 1183481 h 1309687"/>
                <a:gd name="connsiteX0" fmla="*/ 688181 w 1562100"/>
                <a:gd name="connsiteY0" fmla="*/ 1183481 h 1309687"/>
                <a:gd name="connsiteX1" fmla="*/ 688181 w 1562100"/>
                <a:gd name="connsiteY1" fmla="*/ 1097756 h 1309687"/>
                <a:gd name="connsiteX2" fmla="*/ 692944 w 1562100"/>
                <a:gd name="connsiteY2" fmla="*/ 1054893 h 1309687"/>
                <a:gd name="connsiteX3" fmla="*/ 692944 w 1562100"/>
                <a:gd name="connsiteY3" fmla="*/ 1009650 h 1309687"/>
                <a:gd name="connsiteX4" fmla="*/ 676275 w 1562100"/>
                <a:gd name="connsiteY4" fmla="*/ 985837 h 1309687"/>
                <a:gd name="connsiteX5" fmla="*/ 690563 w 1562100"/>
                <a:gd name="connsiteY5" fmla="*/ 933450 h 1309687"/>
                <a:gd name="connsiteX6" fmla="*/ 685800 w 1562100"/>
                <a:gd name="connsiteY6" fmla="*/ 907256 h 1309687"/>
                <a:gd name="connsiteX7" fmla="*/ 697706 w 1562100"/>
                <a:gd name="connsiteY7" fmla="*/ 862012 h 1309687"/>
                <a:gd name="connsiteX8" fmla="*/ 714375 w 1562100"/>
                <a:gd name="connsiteY8" fmla="*/ 838200 h 1309687"/>
                <a:gd name="connsiteX9" fmla="*/ 721519 w 1562100"/>
                <a:gd name="connsiteY9" fmla="*/ 804862 h 1309687"/>
                <a:gd name="connsiteX10" fmla="*/ 735806 w 1562100"/>
                <a:gd name="connsiteY10" fmla="*/ 785812 h 1309687"/>
                <a:gd name="connsiteX11" fmla="*/ 792956 w 1562100"/>
                <a:gd name="connsiteY11" fmla="*/ 776287 h 1309687"/>
                <a:gd name="connsiteX12" fmla="*/ 838200 w 1562100"/>
                <a:gd name="connsiteY12" fmla="*/ 759618 h 1309687"/>
                <a:gd name="connsiteX13" fmla="*/ 876300 w 1562100"/>
                <a:gd name="connsiteY13" fmla="*/ 719137 h 1309687"/>
                <a:gd name="connsiteX14" fmla="*/ 923925 w 1562100"/>
                <a:gd name="connsiteY14" fmla="*/ 704850 h 1309687"/>
                <a:gd name="connsiteX15" fmla="*/ 995363 w 1562100"/>
                <a:gd name="connsiteY15" fmla="*/ 700087 h 1309687"/>
                <a:gd name="connsiteX16" fmla="*/ 1040606 w 1562100"/>
                <a:gd name="connsiteY16" fmla="*/ 690562 h 1309687"/>
                <a:gd name="connsiteX17" fmla="*/ 1119188 w 1562100"/>
                <a:gd name="connsiteY17" fmla="*/ 583406 h 1309687"/>
                <a:gd name="connsiteX18" fmla="*/ 1126331 w 1562100"/>
                <a:gd name="connsiteY18" fmla="*/ 550068 h 1309687"/>
                <a:gd name="connsiteX19" fmla="*/ 1152525 w 1562100"/>
                <a:gd name="connsiteY19" fmla="*/ 521493 h 1309687"/>
                <a:gd name="connsiteX20" fmla="*/ 1197769 w 1562100"/>
                <a:gd name="connsiteY20" fmla="*/ 511968 h 1309687"/>
                <a:gd name="connsiteX21" fmla="*/ 1290638 w 1562100"/>
                <a:gd name="connsiteY21" fmla="*/ 435768 h 1309687"/>
                <a:gd name="connsiteX22" fmla="*/ 1314450 w 1562100"/>
                <a:gd name="connsiteY22" fmla="*/ 433387 h 1309687"/>
                <a:gd name="connsiteX23" fmla="*/ 1409700 w 1562100"/>
                <a:gd name="connsiteY23" fmla="*/ 352425 h 1309687"/>
                <a:gd name="connsiteX24" fmla="*/ 1414463 w 1562100"/>
                <a:gd name="connsiteY24" fmla="*/ 333375 h 1309687"/>
                <a:gd name="connsiteX25" fmla="*/ 1507331 w 1562100"/>
                <a:gd name="connsiteY25" fmla="*/ 278606 h 1309687"/>
                <a:gd name="connsiteX26" fmla="*/ 1543050 w 1562100"/>
                <a:gd name="connsiteY26" fmla="*/ 233362 h 1309687"/>
                <a:gd name="connsiteX27" fmla="*/ 1562100 w 1562100"/>
                <a:gd name="connsiteY27" fmla="*/ 195262 h 1309687"/>
                <a:gd name="connsiteX28" fmla="*/ 1512094 w 1562100"/>
                <a:gd name="connsiteY28" fmla="*/ 214312 h 1309687"/>
                <a:gd name="connsiteX29" fmla="*/ 1478756 w 1562100"/>
                <a:gd name="connsiteY29" fmla="*/ 214312 h 1309687"/>
                <a:gd name="connsiteX30" fmla="*/ 1452563 w 1562100"/>
                <a:gd name="connsiteY30" fmla="*/ 252412 h 1309687"/>
                <a:gd name="connsiteX31" fmla="*/ 1421606 w 1562100"/>
                <a:gd name="connsiteY31" fmla="*/ 250031 h 1309687"/>
                <a:gd name="connsiteX32" fmla="*/ 1366838 w 1562100"/>
                <a:gd name="connsiteY32" fmla="*/ 219075 h 1309687"/>
                <a:gd name="connsiteX33" fmla="*/ 1323975 w 1562100"/>
                <a:gd name="connsiteY33" fmla="*/ 207168 h 1309687"/>
                <a:gd name="connsiteX34" fmla="*/ 1238250 w 1562100"/>
                <a:gd name="connsiteY34" fmla="*/ 242887 h 1309687"/>
                <a:gd name="connsiteX35" fmla="*/ 1223963 w 1562100"/>
                <a:gd name="connsiteY35" fmla="*/ 280987 h 1309687"/>
                <a:gd name="connsiteX36" fmla="*/ 1195388 w 1562100"/>
                <a:gd name="connsiteY36" fmla="*/ 338137 h 1309687"/>
                <a:gd name="connsiteX37" fmla="*/ 1109663 w 1562100"/>
                <a:gd name="connsiteY37" fmla="*/ 300037 h 1309687"/>
                <a:gd name="connsiteX38" fmla="*/ 1097756 w 1562100"/>
                <a:gd name="connsiteY38" fmla="*/ 342900 h 1309687"/>
                <a:gd name="connsiteX39" fmla="*/ 1083469 w 1562100"/>
                <a:gd name="connsiteY39" fmla="*/ 376237 h 1309687"/>
                <a:gd name="connsiteX40" fmla="*/ 959644 w 1562100"/>
                <a:gd name="connsiteY40" fmla="*/ 407193 h 1309687"/>
                <a:gd name="connsiteX41" fmla="*/ 945356 w 1562100"/>
                <a:gd name="connsiteY41" fmla="*/ 402431 h 1309687"/>
                <a:gd name="connsiteX42" fmla="*/ 926306 w 1562100"/>
                <a:gd name="connsiteY42" fmla="*/ 423862 h 1309687"/>
                <a:gd name="connsiteX43" fmla="*/ 890588 w 1562100"/>
                <a:gd name="connsiteY43" fmla="*/ 431006 h 1309687"/>
                <a:gd name="connsiteX44" fmla="*/ 854869 w 1562100"/>
                <a:gd name="connsiteY44" fmla="*/ 381000 h 1309687"/>
                <a:gd name="connsiteX45" fmla="*/ 835819 w 1562100"/>
                <a:gd name="connsiteY45" fmla="*/ 369093 h 1309687"/>
                <a:gd name="connsiteX46" fmla="*/ 826294 w 1562100"/>
                <a:gd name="connsiteY46" fmla="*/ 323850 h 1309687"/>
                <a:gd name="connsiteX47" fmla="*/ 792956 w 1562100"/>
                <a:gd name="connsiteY47" fmla="*/ 307181 h 1309687"/>
                <a:gd name="connsiteX48" fmla="*/ 759619 w 1562100"/>
                <a:gd name="connsiteY48" fmla="*/ 300037 h 1309687"/>
                <a:gd name="connsiteX49" fmla="*/ 740569 w 1562100"/>
                <a:gd name="connsiteY49" fmla="*/ 295275 h 1309687"/>
                <a:gd name="connsiteX50" fmla="*/ 728663 w 1562100"/>
                <a:gd name="connsiteY50" fmla="*/ 285750 h 1309687"/>
                <a:gd name="connsiteX51" fmla="*/ 735806 w 1562100"/>
                <a:gd name="connsiteY51" fmla="*/ 259556 h 1309687"/>
                <a:gd name="connsiteX52" fmla="*/ 742950 w 1562100"/>
                <a:gd name="connsiteY52" fmla="*/ 235743 h 1309687"/>
                <a:gd name="connsiteX53" fmla="*/ 700088 w 1562100"/>
                <a:gd name="connsiteY53" fmla="*/ 185737 h 1309687"/>
                <a:gd name="connsiteX54" fmla="*/ 681038 w 1562100"/>
                <a:gd name="connsiteY54" fmla="*/ 157164 h 1309687"/>
                <a:gd name="connsiteX55" fmla="*/ 704851 w 1562100"/>
                <a:gd name="connsiteY55" fmla="*/ 92869 h 1309687"/>
                <a:gd name="connsiteX56" fmla="*/ 657225 w 1562100"/>
                <a:gd name="connsiteY56" fmla="*/ 64294 h 1309687"/>
                <a:gd name="connsiteX57" fmla="*/ 628650 w 1562100"/>
                <a:gd name="connsiteY57" fmla="*/ 88107 h 1309687"/>
                <a:gd name="connsiteX58" fmla="*/ 500062 w 1562100"/>
                <a:gd name="connsiteY58" fmla="*/ 66676 h 1309687"/>
                <a:gd name="connsiteX59" fmla="*/ 450056 w 1562100"/>
                <a:gd name="connsiteY59" fmla="*/ 2382 h 1309687"/>
                <a:gd name="connsiteX60" fmla="*/ 428625 w 1562100"/>
                <a:gd name="connsiteY60" fmla="*/ 0 h 1309687"/>
                <a:gd name="connsiteX61" fmla="*/ 376238 w 1562100"/>
                <a:gd name="connsiteY61" fmla="*/ 104775 h 1309687"/>
                <a:gd name="connsiteX62" fmla="*/ 314326 w 1562100"/>
                <a:gd name="connsiteY62" fmla="*/ 104774 h 1309687"/>
                <a:gd name="connsiteX63" fmla="*/ 328613 w 1562100"/>
                <a:gd name="connsiteY63" fmla="*/ 183356 h 1309687"/>
                <a:gd name="connsiteX64" fmla="*/ 292894 w 1562100"/>
                <a:gd name="connsiteY64" fmla="*/ 285750 h 1309687"/>
                <a:gd name="connsiteX65" fmla="*/ 264319 w 1562100"/>
                <a:gd name="connsiteY65" fmla="*/ 292893 h 1309687"/>
                <a:gd name="connsiteX66" fmla="*/ 261938 w 1562100"/>
                <a:gd name="connsiteY66" fmla="*/ 307181 h 1309687"/>
                <a:gd name="connsiteX67" fmla="*/ 261938 w 1562100"/>
                <a:gd name="connsiteY67" fmla="*/ 340518 h 1309687"/>
                <a:gd name="connsiteX68" fmla="*/ 228600 w 1562100"/>
                <a:gd name="connsiteY68" fmla="*/ 383381 h 1309687"/>
                <a:gd name="connsiteX69" fmla="*/ 271463 w 1562100"/>
                <a:gd name="connsiteY69" fmla="*/ 400050 h 1309687"/>
                <a:gd name="connsiteX70" fmla="*/ 278606 w 1562100"/>
                <a:gd name="connsiteY70" fmla="*/ 419100 h 1309687"/>
                <a:gd name="connsiteX71" fmla="*/ 257175 w 1562100"/>
                <a:gd name="connsiteY71" fmla="*/ 454818 h 1309687"/>
                <a:gd name="connsiteX72" fmla="*/ 221456 w 1562100"/>
                <a:gd name="connsiteY72" fmla="*/ 464343 h 1309687"/>
                <a:gd name="connsiteX73" fmla="*/ 221456 w 1562100"/>
                <a:gd name="connsiteY73" fmla="*/ 504825 h 1309687"/>
                <a:gd name="connsiteX74" fmla="*/ 254794 w 1562100"/>
                <a:gd name="connsiteY74" fmla="*/ 542925 h 1309687"/>
                <a:gd name="connsiteX75" fmla="*/ 226219 w 1562100"/>
                <a:gd name="connsiteY75" fmla="*/ 607218 h 1309687"/>
                <a:gd name="connsiteX76" fmla="*/ 180975 w 1562100"/>
                <a:gd name="connsiteY76" fmla="*/ 635793 h 1309687"/>
                <a:gd name="connsiteX77" fmla="*/ 183356 w 1562100"/>
                <a:gd name="connsiteY77" fmla="*/ 652462 h 1309687"/>
                <a:gd name="connsiteX78" fmla="*/ 204788 w 1562100"/>
                <a:gd name="connsiteY78" fmla="*/ 661987 h 1309687"/>
                <a:gd name="connsiteX79" fmla="*/ 219075 w 1562100"/>
                <a:gd name="connsiteY79" fmla="*/ 671512 h 1309687"/>
                <a:gd name="connsiteX80" fmla="*/ 223838 w 1562100"/>
                <a:gd name="connsiteY80" fmla="*/ 690562 h 1309687"/>
                <a:gd name="connsiteX81" fmla="*/ 195263 w 1562100"/>
                <a:gd name="connsiteY81" fmla="*/ 716756 h 1309687"/>
                <a:gd name="connsiteX82" fmla="*/ 123825 w 1562100"/>
                <a:gd name="connsiteY82" fmla="*/ 762000 h 1309687"/>
                <a:gd name="connsiteX83" fmla="*/ 123825 w 1562100"/>
                <a:gd name="connsiteY83" fmla="*/ 797718 h 1309687"/>
                <a:gd name="connsiteX84" fmla="*/ 135731 w 1562100"/>
                <a:gd name="connsiteY84" fmla="*/ 828675 h 1309687"/>
                <a:gd name="connsiteX85" fmla="*/ 123825 w 1562100"/>
                <a:gd name="connsiteY85" fmla="*/ 869156 h 1309687"/>
                <a:gd name="connsiteX86" fmla="*/ 76200 w 1562100"/>
                <a:gd name="connsiteY86" fmla="*/ 864393 h 1309687"/>
                <a:gd name="connsiteX87" fmla="*/ 52388 w 1562100"/>
                <a:gd name="connsiteY87" fmla="*/ 809625 h 1309687"/>
                <a:gd name="connsiteX88" fmla="*/ 33338 w 1562100"/>
                <a:gd name="connsiteY88" fmla="*/ 802481 h 1309687"/>
                <a:gd name="connsiteX89" fmla="*/ 23813 w 1562100"/>
                <a:gd name="connsiteY89" fmla="*/ 840581 h 1309687"/>
                <a:gd name="connsiteX90" fmla="*/ 21431 w 1562100"/>
                <a:gd name="connsiteY90" fmla="*/ 850106 h 1309687"/>
                <a:gd name="connsiteX91" fmla="*/ 7144 w 1562100"/>
                <a:gd name="connsiteY91" fmla="*/ 866775 h 1309687"/>
                <a:gd name="connsiteX92" fmla="*/ 0 w 1562100"/>
                <a:gd name="connsiteY92" fmla="*/ 923925 h 1309687"/>
                <a:gd name="connsiteX93" fmla="*/ 23813 w 1562100"/>
                <a:gd name="connsiteY93" fmla="*/ 952500 h 1309687"/>
                <a:gd name="connsiteX94" fmla="*/ 16669 w 1562100"/>
                <a:gd name="connsiteY94" fmla="*/ 992981 h 1309687"/>
                <a:gd name="connsiteX95" fmla="*/ 35719 w 1562100"/>
                <a:gd name="connsiteY95" fmla="*/ 997743 h 1309687"/>
                <a:gd name="connsiteX96" fmla="*/ 69056 w 1562100"/>
                <a:gd name="connsiteY96" fmla="*/ 997743 h 1309687"/>
                <a:gd name="connsiteX97" fmla="*/ 85725 w 1562100"/>
                <a:gd name="connsiteY97" fmla="*/ 988218 h 1309687"/>
                <a:gd name="connsiteX98" fmla="*/ 135731 w 1562100"/>
                <a:gd name="connsiteY98" fmla="*/ 1045368 h 1309687"/>
                <a:gd name="connsiteX99" fmla="*/ 123825 w 1562100"/>
                <a:gd name="connsiteY99" fmla="*/ 1064418 h 1309687"/>
                <a:gd name="connsiteX100" fmla="*/ 133350 w 1562100"/>
                <a:gd name="connsiteY100" fmla="*/ 1092993 h 1309687"/>
                <a:gd name="connsiteX101" fmla="*/ 164306 w 1562100"/>
                <a:gd name="connsiteY101" fmla="*/ 1112043 h 1309687"/>
                <a:gd name="connsiteX102" fmla="*/ 190500 w 1562100"/>
                <a:gd name="connsiteY102" fmla="*/ 1121568 h 1309687"/>
                <a:gd name="connsiteX103" fmla="*/ 216694 w 1562100"/>
                <a:gd name="connsiteY103" fmla="*/ 1128712 h 1309687"/>
                <a:gd name="connsiteX104" fmla="*/ 228600 w 1562100"/>
                <a:gd name="connsiteY104" fmla="*/ 1131093 h 1309687"/>
                <a:gd name="connsiteX105" fmla="*/ 240506 w 1562100"/>
                <a:gd name="connsiteY105" fmla="*/ 1092993 h 1309687"/>
                <a:gd name="connsiteX106" fmla="*/ 269081 w 1562100"/>
                <a:gd name="connsiteY106" fmla="*/ 1097756 h 1309687"/>
                <a:gd name="connsiteX107" fmla="*/ 288131 w 1562100"/>
                <a:gd name="connsiteY107" fmla="*/ 1085850 h 1309687"/>
                <a:gd name="connsiteX108" fmla="*/ 307181 w 1562100"/>
                <a:gd name="connsiteY108" fmla="*/ 1135856 h 1309687"/>
                <a:gd name="connsiteX109" fmla="*/ 330994 w 1562100"/>
                <a:gd name="connsiteY109" fmla="*/ 1150143 h 1309687"/>
                <a:gd name="connsiteX110" fmla="*/ 340519 w 1562100"/>
                <a:gd name="connsiteY110" fmla="*/ 1178718 h 1309687"/>
                <a:gd name="connsiteX111" fmla="*/ 357188 w 1562100"/>
                <a:gd name="connsiteY111" fmla="*/ 1188243 h 1309687"/>
                <a:gd name="connsiteX112" fmla="*/ 364331 w 1562100"/>
                <a:gd name="connsiteY112" fmla="*/ 1219200 h 1309687"/>
                <a:gd name="connsiteX113" fmla="*/ 335756 w 1562100"/>
                <a:gd name="connsiteY113" fmla="*/ 1245393 h 1309687"/>
                <a:gd name="connsiteX114" fmla="*/ 309563 w 1562100"/>
                <a:gd name="connsiteY114" fmla="*/ 1262062 h 1309687"/>
                <a:gd name="connsiteX115" fmla="*/ 297656 w 1562100"/>
                <a:gd name="connsiteY115" fmla="*/ 1285875 h 1309687"/>
                <a:gd name="connsiteX116" fmla="*/ 302419 w 1562100"/>
                <a:gd name="connsiteY116" fmla="*/ 1309687 h 1309687"/>
                <a:gd name="connsiteX117" fmla="*/ 342900 w 1562100"/>
                <a:gd name="connsiteY117" fmla="*/ 1309687 h 1309687"/>
                <a:gd name="connsiteX118" fmla="*/ 390525 w 1562100"/>
                <a:gd name="connsiteY118" fmla="*/ 1304925 h 1309687"/>
                <a:gd name="connsiteX119" fmla="*/ 428625 w 1562100"/>
                <a:gd name="connsiteY119" fmla="*/ 1295400 h 1309687"/>
                <a:gd name="connsiteX120" fmla="*/ 454819 w 1562100"/>
                <a:gd name="connsiteY120" fmla="*/ 1302543 h 1309687"/>
                <a:gd name="connsiteX121" fmla="*/ 473869 w 1562100"/>
                <a:gd name="connsiteY121" fmla="*/ 1281112 h 1309687"/>
                <a:gd name="connsiteX122" fmla="*/ 492919 w 1562100"/>
                <a:gd name="connsiteY122" fmla="*/ 1281112 h 1309687"/>
                <a:gd name="connsiteX123" fmla="*/ 507206 w 1562100"/>
                <a:gd name="connsiteY123" fmla="*/ 1250156 h 1309687"/>
                <a:gd name="connsiteX124" fmla="*/ 557213 w 1562100"/>
                <a:gd name="connsiteY124" fmla="*/ 1235868 h 1309687"/>
                <a:gd name="connsiteX125" fmla="*/ 583406 w 1562100"/>
                <a:gd name="connsiteY125" fmla="*/ 1216818 h 1309687"/>
                <a:gd name="connsiteX126" fmla="*/ 590550 w 1562100"/>
                <a:gd name="connsiteY126" fmla="*/ 1178718 h 1309687"/>
                <a:gd name="connsiteX127" fmla="*/ 607219 w 1562100"/>
                <a:gd name="connsiteY127" fmla="*/ 1152525 h 1309687"/>
                <a:gd name="connsiteX128" fmla="*/ 688181 w 1562100"/>
                <a:gd name="connsiteY128" fmla="*/ 1183481 h 1309687"/>
                <a:gd name="connsiteX0" fmla="*/ 688181 w 1562100"/>
                <a:gd name="connsiteY0" fmla="*/ 1183481 h 1309687"/>
                <a:gd name="connsiteX1" fmla="*/ 688181 w 1562100"/>
                <a:gd name="connsiteY1" fmla="*/ 1097756 h 1309687"/>
                <a:gd name="connsiteX2" fmla="*/ 692944 w 1562100"/>
                <a:gd name="connsiteY2" fmla="*/ 1054893 h 1309687"/>
                <a:gd name="connsiteX3" fmla="*/ 692944 w 1562100"/>
                <a:gd name="connsiteY3" fmla="*/ 1009650 h 1309687"/>
                <a:gd name="connsiteX4" fmla="*/ 676275 w 1562100"/>
                <a:gd name="connsiteY4" fmla="*/ 985837 h 1309687"/>
                <a:gd name="connsiteX5" fmla="*/ 690563 w 1562100"/>
                <a:gd name="connsiteY5" fmla="*/ 933450 h 1309687"/>
                <a:gd name="connsiteX6" fmla="*/ 685800 w 1562100"/>
                <a:gd name="connsiteY6" fmla="*/ 907256 h 1309687"/>
                <a:gd name="connsiteX7" fmla="*/ 697706 w 1562100"/>
                <a:gd name="connsiteY7" fmla="*/ 862012 h 1309687"/>
                <a:gd name="connsiteX8" fmla="*/ 714375 w 1562100"/>
                <a:gd name="connsiteY8" fmla="*/ 838200 h 1309687"/>
                <a:gd name="connsiteX9" fmla="*/ 721519 w 1562100"/>
                <a:gd name="connsiteY9" fmla="*/ 804862 h 1309687"/>
                <a:gd name="connsiteX10" fmla="*/ 735806 w 1562100"/>
                <a:gd name="connsiteY10" fmla="*/ 785812 h 1309687"/>
                <a:gd name="connsiteX11" fmla="*/ 792956 w 1562100"/>
                <a:gd name="connsiteY11" fmla="*/ 776287 h 1309687"/>
                <a:gd name="connsiteX12" fmla="*/ 838200 w 1562100"/>
                <a:gd name="connsiteY12" fmla="*/ 759618 h 1309687"/>
                <a:gd name="connsiteX13" fmla="*/ 876300 w 1562100"/>
                <a:gd name="connsiteY13" fmla="*/ 719137 h 1309687"/>
                <a:gd name="connsiteX14" fmla="*/ 923925 w 1562100"/>
                <a:gd name="connsiteY14" fmla="*/ 704850 h 1309687"/>
                <a:gd name="connsiteX15" fmla="*/ 995363 w 1562100"/>
                <a:gd name="connsiteY15" fmla="*/ 700087 h 1309687"/>
                <a:gd name="connsiteX16" fmla="*/ 1040606 w 1562100"/>
                <a:gd name="connsiteY16" fmla="*/ 690562 h 1309687"/>
                <a:gd name="connsiteX17" fmla="*/ 1119188 w 1562100"/>
                <a:gd name="connsiteY17" fmla="*/ 583406 h 1309687"/>
                <a:gd name="connsiteX18" fmla="*/ 1126331 w 1562100"/>
                <a:gd name="connsiteY18" fmla="*/ 550068 h 1309687"/>
                <a:gd name="connsiteX19" fmla="*/ 1152525 w 1562100"/>
                <a:gd name="connsiteY19" fmla="*/ 521493 h 1309687"/>
                <a:gd name="connsiteX20" fmla="*/ 1197769 w 1562100"/>
                <a:gd name="connsiteY20" fmla="*/ 511968 h 1309687"/>
                <a:gd name="connsiteX21" fmla="*/ 1290638 w 1562100"/>
                <a:gd name="connsiteY21" fmla="*/ 435768 h 1309687"/>
                <a:gd name="connsiteX22" fmla="*/ 1314450 w 1562100"/>
                <a:gd name="connsiteY22" fmla="*/ 433387 h 1309687"/>
                <a:gd name="connsiteX23" fmla="*/ 1409700 w 1562100"/>
                <a:gd name="connsiteY23" fmla="*/ 352425 h 1309687"/>
                <a:gd name="connsiteX24" fmla="*/ 1414463 w 1562100"/>
                <a:gd name="connsiteY24" fmla="*/ 333375 h 1309687"/>
                <a:gd name="connsiteX25" fmla="*/ 1507331 w 1562100"/>
                <a:gd name="connsiteY25" fmla="*/ 278606 h 1309687"/>
                <a:gd name="connsiteX26" fmla="*/ 1543050 w 1562100"/>
                <a:gd name="connsiteY26" fmla="*/ 233362 h 1309687"/>
                <a:gd name="connsiteX27" fmla="*/ 1562100 w 1562100"/>
                <a:gd name="connsiteY27" fmla="*/ 195262 h 1309687"/>
                <a:gd name="connsiteX28" fmla="*/ 1512094 w 1562100"/>
                <a:gd name="connsiteY28" fmla="*/ 214312 h 1309687"/>
                <a:gd name="connsiteX29" fmla="*/ 1478756 w 1562100"/>
                <a:gd name="connsiteY29" fmla="*/ 214312 h 1309687"/>
                <a:gd name="connsiteX30" fmla="*/ 1452563 w 1562100"/>
                <a:gd name="connsiteY30" fmla="*/ 252412 h 1309687"/>
                <a:gd name="connsiteX31" fmla="*/ 1421606 w 1562100"/>
                <a:gd name="connsiteY31" fmla="*/ 250031 h 1309687"/>
                <a:gd name="connsiteX32" fmla="*/ 1366838 w 1562100"/>
                <a:gd name="connsiteY32" fmla="*/ 219075 h 1309687"/>
                <a:gd name="connsiteX33" fmla="*/ 1323975 w 1562100"/>
                <a:gd name="connsiteY33" fmla="*/ 207168 h 1309687"/>
                <a:gd name="connsiteX34" fmla="*/ 1238250 w 1562100"/>
                <a:gd name="connsiteY34" fmla="*/ 242887 h 1309687"/>
                <a:gd name="connsiteX35" fmla="*/ 1223963 w 1562100"/>
                <a:gd name="connsiteY35" fmla="*/ 280987 h 1309687"/>
                <a:gd name="connsiteX36" fmla="*/ 1195388 w 1562100"/>
                <a:gd name="connsiteY36" fmla="*/ 338137 h 1309687"/>
                <a:gd name="connsiteX37" fmla="*/ 1109663 w 1562100"/>
                <a:gd name="connsiteY37" fmla="*/ 300037 h 1309687"/>
                <a:gd name="connsiteX38" fmla="*/ 1097756 w 1562100"/>
                <a:gd name="connsiteY38" fmla="*/ 342900 h 1309687"/>
                <a:gd name="connsiteX39" fmla="*/ 1083469 w 1562100"/>
                <a:gd name="connsiteY39" fmla="*/ 376237 h 1309687"/>
                <a:gd name="connsiteX40" fmla="*/ 959644 w 1562100"/>
                <a:gd name="connsiteY40" fmla="*/ 407193 h 1309687"/>
                <a:gd name="connsiteX41" fmla="*/ 945356 w 1562100"/>
                <a:gd name="connsiteY41" fmla="*/ 402431 h 1309687"/>
                <a:gd name="connsiteX42" fmla="*/ 926306 w 1562100"/>
                <a:gd name="connsiteY42" fmla="*/ 423862 h 1309687"/>
                <a:gd name="connsiteX43" fmla="*/ 890588 w 1562100"/>
                <a:gd name="connsiteY43" fmla="*/ 431006 h 1309687"/>
                <a:gd name="connsiteX44" fmla="*/ 854869 w 1562100"/>
                <a:gd name="connsiteY44" fmla="*/ 381000 h 1309687"/>
                <a:gd name="connsiteX45" fmla="*/ 835819 w 1562100"/>
                <a:gd name="connsiteY45" fmla="*/ 369093 h 1309687"/>
                <a:gd name="connsiteX46" fmla="*/ 826294 w 1562100"/>
                <a:gd name="connsiteY46" fmla="*/ 323850 h 1309687"/>
                <a:gd name="connsiteX47" fmla="*/ 792956 w 1562100"/>
                <a:gd name="connsiteY47" fmla="*/ 307181 h 1309687"/>
                <a:gd name="connsiteX48" fmla="*/ 759619 w 1562100"/>
                <a:gd name="connsiteY48" fmla="*/ 300037 h 1309687"/>
                <a:gd name="connsiteX49" fmla="*/ 740569 w 1562100"/>
                <a:gd name="connsiteY49" fmla="*/ 295275 h 1309687"/>
                <a:gd name="connsiteX50" fmla="*/ 728663 w 1562100"/>
                <a:gd name="connsiteY50" fmla="*/ 285750 h 1309687"/>
                <a:gd name="connsiteX51" fmla="*/ 735806 w 1562100"/>
                <a:gd name="connsiteY51" fmla="*/ 259556 h 1309687"/>
                <a:gd name="connsiteX52" fmla="*/ 742950 w 1562100"/>
                <a:gd name="connsiteY52" fmla="*/ 235743 h 1309687"/>
                <a:gd name="connsiteX53" fmla="*/ 700088 w 1562100"/>
                <a:gd name="connsiteY53" fmla="*/ 185737 h 1309687"/>
                <a:gd name="connsiteX54" fmla="*/ 692944 w 1562100"/>
                <a:gd name="connsiteY54" fmla="*/ 157164 h 1309687"/>
                <a:gd name="connsiteX55" fmla="*/ 704851 w 1562100"/>
                <a:gd name="connsiteY55" fmla="*/ 92869 h 1309687"/>
                <a:gd name="connsiteX56" fmla="*/ 657225 w 1562100"/>
                <a:gd name="connsiteY56" fmla="*/ 64294 h 1309687"/>
                <a:gd name="connsiteX57" fmla="*/ 628650 w 1562100"/>
                <a:gd name="connsiteY57" fmla="*/ 88107 h 1309687"/>
                <a:gd name="connsiteX58" fmla="*/ 500062 w 1562100"/>
                <a:gd name="connsiteY58" fmla="*/ 66676 h 1309687"/>
                <a:gd name="connsiteX59" fmla="*/ 450056 w 1562100"/>
                <a:gd name="connsiteY59" fmla="*/ 2382 h 1309687"/>
                <a:gd name="connsiteX60" fmla="*/ 428625 w 1562100"/>
                <a:gd name="connsiteY60" fmla="*/ 0 h 1309687"/>
                <a:gd name="connsiteX61" fmla="*/ 376238 w 1562100"/>
                <a:gd name="connsiteY61" fmla="*/ 104775 h 1309687"/>
                <a:gd name="connsiteX62" fmla="*/ 314326 w 1562100"/>
                <a:gd name="connsiteY62" fmla="*/ 104774 h 1309687"/>
                <a:gd name="connsiteX63" fmla="*/ 328613 w 1562100"/>
                <a:gd name="connsiteY63" fmla="*/ 183356 h 1309687"/>
                <a:gd name="connsiteX64" fmla="*/ 292894 w 1562100"/>
                <a:gd name="connsiteY64" fmla="*/ 285750 h 1309687"/>
                <a:gd name="connsiteX65" fmla="*/ 264319 w 1562100"/>
                <a:gd name="connsiteY65" fmla="*/ 292893 h 1309687"/>
                <a:gd name="connsiteX66" fmla="*/ 261938 w 1562100"/>
                <a:gd name="connsiteY66" fmla="*/ 307181 h 1309687"/>
                <a:gd name="connsiteX67" fmla="*/ 261938 w 1562100"/>
                <a:gd name="connsiteY67" fmla="*/ 340518 h 1309687"/>
                <a:gd name="connsiteX68" fmla="*/ 228600 w 1562100"/>
                <a:gd name="connsiteY68" fmla="*/ 383381 h 1309687"/>
                <a:gd name="connsiteX69" fmla="*/ 271463 w 1562100"/>
                <a:gd name="connsiteY69" fmla="*/ 400050 h 1309687"/>
                <a:gd name="connsiteX70" fmla="*/ 278606 w 1562100"/>
                <a:gd name="connsiteY70" fmla="*/ 419100 h 1309687"/>
                <a:gd name="connsiteX71" fmla="*/ 257175 w 1562100"/>
                <a:gd name="connsiteY71" fmla="*/ 454818 h 1309687"/>
                <a:gd name="connsiteX72" fmla="*/ 221456 w 1562100"/>
                <a:gd name="connsiteY72" fmla="*/ 464343 h 1309687"/>
                <a:gd name="connsiteX73" fmla="*/ 221456 w 1562100"/>
                <a:gd name="connsiteY73" fmla="*/ 504825 h 1309687"/>
                <a:gd name="connsiteX74" fmla="*/ 254794 w 1562100"/>
                <a:gd name="connsiteY74" fmla="*/ 542925 h 1309687"/>
                <a:gd name="connsiteX75" fmla="*/ 226219 w 1562100"/>
                <a:gd name="connsiteY75" fmla="*/ 607218 h 1309687"/>
                <a:gd name="connsiteX76" fmla="*/ 180975 w 1562100"/>
                <a:gd name="connsiteY76" fmla="*/ 635793 h 1309687"/>
                <a:gd name="connsiteX77" fmla="*/ 183356 w 1562100"/>
                <a:gd name="connsiteY77" fmla="*/ 652462 h 1309687"/>
                <a:gd name="connsiteX78" fmla="*/ 204788 w 1562100"/>
                <a:gd name="connsiteY78" fmla="*/ 661987 h 1309687"/>
                <a:gd name="connsiteX79" fmla="*/ 219075 w 1562100"/>
                <a:gd name="connsiteY79" fmla="*/ 671512 h 1309687"/>
                <a:gd name="connsiteX80" fmla="*/ 223838 w 1562100"/>
                <a:gd name="connsiteY80" fmla="*/ 690562 h 1309687"/>
                <a:gd name="connsiteX81" fmla="*/ 195263 w 1562100"/>
                <a:gd name="connsiteY81" fmla="*/ 716756 h 1309687"/>
                <a:gd name="connsiteX82" fmla="*/ 123825 w 1562100"/>
                <a:gd name="connsiteY82" fmla="*/ 762000 h 1309687"/>
                <a:gd name="connsiteX83" fmla="*/ 123825 w 1562100"/>
                <a:gd name="connsiteY83" fmla="*/ 797718 h 1309687"/>
                <a:gd name="connsiteX84" fmla="*/ 135731 w 1562100"/>
                <a:gd name="connsiteY84" fmla="*/ 828675 h 1309687"/>
                <a:gd name="connsiteX85" fmla="*/ 123825 w 1562100"/>
                <a:gd name="connsiteY85" fmla="*/ 869156 h 1309687"/>
                <a:gd name="connsiteX86" fmla="*/ 76200 w 1562100"/>
                <a:gd name="connsiteY86" fmla="*/ 864393 h 1309687"/>
                <a:gd name="connsiteX87" fmla="*/ 52388 w 1562100"/>
                <a:gd name="connsiteY87" fmla="*/ 809625 h 1309687"/>
                <a:gd name="connsiteX88" fmla="*/ 33338 w 1562100"/>
                <a:gd name="connsiteY88" fmla="*/ 802481 h 1309687"/>
                <a:gd name="connsiteX89" fmla="*/ 23813 w 1562100"/>
                <a:gd name="connsiteY89" fmla="*/ 840581 h 1309687"/>
                <a:gd name="connsiteX90" fmla="*/ 21431 w 1562100"/>
                <a:gd name="connsiteY90" fmla="*/ 850106 h 1309687"/>
                <a:gd name="connsiteX91" fmla="*/ 7144 w 1562100"/>
                <a:gd name="connsiteY91" fmla="*/ 866775 h 1309687"/>
                <a:gd name="connsiteX92" fmla="*/ 0 w 1562100"/>
                <a:gd name="connsiteY92" fmla="*/ 923925 h 1309687"/>
                <a:gd name="connsiteX93" fmla="*/ 23813 w 1562100"/>
                <a:gd name="connsiteY93" fmla="*/ 952500 h 1309687"/>
                <a:gd name="connsiteX94" fmla="*/ 16669 w 1562100"/>
                <a:gd name="connsiteY94" fmla="*/ 992981 h 1309687"/>
                <a:gd name="connsiteX95" fmla="*/ 35719 w 1562100"/>
                <a:gd name="connsiteY95" fmla="*/ 997743 h 1309687"/>
                <a:gd name="connsiteX96" fmla="*/ 69056 w 1562100"/>
                <a:gd name="connsiteY96" fmla="*/ 997743 h 1309687"/>
                <a:gd name="connsiteX97" fmla="*/ 85725 w 1562100"/>
                <a:gd name="connsiteY97" fmla="*/ 988218 h 1309687"/>
                <a:gd name="connsiteX98" fmla="*/ 135731 w 1562100"/>
                <a:gd name="connsiteY98" fmla="*/ 1045368 h 1309687"/>
                <a:gd name="connsiteX99" fmla="*/ 123825 w 1562100"/>
                <a:gd name="connsiteY99" fmla="*/ 1064418 h 1309687"/>
                <a:gd name="connsiteX100" fmla="*/ 133350 w 1562100"/>
                <a:gd name="connsiteY100" fmla="*/ 1092993 h 1309687"/>
                <a:gd name="connsiteX101" fmla="*/ 164306 w 1562100"/>
                <a:gd name="connsiteY101" fmla="*/ 1112043 h 1309687"/>
                <a:gd name="connsiteX102" fmla="*/ 190500 w 1562100"/>
                <a:gd name="connsiteY102" fmla="*/ 1121568 h 1309687"/>
                <a:gd name="connsiteX103" fmla="*/ 216694 w 1562100"/>
                <a:gd name="connsiteY103" fmla="*/ 1128712 h 1309687"/>
                <a:gd name="connsiteX104" fmla="*/ 228600 w 1562100"/>
                <a:gd name="connsiteY104" fmla="*/ 1131093 h 1309687"/>
                <a:gd name="connsiteX105" fmla="*/ 240506 w 1562100"/>
                <a:gd name="connsiteY105" fmla="*/ 1092993 h 1309687"/>
                <a:gd name="connsiteX106" fmla="*/ 269081 w 1562100"/>
                <a:gd name="connsiteY106" fmla="*/ 1097756 h 1309687"/>
                <a:gd name="connsiteX107" fmla="*/ 288131 w 1562100"/>
                <a:gd name="connsiteY107" fmla="*/ 1085850 h 1309687"/>
                <a:gd name="connsiteX108" fmla="*/ 307181 w 1562100"/>
                <a:gd name="connsiteY108" fmla="*/ 1135856 h 1309687"/>
                <a:gd name="connsiteX109" fmla="*/ 330994 w 1562100"/>
                <a:gd name="connsiteY109" fmla="*/ 1150143 h 1309687"/>
                <a:gd name="connsiteX110" fmla="*/ 340519 w 1562100"/>
                <a:gd name="connsiteY110" fmla="*/ 1178718 h 1309687"/>
                <a:gd name="connsiteX111" fmla="*/ 357188 w 1562100"/>
                <a:gd name="connsiteY111" fmla="*/ 1188243 h 1309687"/>
                <a:gd name="connsiteX112" fmla="*/ 364331 w 1562100"/>
                <a:gd name="connsiteY112" fmla="*/ 1219200 h 1309687"/>
                <a:gd name="connsiteX113" fmla="*/ 335756 w 1562100"/>
                <a:gd name="connsiteY113" fmla="*/ 1245393 h 1309687"/>
                <a:gd name="connsiteX114" fmla="*/ 309563 w 1562100"/>
                <a:gd name="connsiteY114" fmla="*/ 1262062 h 1309687"/>
                <a:gd name="connsiteX115" fmla="*/ 297656 w 1562100"/>
                <a:gd name="connsiteY115" fmla="*/ 1285875 h 1309687"/>
                <a:gd name="connsiteX116" fmla="*/ 302419 w 1562100"/>
                <a:gd name="connsiteY116" fmla="*/ 1309687 h 1309687"/>
                <a:gd name="connsiteX117" fmla="*/ 342900 w 1562100"/>
                <a:gd name="connsiteY117" fmla="*/ 1309687 h 1309687"/>
                <a:gd name="connsiteX118" fmla="*/ 390525 w 1562100"/>
                <a:gd name="connsiteY118" fmla="*/ 1304925 h 1309687"/>
                <a:gd name="connsiteX119" fmla="*/ 428625 w 1562100"/>
                <a:gd name="connsiteY119" fmla="*/ 1295400 h 1309687"/>
                <a:gd name="connsiteX120" fmla="*/ 454819 w 1562100"/>
                <a:gd name="connsiteY120" fmla="*/ 1302543 h 1309687"/>
                <a:gd name="connsiteX121" fmla="*/ 473869 w 1562100"/>
                <a:gd name="connsiteY121" fmla="*/ 1281112 h 1309687"/>
                <a:gd name="connsiteX122" fmla="*/ 492919 w 1562100"/>
                <a:gd name="connsiteY122" fmla="*/ 1281112 h 1309687"/>
                <a:gd name="connsiteX123" fmla="*/ 507206 w 1562100"/>
                <a:gd name="connsiteY123" fmla="*/ 1250156 h 1309687"/>
                <a:gd name="connsiteX124" fmla="*/ 557213 w 1562100"/>
                <a:gd name="connsiteY124" fmla="*/ 1235868 h 1309687"/>
                <a:gd name="connsiteX125" fmla="*/ 583406 w 1562100"/>
                <a:gd name="connsiteY125" fmla="*/ 1216818 h 1309687"/>
                <a:gd name="connsiteX126" fmla="*/ 590550 w 1562100"/>
                <a:gd name="connsiteY126" fmla="*/ 1178718 h 1309687"/>
                <a:gd name="connsiteX127" fmla="*/ 607219 w 1562100"/>
                <a:gd name="connsiteY127" fmla="*/ 1152525 h 1309687"/>
                <a:gd name="connsiteX128" fmla="*/ 688181 w 1562100"/>
                <a:gd name="connsiteY128" fmla="*/ 1183481 h 1309687"/>
                <a:gd name="connsiteX0" fmla="*/ 688181 w 1562100"/>
                <a:gd name="connsiteY0" fmla="*/ 1183481 h 1309687"/>
                <a:gd name="connsiteX1" fmla="*/ 688181 w 1562100"/>
                <a:gd name="connsiteY1" fmla="*/ 1097756 h 1309687"/>
                <a:gd name="connsiteX2" fmla="*/ 692944 w 1562100"/>
                <a:gd name="connsiteY2" fmla="*/ 1054893 h 1309687"/>
                <a:gd name="connsiteX3" fmla="*/ 692944 w 1562100"/>
                <a:gd name="connsiteY3" fmla="*/ 1009650 h 1309687"/>
                <a:gd name="connsiteX4" fmla="*/ 676275 w 1562100"/>
                <a:gd name="connsiteY4" fmla="*/ 985837 h 1309687"/>
                <a:gd name="connsiteX5" fmla="*/ 690563 w 1562100"/>
                <a:gd name="connsiteY5" fmla="*/ 933450 h 1309687"/>
                <a:gd name="connsiteX6" fmla="*/ 685800 w 1562100"/>
                <a:gd name="connsiteY6" fmla="*/ 907256 h 1309687"/>
                <a:gd name="connsiteX7" fmla="*/ 697706 w 1562100"/>
                <a:gd name="connsiteY7" fmla="*/ 862012 h 1309687"/>
                <a:gd name="connsiteX8" fmla="*/ 714375 w 1562100"/>
                <a:gd name="connsiteY8" fmla="*/ 838200 h 1309687"/>
                <a:gd name="connsiteX9" fmla="*/ 721519 w 1562100"/>
                <a:gd name="connsiteY9" fmla="*/ 804862 h 1309687"/>
                <a:gd name="connsiteX10" fmla="*/ 735806 w 1562100"/>
                <a:gd name="connsiteY10" fmla="*/ 785812 h 1309687"/>
                <a:gd name="connsiteX11" fmla="*/ 792956 w 1562100"/>
                <a:gd name="connsiteY11" fmla="*/ 776287 h 1309687"/>
                <a:gd name="connsiteX12" fmla="*/ 838200 w 1562100"/>
                <a:gd name="connsiteY12" fmla="*/ 759618 h 1309687"/>
                <a:gd name="connsiteX13" fmla="*/ 876300 w 1562100"/>
                <a:gd name="connsiteY13" fmla="*/ 719137 h 1309687"/>
                <a:gd name="connsiteX14" fmla="*/ 923925 w 1562100"/>
                <a:gd name="connsiteY14" fmla="*/ 704850 h 1309687"/>
                <a:gd name="connsiteX15" fmla="*/ 995363 w 1562100"/>
                <a:gd name="connsiteY15" fmla="*/ 700087 h 1309687"/>
                <a:gd name="connsiteX16" fmla="*/ 1040606 w 1562100"/>
                <a:gd name="connsiteY16" fmla="*/ 690562 h 1309687"/>
                <a:gd name="connsiteX17" fmla="*/ 1119188 w 1562100"/>
                <a:gd name="connsiteY17" fmla="*/ 583406 h 1309687"/>
                <a:gd name="connsiteX18" fmla="*/ 1126331 w 1562100"/>
                <a:gd name="connsiteY18" fmla="*/ 550068 h 1309687"/>
                <a:gd name="connsiteX19" fmla="*/ 1152525 w 1562100"/>
                <a:gd name="connsiteY19" fmla="*/ 521493 h 1309687"/>
                <a:gd name="connsiteX20" fmla="*/ 1197769 w 1562100"/>
                <a:gd name="connsiteY20" fmla="*/ 511968 h 1309687"/>
                <a:gd name="connsiteX21" fmla="*/ 1290638 w 1562100"/>
                <a:gd name="connsiteY21" fmla="*/ 435768 h 1309687"/>
                <a:gd name="connsiteX22" fmla="*/ 1314450 w 1562100"/>
                <a:gd name="connsiteY22" fmla="*/ 433387 h 1309687"/>
                <a:gd name="connsiteX23" fmla="*/ 1409700 w 1562100"/>
                <a:gd name="connsiteY23" fmla="*/ 352425 h 1309687"/>
                <a:gd name="connsiteX24" fmla="*/ 1414463 w 1562100"/>
                <a:gd name="connsiteY24" fmla="*/ 333375 h 1309687"/>
                <a:gd name="connsiteX25" fmla="*/ 1507331 w 1562100"/>
                <a:gd name="connsiteY25" fmla="*/ 278606 h 1309687"/>
                <a:gd name="connsiteX26" fmla="*/ 1543050 w 1562100"/>
                <a:gd name="connsiteY26" fmla="*/ 233362 h 1309687"/>
                <a:gd name="connsiteX27" fmla="*/ 1562100 w 1562100"/>
                <a:gd name="connsiteY27" fmla="*/ 195262 h 1309687"/>
                <a:gd name="connsiteX28" fmla="*/ 1512094 w 1562100"/>
                <a:gd name="connsiteY28" fmla="*/ 214312 h 1309687"/>
                <a:gd name="connsiteX29" fmla="*/ 1478756 w 1562100"/>
                <a:gd name="connsiteY29" fmla="*/ 214312 h 1309687"/>
                <a:gd name="connsiteX30" fmla="*/ 1452563 w 1562100"/>
                <a:gd name="connsiteY30" fmla="*/ 252412 h 1309687"/>
                <a:gd name="connsiteX31" fmla="*/ 1421606 w 1562100"/>
                <a:gd name="connsiteY31" fmla="*/ 250031 h 1309687"/>
                <a:gd name="connsiteX32" fmla="*/ 1366838 w 1562100"/>
                <a:gd name="connsiteY32" fmla="*/ 219075 h 1309687"/>
                <a:gd name="connsiteX33" fmla="*/ 1323975 w 1562100"/>
                <a:gd name="connsiteY33" fmla="*/ 207168 h 1309687"/>
                <a:gd name="connsiteX34" fmla="*/ 1238250 w 1562100"/>
                <a:gd name="connsiteY34" fmla="*/ 242887 h 1309687"/>
                <a:gd name="connsiteX35" fmla="*/ 1223963 w 1562100"/>
                <a:gd name="connsiteY35" fmla="*/ 280987 h 1309687"/>
                <a:gd name="connsiteX36" fmla="*/ 1195388 w 1562100"/>
                <a:gd name="connsiteY36" fmla="*/ 338137 h 1309687"/>
                <a:gd name="connsiteX37" fmla="*/ 1109663 w 1562100"/>
                <a:gd name="connsiteY37" fmla="*/ 300037 h 1309687"/>
                <a:gd name="connsiteX38" fmla="*/ 1097756 w 1562100"/>
                <a:gd name="connsiteY38" fmla="*/ 342900 h 1309687"/>
                <a:gd name="connsiteX39" fmla="*/ 1083469 w 1562100"/>
                <a:gd name="connsiteY39" fmla="*/ 376237 h 1309687"/>
                <a:gd name="connsiteX40" fmla="*/ 959644 w 1562100"/>
                <a:gd name="connsiteY40" fmla="*/ 407193 h 1309687"/>
                <a:gd name="connsiteX41" fmla="*/ 945356 w 1562100"/>
                <a:gd name="connsiteY41" fmla="*/ 402431 h 1309687"/>
                <a:gd name="connsiteX42" fmla="*/ 926306 w 1562100"/>
                <a:gd name="connsiteY42" fmla="*/ 423862 h 1309687"/>
                <a:gd name="connsiteX43" fmla="*/ 890588 w 1562100"/>
                <a:gd name="connsiteY43" fmla="*/ 431006 h 1309687"/>
                <a:gd name="connsiteX44" fmla="*/ 854869 w 1562100"/>
                <a:gd name="connsiteY44" fmla="*/ 381000 h 1309687"/>
                <a:gd name="connsiteX45" fmla="*/ 835819 w 1562100"/>
                <a:gd name="connsiteY45" fmla="*/ 369093 h 1309687"/>
                <a:gd name="connsiteX46" fmla="*/ 826294 w 1562100"/>
                <a:gd name="connsiteY46" fmla="*/ 323850 h 1309687"/>
                <a:gd name="connsiteX47" fmla="*/ 792956 w 1562100"/>
                <a:gd name="connsiteY47" fmla="*/ 307181 h 1309687"/>
                <a:gd name="connsiteX48" fmla="*/ 759619 w 1562100"/>
                <a:gd name="connsiteY48" fmla="*/ 300037 h 1309687"/>
                <a:gd name="connsiteX49" fmla="*/ 740569 w 1562100"/>
                <a:gd name="connsiteY49" fmla="*/ 295275 h 1309687"/>
                <a:gd name="connsiteX50" fmla="*/ 728663 w 1562100"/>
                <a:gd name="connsiteY50" fmla="*/ 285750 h 1309687"/>
                <a:gd name="connsiteX51" fmla="*/ 735806 w 1562100"/>
                <a:gd name="connsiteY51" fmla="*/ 259556 h 1309687"/>
                <a:gd name="connsiteX52" fmla="*/ 742950 w 1562100"/>
                <a:gd name="connsiteY52" fmla="*/ 235743 h 1309687"/>
                <a:gd name="connsiteX53" fmla="*/ 700088 w 1562100"/>
                <a:gd name="connsiteY53" fmla="*/ 185737 h 1309687"/>
                <a:gd name="connsiteX54" fmla="*/ 704851 w 1562100"/>
                <a:gd name="connsiteY54" fmla="*/ 92869 h 1309687"/>
                <a:gd name="connsiteX55" fmla="*/ 657225 w 1562100"/>
                <a:gd name="connsiteY55" fmla="*/ 64294 h 1309687"/>
                <a:gd name="connsiteX56" fmla="*/ 628650 w 1562100"/>
                <a:gd name="connsiteY56" fmla="*/ 88107 h 1309687"/>
                <a:gd name="connsiteX57" fmla="*/ 500062 w 1562100"/>
                <a:gd name="connsiteY57" fmla="*/ 66676 h 1309687"/>
                <a:gd name="connsiteX58" fmla="*/ 450056 w 1562100"/>
                <a:gd name="connsiteY58" fmla="*/ 2382 h 1309687"/>
                <a:gd name="connsiteX59" fmla="*/ 428625 w 1562100"/>
                <a:gd name="connsiteY59" fmla="*/ 0 h 1309687"/>
                <a:gd name="connsiteX60" fmla="*/ 376238 w 1562100"/>
                <a:gd name="connsiteY60" fmla="*/ 104775 h 1309687"/>
                <a:gd name="connsiteX61" fmla="*/ 314326 w 1562100"/>
                <a:gd name="connsiteY61" fmla="*/ 104774 h 1309687"/>
                <a:gd name="connsiteX62" fmla="*/ 328613 w 1562100"/>
                <a:gd name="connsiteY62" fmla="*/ 183356 h 1309687"/>
                <a:gd name="connsiteX63" fmla="*/ 292894 w 1562100"/>
                <a:gd name="connsiteY63" fmla="*/ 285750 h 1309687"/>
                <a:gd name="connsiteX64" fmla="*/ 264319 w 1562100"/>
                <a:gd name="connsiteY64" fmla="*/ 292893 h 1309687"/>
                <a:gd name="connsiteX65" fmla="*/ 261938 w 1562100"/>
                <a:gd name="connsiteY65" fmla="*/ 307181 h 1309687"/>
                <a:gd name="connsiteX66" fmla="*/ 261938 w 1562100"/>
                <a:gd name="connsiteY66" fmla="*/ 340518 h 1309687"/>
                <a:gd name="connsiteX67" fmla="*/ 228600 w 1562100"/>
                <a:gd name="connsiteY67" fmla="*/ 383381 h 1309687"/>
                <a:gd name="connsiteX68" fmla="*/ 271463 w 1562100"/>
                <a:gd name="connsiteY68" fmla="*/ 400050 h 1309687"/>
                <a:gd name="connsiteX69" fmla="*/ 278606 w 1562100"/>
                <a:gd name="connsiteY69" fmla="*/ 419100 h 1309687"/>
                <a:gd name="connsiteX70" fmla="*/ 257175 w 1562100"/>
                <a:gd name="connsiteY70" fmla="*/ 454818 h 1309687"/>
                <a:gd name="connsiteX71" fmla="*/ 221456 w 1562100"/>
                <a:gd name="connsiteY71" fmla="*/ 464343 h 1309687"/>
                <a:gd name="connsiteX72" fmla="*/ 221456 w 1562100"/>
                <a:gd name="connsiteY72" fmla="*/ 504825 h 1309687"/>
                <a:gd name="connsiteX73" fmla="*/ 254794 w 1562100"/>
                <a:gd name="connsiteY73" fmla="*/ 542925 h 1309687"/>
                <a:gd name="connsiteX74" fmla="*/ 226219 w 1562100"/>
                <a:gd name="connsiteY74" fmla="*/ 607218 h 1309687"/>
                <a:gd name="connsiteX75" fmla="*/ 180975 w 1562100"/>
                <a:gd name="connsiteY75" fmla="*/ 635793 h 1309687"/>
                <a:gd name="connsiteX76" fmla="*/ 183356 w 1562100"/>
                <a:gd name="connsiteY76" fmla="*/ 652462 h 1309687"/>
                <a:gd name="connsiteX77" fmla="*/ 204788 w 1562100"/>
                <a:gd name="connsiteY77" fmla="*/ 661987 h 1309687"/>
                <a:gd name="connsiteX78" fmla="*/ 219075 w 1562100"/>
                <a:gd name="connsiteY78" fmla="*/ 671512 h 1309687"/>
                <a:gd name="connsiteX79" fmla="*/ 223838 w 1562100"/>
                <a:gd name="connsiteY79" fmla="*/ 690562 h 1309687"/>
                <a:gd name="connsiteX80" fmla="*/ 195263 w 1562100"/>
                <a:gd name="connsiteY80" fmla="*/ 716756 h 1309687"/>
                <a:gd name="connsiteX81" fmla="*/ 123825 w 1562100"/>
                <a:gd name="connsiteY81" fmla="*/ 762000 h 1309687"/>
                <a:gd name="connsiteX82" fmla="*/ 123825 w 1562100"/>
                <a:gd name="connsiteY82" fmla="*/ 797718 h 1309687"/>
                <a:gd name="connsiteX83" fmla="*/ 135731 w 1562100"/>
                <a:gd name="connsiteY83" fmla="*/ 828675 h 1309687"/>
                <a:gd name="connsiteX84" fmla="*/ 123825 w 1562100"/>
                <a:gd name="connsiteY84" fmla="*/ 869156 h 1309687"/>
                <a:gd name="connsiteX85" fmla="*/ 76200 w 1562100"/>
                <a:gd name="connsiteY85" fmla="*/ 864393 h 1309687"/>
                <a:gd name="connsiteX86" fmla="*/ 52388 w 1562100"/>
                <a:gd name="connsiteY86" fmla="*/ 809625 h 1309687"/>
                <a:gd name="connsiteX87" fmla="*/ 33338 w 1562100"/>
                <a:gd name="connsiteY87" fmla="*/ 802481 h 1309687"/>
                <a:gd name="connsiteX88" fmla="*/ 23813 w 1562100"/>
                <a:gd name="connsiteY88" fmla="*/ 840581 h 1309687"/>
                <a:gd name="connsiteX89" fmla="*/ 21431 w 1562100"/>
                <a:gd name="connsiteY89" fmla="*/ 850106 h 1309687"/>
                <a:gd name="connsiteX90" fmla="*/ 7144 w 1562100"/>
                <a:gd name="connsiteY90" fmla="*/ 866775 h 1309687"/>
                <a:gd name="connsiteX91" fmla="*/ 0 w 1562100"/>
                <a:gd name="connsiteY91" fmla="*/ 923925 h 1309687"/>
                <a:gd name="connsiteX92" fmla="*/ 23813 w 1562100"/>
                <a:gd name="connsiteY92" fmla="*/ 952500 h 1309687"/>
                <a:gd name="connsiteX93" fmla="*/ 16669 w 1562100"/>
                <a:gd name="connsiteY93" fmla="*/ 992981 h 1309687"/>
                <a:gd name="connsiteX94" fmla="*/ 35719 w 1562100"/>
                <a:gd name="connsiteY94" fmla="*/ 997743 h 1309687"/>
                <a:gd name="connsiteX95" fmla="*/ 69056 w 1562100"/>
                <a:gd name="connsiteY95" fmla="*/ 997743 h 1309687"/>
                <a:gd name="connsiteX96" fmla="*/ 85725 w 1562100"/>
                <a:gd name="connsiteY96" fmla="*/ 988218 h 1309687"/>
                <a:gd name="connsiteX97" fmla="*/ 135731 w 1562100"/>
                <a:gd name="connsiteY97" fmla="*/ 1045368 h 1309687"/>
                <a:gd name="connsiteX98" fmla="*/ 123825 w 1562100"/>
                <a:gd name="connsiteY98" fmla="*/ 1064418 h 1309687"/>
                <a:gd name="connsiteX99" fmla="*/ 133350 w 1562100"/>
                <a:gd name="connsiteY99" fmla="*/ 1092993 h 1309687"/>
                <a:gd name="connsiteX100" fmla="*/ 164306 w 1562100"/>
                <a:gd name="connsiteY100" fmla="*/ 1112043 h 1309687"/>
                <a:gd name="connsiteX101" fmla="*/ 190500 w 1562100"/>
                <a:gd name="connsiteY101" fmla="*/ 1121568 h 1309687"/>
                <a:gd name="connsiteX102" fmla="*/ 216694 w 1562100"/>
                <a:gd name="connsiteY102" fmla="*/ 1128712 h 1309687"/>
                <a:gd name="connsiteX103" fmla="*/ 228600 w 1562100"/>
                <a:gd name="connsiteY103" fmla="*/ 1131093 h 1309687"/>
                <a:gd name="connsiteX104" fmla="*/ 240506 w 1562100"/>
                <a:gd name="connsiteY104" fmla="*/ 1092993 h 1309687"/>
                <a:gd name="connsiteX105" fmla="*/ 269081 w 1562100"/>
                <a:gd name="connsiteY105" fmla="*/ 1097756 h 1309687"/>
                <a:gd name="connsiteX106" fmla="*/ 288131 w 1562100"/>
                <a:gd name="connsiteY106" fmla="*/ 1085850 h 1309687"/>
                <a:gd name="connsiteX107" fmla="*/ 307181 w 1562100"/>
                <a:gd name="connsiteY107" fmla="*/ 1135856 h 1309687"/>
                <a:gd name="connsiteX108" fmla="*/ 330994 w 1562100"/>
                <a:gd name="connsiteY108" fmla="*/ 1150143 h 1309687"/>
                <a:gd name="connsiteX109" fmla="*/ 340519 w 1562100"/>
                <a:gd name="connsiteY109" fmla="*/ 1178718 h 1309687"/>
                <a:gd name="connsiteX110" fmla="*/ 357188 w 1562100"/>
                <a:gd name="connsiteY110" fmla="*/ 1188243 h 1309687"/>
                <a:gd name="connsiteX111" fmla="*/ 364331 w 1562100"/>
                <a:gd name="connsiteY111" fmla="*/ 1219200 h 1309687"/>
                <a:gd name="connsiteX112" fmla="*/ 335756 w 1562100"/>
                <a:gd name="connsiteY112" fmla="*/ 1245393 h 1309687"/>
                <a:gd name="connsiteX113" fmla="*/ 309563 w 1562100"/>
                <a:gd name="connsiteY113" fmla="*/ 1262062 h 1309687"/>
                <a:gd name="connsiteX114" fmla="*/ 297656 w 1562100"/>
                <a:gd name="connsiteY114" fmla="*/ 1285875 h 1309687"/>
                <a:gd name="connsiteX115" fmla="*/ 302419 w 1562100"/>
                <a:gd name="connsiteY115" fmla="*/ 1309687 h 1309687"/>
                <a:gd name="connsiteX116" fmla="*/ 342900 w 1562100"/>
                <a:gd name="connsiteY116" fmla="*/ 1309687 h 1309687"/>
                <a:gd name="connsiteX117" fmla="*/ 390525 w 1562100"/>
                <a:gd name="connsiteY117" fmla="*/ 1304925 h 1309687"/>
                <a:gd name="connsiteX118" fmla="*/ 428625 w 1562100"/>
                <a:gd name="connsiteY118" fmla="*/ 1295400 h 1309687"/>
                <a:gd name="connsiteX119" fmla="*/ 454819 w 1562100"/>
                <a:gd name="connsiteY119" fmla="*/ 1302543 h 1309687"/>
                <a:gd name="connsiteX120" fmla="*/ 473869 w 1562100"/>
                <a:gd name="connsiteY120" fmla="*/ 1281112 h 1309687"/>
                <a:gd name="connsiteX121" fmla="*/ 492919 w 1562100"/>
                <a:gd name="connsiteY121" fmla="*/ 1281112 h 1309687"/>
                <a:gd name="connsiteX122" fmla="*/ 507206 w 1562100"/>
                <a:gd name="connsiteY122" fmla="*/ 1250156 h 1309687"/>
                <a:gd name="connsiteX123" fmla="*/ 557213 w 1562100"/>
                <a:gd name="connsiteY123" fmla="*/ 1235868 h 1309687"/>
                <a:gd name="connsiteX124" fmla="*/ 583406 w 1562100"/>
                <a:gd name="connsiteY124" fmla="*/ 1216818 h 1309687"/>
                <a:gd name="connsiteX125" fmla="*/ 590550 w 1562100"/>
                <a:gd name="connsiteY125" fmla="*/ 1178718 h 1309687"/>
                <a:gd name="connsiteX126" fmla="*/ 607219 w 1562100"/>
                <a:gd name="connsiteY126" fmla="*/ 1152525 h 1309687"/>
                <a:gd name="connsiteX127" fmla="*/ 688181 w 1562100"/>
                <a:gd name="connsiteY127" fmla="*/ 1183481 h 1309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1562100" h="1309687">
                  <a:moveTo>
                    <a:pt x="688181" y="1183481"/>
                  </a:moveTo>
                  <a:lnTo>
                    <a:pt x="688181" y="1097756"/>
                  </a:lnTo>
                  <a:lnTo>
                    <a:pt x="692944" y="1054893"/>
                  </a:lnTo>
                  <a:lnTo>
                    <a:pt x="692944" y="1009650"/>
                  </a:lnTo>
                  <a:lnTo>
                    <a:pt x="676275" y="985837"/>
                  </a:lnTo>
                  <a:lnTo>
                    <a:pt x="690563" y="933450"/>
                  </a:lnTo>
                  <a:lnTo>
                    <a:pt x="685800" y="907256"/>
                  </a:lnTo>
                  <a:lnTo>
                    <a:pt x="697706" y="862012"/>
                  </a:lnTo>
                  <a:lnTo>
                    <a:pt x="714375" y="838200"/>
                  </a:lnTo>
                  <a:lnTo>
                    <a:pt x="721519" y="804862"/>
                  </a:lnTo>
                  <a:lnTo>
                    <a:pt x="735806" y="785812"/>
                  </a:lnTo>
                  <a:lnTo>
                    <a:pt x="792956" y="776287"/>
                  </a:lnTo>
                  <a:lnTo>
                    <a:pt x="838200" y="759618"/>
                  </a:lnTo>
                  <a:lnTo>
                    <a:pt x="876300" y="719137"/>
                  </a:lnTo>
                  <a:lnTo>
                    <a:pt x="923925" y="704850"/>
                  </a:lnTo>
                  <a:lnTo>
                    <a:pt x="995363" y="700087"/>
                  </a:lnTo>
                  <a:lnTo>
                    <a:pt x="1040606" y="690562"/>
                  </a:lnTo>
                  <a:lnTo>
                    <a:pt x="1119188" y="583406"/>
                  </a:lnTo>
                  <a:lnTo>
                    <a:pt x="1126331" y="550068"/>
                  </a:lnTo>
                  <a:lnTo>
                    <a:pt x="1152525" y="521493"/>
                  </a:lnTo>
                  <a:lnTo>
                    <a:pt x="1197769" y="511968"/>
                  </a:lnTo>
                  <a:lnTo>
                    <a:pt x="1290638" y="435768"/>
                  </a:lnTo>
                  <a:lnTo>
                    <a:pt x="1314450" y="433387"/>
                  </a:lnTo>
                  <a:lnTo>
                    <a:pt x="1409700" y="352425"/>
                  </a:lnTo>
                  <a:lnTo>
                    <a:pt x="1414463" y="333375"/>
                  </a:lnTo>
                  <a:lnTo>
                    <a:pt x="1507331" y="278606"/>
                  </a:lnTo>
                  <a:lnTo>
                    <a:pt x="1543050" y="233362"/>
                  </a:lnTo>
                  <a:lnTo>
                    <a:pt x="1562100" y="195262"/>
                  </a:lnTo>
                  <a:lnTo>
                    <a:pt x="1512094" y="214312"/>
                  </a:lnTo>
                  <a:lnTo>
                    <a:pt x="1478756" y="214312"/>
                  </a:lnTo>
                  <a:lnTo>
                    <a:pt x="1452563" y="252412"/>
                  </a:lnTo>
                  <a:lnTo>
                    <a:pt x="1421606" y="250031"/>
                  </a:lnTo>
                  <a:lnTo>
                    <a:pt x="1366838" y="219075"/>
                  </a:lnTo>
                  <a:lnTo>
                    <a:pt x="1323975" y="207168"/>
                  </a:lnTo>
                  <a:lnTo>
                    <a:pt x="1238250" y="242887"/>
                  </a:lnTo>
                  <a:lnTo>
                    <a:pt x="1223963" y="280987"/>
                  </a:lnTo>
                  <a:lnTo>
                    <a:pt x="1195388" y="338137"/>
                  </a:lnTo>
                  <a:lnTo>
                    <a:pt x="1109663" y="300037"/>
                  </a:lnTo>
                  <a:lnTo>
                    <a:pt x="1097756" y="342900"/>
                  </a:lnTo>
                  <a:lnTo>
                    <a:pt x="1083469" y="376237"/>
                  </a:lnTo>
                  <a:lnTo>
                    <a:pt x="959644" y="407193"/>
                  </a:lnTo>
                  <a:lnTo>
                    <a:pt x="945356" y="402431"/>
                  </a:lnTo>
                  <a:lnTo>
                    <a:pt x="926306" y="423862"/>
                  </a:lnTo>
                  <a:lnTo>
                    <a:pt x="890588" y="431006"/>
                  </a:lnTo>
                  <a:lnTo>
                    <a:pt x="854869" y="381000"/>
                  </a:lnTo>
                  <a:lnTo>
                    <a:pt x="835819" y="369093"/>
                  </a:lnTo>
                  <a:lnTo>
                    <a:pt x="826294" y="323850"/>
                  </a:lnTo>
                  <a:lnTo>
                    <a:pt x="792956" y="307181"/>
                  </a:lnTo>
                  <a:lnTo>
                    <a:pt x="759619" y="300037"/>
                  </a:lnTo>
                  <a:lnTo>
                    <a:pt x="740569" y="295275"/>
                  </a:lnTo>
                  <a:lnTo>
                    <a:pt x="728663" y="285750"/>
                  </a:lnTo>
                  <a:lnTo>
                    <a:pt x="735806" y="259556"/>
                  </a:lnTo>
                  <a:lnTo>
                    <a:pt x="742950" y="235743"/>
                  </a:lnTo>
                  <a:lnTo>
                    <a:pt x="700088" y="185737"/>
                  </a:lnTo>
                  <a:cubicBezTo>
                    <a:pt x="693738" y="161925"/>
                    <a:pt x="711995" y="113109"/>
                    <a:pt x="704851" y="92869"/>
                  </a:cubicBezTo>
                  <a:lnTo>
                    <a:pt x="657225" y="64294"/>
                  </a:lnTo>
                  <a:cubicBezTo>
                    <a:pt x="653256" y="63500"/>
                    <a:pt x="632619" y="88901"/>
                    <a:pt x="628650" y="88107"/>
                  </a:cubicBezTo>
                  <a:lnTo>
                    <a:pt x="500062" y="66676"/>
                  </a:lnTo>
                  <a:lnTo>
                    <a:pt x="450056" y="2382"/>
                  </a:lnTo>
                  <a:lnTo>
                    <a:pt x="428625" y="0"/>
                  </a:lnTo>
                  <a:lnTo>
                    <a:pt x="376238" y="104775"/>
                  </a:lnTo>
                  <a:cubicBezTo>
                    <a:pt x="361951" y="76994"/>
                    <a:pt x="340519" y="111124"/>
                    <a:pt x="314326" y="104774"/>
                  </a:cubicBezTo>
                  <a:lnTo>
                    <a:pt x="328613" y="183356"/>
                  </a:lnTo>
                  <a:lnTo>
                    <a:pt x="292894" y="285750"/>
                  </a:lnTo>
                  <a:lnTo>
                    <a:pt x="264319" y="292893"/>
                  </a:lnTo>
                  <a:lnTo>
                    <a:pt x="261938" y="307181"/>
                  </a:lnTo>
                  <a:lnTo>
                    <a:pt x="261938" y="340518"/>
                  </a:lnTo>
                  <a:lnTo>
                    <a:pt x="228600" y="383381"/>
                  </a:lnTo>
                  <a:lnTo>
                    <a:pt x="271463" y="400050"/>
                  </a:lnTo>
                  <a:lnTo>
                    <a:pt x="278606" y="419100"/>
                  </a:lnTo>
                  <a:lnTo>
                    <a:pt x="257175" y="454818"/>
                  </a:lnTo>
                  <a:lnTo>
                    <a:pt x="221456" y="464343"/>
                  </a:lnTo>
                  <a:lnTo>
                    <a:pt x="221456" y="504825"/>
                  </a:lnTo>
                  <a:lnTo>
                    <a:pt x="254794" y="542925"/>
                  </a:lnTo>
                  <a:lnTo>
                    <a:pt x="226219" y="607218"/>
                  </a:lnTo>
                  <a:lnTo>
                    <a:pt x="180975" y="635793"/>
                  </a:lnTo>
                  <a:lnTo>
                    <a:pt x="183356" y="652462"/>
                  </a:lnTo>
                  <a:lnTo>
                    <a:pt x="204788" y="661987"/>
                  </a:lnTo>
                  <a:lnTo>
                    <a:pt x="219075" y="671512"/>
                  </a:lnTo>
                  <a:lnTo>
                    <a:pt x="223838" y="690562"/>
                  </a:lnTo>
                  <a:lnTo>
                    <a:pt x="195263" y="716756"/>
                  </a:lnTo>
                  <a:lnTo>
                    <a:pt x="123825" y="762000"/>
                  </a:lnTo>
                  <a:lnTo>
                    <a:pt x="123825" y="797718"/>
                  </a:lnTo>
                  <a:lnTo>
                    <a:pt x="135731" y="828675"/>
                  </a:lnTo>
                  <a:lnTo>
                    <a:pt x="123825" y="869156"/>
                  </a:lnTo>
                  <a:lnTo>
                    <a:pt x="76200" y="864393"/>
                  </a:lnTo>
                  <a:lnTo>
                    <a:pt x="52388" y="809625"/>
                  </a:lnTo>
                  <a:lnTo>
                    <a:pt x="33338" y="802481"/>
                  </a:lnTo>
                  <a:lnTo>
                    <a:pt x="23813" y="840581"/>
                  </a:lnTo>
                  <a:lnTo>
                    <a:pt x="21431" y="850106"/>
                  </a:lnTo>
                  <a:lnTo>
                    <a:pt x="7144" y="866775"/>
                  </a:lnTo>
                  <a:lnTo>
                    <a:pt x="0" y="923925"/>
                  </a:lnTo>
                  <a:lnTo>
                    <a:pt x="23813" y="952500"/>
                  </a:lnTo>
                  <a:lnTo>
                    <a:pt x="16669" y="992981"/>
                  </a:lnTo>
                  <a:lnTo>
                    <a:pt x="35719" y="997743"/>
                  </a:lnTo>
                  <a:lnTo>
                    <a:pt x="69056" y="997743"/>
                  </a:lnTo>
                  <a:lnTo>
                    <a:pt x="85725" y="988218"/>
                  </a:lnTo>
                  <a:lnTo>
                    <a:pt x="135731" y="1045368"/>
                  </a:lnTo>
                  <a:lnTo>
                    <a:pt x="123825" y="1064418"/>
                  </a:lnTo>
                  <a:lnTo>
                    <a:pt x="133350" y="1092993"/>
                  </a:lnTo>
                  <a:lnTo>
                    <a:pt x="164306" y="1112043"/>
                  </a:lnTo>
                  <a:lnTo>
                    <a:pt x="190500" y="1121568"/>
                  </a:lnTo>
                  <a:lnTo>
                    <a:pt x="216694" y="1128712"/>
                  </a:lnTo>
                  <a:lnTo>
                    <a:pt x="228600" y="1131093"/>
                  </a:lnTo>
                  <a:lnTo>
                    <a:pt x="240506" y="1092993"/>
                  </a:lnTo>
                  <a:lnTo>
                    <a:pt x="269081" y="1097756"/>
                  </a:lnTo>
                  <a:lnTo>
                    <a:pt x="288131" y="1085850"/>
                  </a:lnTo>
                  <a:lnTo>
                    <a:pt x="307181" y="1135856"/>
                  </a:lnTo>
                  <a:lnTo>
                    <a:pt x="330994" y="1150143"/>
                  </a:lnTo>
                  <a:lnTo>
                    <a:pt x="340519" y="1178718"/>
                  </a:lnTo>
                  <a:lnTo>
                    <a:pt x="357188" y="1188243"/>
                  </a:lnTo>
                  <a:lnTo>
                    <a:pt x="364331" y="1219200"/>
                  </a:lnTo>
                  <a:lnTo>
                    <a:pt x="335756" y="1245393"/>
                  </a:lnTo>
                  <a:lnTo>
                    <a:pt x="309563" y="1262062"/>
                  </a:lnTo>
                  <a:lnTo>
                    <a:pt x="297656" y="1285875"/>
                  </a:lnTo>
                  <a:lnTo>
                    <a:pt x="302419" y="1309687"/>
                  </a:lnTo>
                  <a:lnTo>
                    <a:pt x="342900" y="1309687"/>
                  </a:lnTo>
                  <a:lnTo>
                    <a:pt x="390525" y="1304925"/>
                  </a:lnTo>
                  <a:lnTo>
                    <a:pt x="428625" y="1295400"/>
                  </a:lnTo>
                  <a:lnTo>
                    <a:pt x="454819" y="1302543"/>
                  </a:lnTo>
                  <a:lnTo>
                    <a:pt x="473869" y="1281112"/>
                  </a:lnTo>
                  <a:lnTo>
                    <a:pt x="492919" y="1281112"/>
                  </a:lnTo>
                  <a:lnTo>
                    <a:pt x="507206" y="1250156"/>
                  </a:lnTo>
                  <a:lnTo>
                    <a:pt x="557213" y="1235868"/>
                  </a:lnTo>
                  <a:lnTo>
                    <a:pt x="583406" y="1216818"/>
                  </a:lnTo>
                  <a:lnTo>
                    <a:pt x="590550" y="1178718"/>
                  </a:lnTo>
                  <a:lnTo>
                    <a:pt x="607219" y="1152525"/>
                  </a:lnTo>
                  <a:lnTo>
                    <a:pt x="688181" y="1183481"/>
                  </a:lnTo>
                  <a:close/>
                </a:path>
              </a:pathLst>
            </a:custGeom>
            <a:solidFill>
              <a:schemeClr val="bg1"/>
            </a:solidFill>
            <a:ln w="317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a:lstStyle/>
            <a:p>
              <a:pPr>
                <a:defRPr/>
              </a:pPr>
              <a:endParaRPr lang="en-GB"/>
            </a:p>
          </p:txBody>
        </p:sp>
        <p:sp>
          <p:nvSpPr>
            <p:cNvPr id="55" name="Freeform 54"/>
            <p:cNvSpPr/>
            <p:nvPr/>
          </p:nvSpPr>
          <p:spPr>
            <a:xfrm>
              <a:off x="4774010" y="3131096"/>
              <a:ext cx="771525" cy="1196975"/>
            </a:xfrm>
            <a:custGeom>
              <a:avLst/>
              <a:gdLst>
                <a:gd name="connsiteX0" fmla="*/ 202407 w 771525"/>
                <a:gd name="connsiteY0" fmla="*/ 1131094 h 1135856"/>
                <a:gd name="connsiteX1" fmla="*/ 221457 w 771525"/>
                <a:gd name="connsiteY1" fmla="*/ 1064419 h 1135856"/>
                <a:gd name="connsiteX2" fmla="*/ 238125 w 771525"/>
                <a:gd name="connsiteY2" fmla="*/ 1042987 h 1135856"/>
                <a:gd name="connsiteX3" fmla="*/ 247650 w 771525"/>
                <a:gd name="connsiteY3" fmla="*/ 1012031 h 1135856"/>
                <a:gd name="connsiteX4" fmla="*/ 283369 w 771525"/>
                <a:gd name="connsiteY4" fmla="*/ 985837 h 1135856"/>
                <a:gd name="connsiteX5" fmla="*/ 319088 w 771525"/>
                <a:gd name="connsiteY5" fmla="*/ 962025 h 1135856"/>
                <a:gd name="connsiteX6" fmla="*/ 350044 w 771525"/>
                <a:gd name="connsiteY6" fmla="*/ 928687 h 1135856"/>
                <a:gd name="connsiteX7" fmla="*/ 354807 w 771525"/>
                <a:gd name="connsiteY7" fmla="*/ 900112 h 1135856"/>
                <a:gd name="connsiteX8" fmla="*/ 321469 w 771525"/>
                <a:gd name="connsiteY8" fmla="*/ 854869 h 1135856"/>
                <a:gd name="connsiteX9" fmla="*/ 323850 w 771525"/>
                <a:gd name="connsiteY9" fmla="*/ 785812 h 1135856"/>
                <a:gd name="connsiteX10" fmla="*/ 280988 w 771525"/>
                <a:gd name="connsiteY10" fmla="*/ 735806 h 1135856"/>
                <a:gd name="connsiteX11" fmla="*/ 288132 w 771525"/>
                <a:gd name="connsiteY11" fmla="*/ 697706 h 1135856"/>
                <a:gd name="connsiteX12" fmla="*/ 316707 w 771525"/>
                <a:gd name="connsiteY12" fmla="*/ 681037 h 1135856"/>
                <a:gd name="connsiteX13" fmla="*/ 330994 w 771525"/>
                <a:gd name="connsiteY13" fmla="*/ 707231 h 1135856"/>
                <a:gd name="connsiteX14" fmla="*/ 354807 w 771525"/>
                <a:gd name="connsiteY14" fmla="*/ 726281 h 1135856"/>
                <a:gd name="connsiteX15" fmla="*/ 369094 w 771525"/>
                <a:gd name="connsiteY15" fmla="*/ 745331 h 1135856"/>
                <a:gd name="connsiteX16" fmla="*/ 378619 w 771525"/>
                <a:gd name="connsiteY16" fmla="*/ 781050 h 1135856"/>
                <a:gd name="connsiteX17" fmla="*/ 395288 w 771525"/>
                <a:gd name="connsiteY17" fmla="*/ 797719 h 1135856"/>
                <a:gd name="connsiteX18" fmla="*/ 409575 w 771525"/>
                <a:gd name="connsiteY18" fmla="*/ 792956 h 1135856"/>
                <a:gd name="connsiteX19" fmla="*/ 426244 w 771525"/>
                <a:gd name="connsiteY19" fmla="*/ 785812 h 1135856"/>
                <a:gd name="connsiteX20" fmla="*/ 423863 w 771525"/>
                <a:gd name="connsiteY20" fmla="*/ 676275 h 1135856"/>
                <a:gd name="connsiteX21" fmla="*/ 409575 w 771525"/>
                <a:gd name="connsiteY21" fmla="*/ 640556 h 1135856"/>
                <a:gd name="connsiteX22" fmla="*/ 411957 w 771525"/>
                <a:gd name="connsiteY22" fmla="*/ 614362 h 1135856"/>
                <a:gd name="connsiteX23" fmla="*/ 426244 w 771525"/>
                <a:gd name="connsiteY23" fmla="*/ 566737 h 1135856"/>
                <a:gd name="connsiteX24" fmla="*/ 473869 w 771525"/>
                <a:gd name="connsiteY24" fmla="*/ 566737 h 1135856"/>
                <a:gd name="connsiteX25" fmla="*/ 488157 w 771525"/>
                <a:gd name="connsiteY25" fmla="*/ 552450 h 1135856"/>
                <a:gd name="connsiteX26" fmla="*/ 509588 w 771525"/>
                <a:gd name="connsiteY26" fmla="*/ 502444 h 1135856"/>
                <a:gd name="connsiteX27" fmla="*/ 604838 w 771525"/>
                <a:gd name="connsiteY27" fmla="*/ 457200 h 1135856"/>
                <a:gd name="connsiteX28" fmla="*/ 628650 w 771525"/>
                <a:gd name="connsiteY28" fmla="*/ 447675 h 1135856"/>
                <a:gd name="connsiteX29" fmla="*/ 638175 w 771525"/>
                <a:gd name="connsiteY29" fmla="*/ 402431 h 1135856"/>
                <a:gd name="connsiteX30" fmla="*/ 638175 w 771525"/>
                <a:gd name="connsiteY30" fmla="*/ 361950 h 1135856"/>
                <a:gd name="connsiteX31" fmla="*/ 640557 w 771525"/>
                <a:gd name="connsiteY31" fmla="*/ 340519 h 1135856"/>
                <a:gd name="connsiteX32" fmla="*/ 652463 w 771525"/>
                <a:gd name="connsiteY32" fmla="*/ 333375 h 1135856"/>
                <a:gd name="connsiteX33" fmla="*/ 742950 w 771525"/>
                <a:gd name="connsiteY33" fmla="*/ 297656 h 1135856"/>
                <a:gd name="connsiteX34" fmla="*/ 766763 w 771525"/>
                <a:gd name="connsiteY34" fmla="*/ 280987 h 1135856"/>
                <a:gd name="connsiteX35" fmla="*/ 754857 w 771525"/>
                <a:gd name="connsiteY35" fmla="*/ 252412 h 1135856"/>
                <a:gd name="connsiteX36" fmla="*/ 742950 w 771525"/>
                <a:gd name="connsiteY36" fmla="*/ 221456 h 1135856"/>
                <a:gd name="connsiteX37" fmla="*/ 771525 w 771525"/>
                <a:gd name="connsiteY37" fmla="*/ 192881 h 1135856"/>
                <a:gd name="connsiteX38" fmla="*/ 752475 w 771525"/>
                <a:gd name="connsiteY38" fmla="*/ 161925 h 1135856"/>
                <a:gd name="connsiteX39" fmla="*/ 752475 w 771525"/>
                <a:gd name="connsiteY39" fmla="*/ 119062 h 1135856"/>
                <a:gd name="connsiteX40" fmla="*/ 719138 w 771525"/>
                <a:gd name="connsiteY40" fmla="*/ 85725 h 1135856"/>
                <a:gd name="connsiteX41" fmla="*/ 671513 w 771525"/>
                <a:gd name="connsiteY41" fmla="*/ 52387 h 1135856"/>
                <a:gd name="connsiteX42" fmla="*/ 645319 w 771525"/>
                <a:gd name="connsiteY42" fmla="*/ 35719 h 1135856"/>
                <a:gd name="connsiteX43" fmla="*/ 642938 w 771525"/>
                <a:gd name="connsiteY43" fmla="*/ 4762 h 1135856"/>
                <a:gd name="connsiteX44" fmla="*/ 609600 w 771525"/>
                <a:gd name="connsiteY44" fmla="*/ 0 h 1135856"/>
                <a:gd name="connsiteX45" fmla="*/ 583407 w 771525"/>
                <a:gd name="connsiteY45" fmla="*/ 23812 h 1135856"/>
                <a:gd name="connsiteX46" fmla="*/ 564357 w 771525"/>
                <a:gd name="connsiteY46" fmla="*/ 19050 h 1135856"/>
                <a:gd name="connsiteX47" fmla="*/ 554832 w 771525"/>
                <a:gd name="connsiteY47" fmla="*/ 42862 h 1135856"/>
                <a:gd name="connsiteX48" fmla="*/ 509588 w 771525"/>
                <a:gd name="connsiteY48" fmla="*/ 76200 h 1135856"/>
                <a:gd name="connsiteX49" fmla="*/ 407194 w 771525"/>
                <a:gd name="connsiteY49" fmla="*/ 114300 h 1135856"/>
                <a:gd name="connsiteX50" fmla="*/ 381000 w 771525"/>
                <a:gd name="connsiteY50" fmla="*/ 152400 h 1135856"/>
                <a:gd name="connsiteX51" fmla="*/ 340519 w 771525"/>
                <a:gd name="connsiteY51" fmla="*/ 140494 h 1135856"/>
                <a:gd name="connsiteX52" fmla="*/ 245269 w 771525"/>
                <a:gd name="connsiteY52" fmla="*/ 145256 h 1135856"/>
                <a:gd name="connsiteX53" fmla="*/ 250032 w 771525"/>
                <a:gd name="connsiteY53" fmla="*/ 154781 h 1135856"/>
                <a:gd name="connsiteX54" fmla="*/ 309563 w 771525"/>
                <a:gd name="connsiteY54" fmla="*/ 204787 h 1135856"/>
                <a:gd name="connsiteX55" fmla="*/ 211932 w 771525"/>
                <a:gd name="connsiteY55" fmla="*/ 328612 h 1135856"/>
                <a:gd name="connsiteX56" fmla="*/ 173832 w 771525"/>
                <a:gd name="connsiteY56" fmla="*/ 319087 h 1135856"/>
                <a:gd name="connsiteX57" fmla="*/ 80963 w 771525"/>
                <a:gd name="connsiteY57" fmla="*/ 452437 h 1135856"/>
                <a:gd name="connsiteX58" fmla="*/ 97632 w 771525"/>
                <a:gd name="connsiteY58" fmla="*/ 464344 h 1135856"/>
                <a:gd name="connsiteX59" fmla="*/ 114300 w 771525"/>
                <a:gd name="connsiteY59" fmla="*/ 504825 h 1135856"/>
                <a:gd name="connsiteX60" fmla="*/ 92869 w 771525"/>
                <a:gd name="connsiteY60" fmla="*/ 566737 h 1135856"/>
                <a:gd name="connsiteX61" fmla="*/ 102394 w 771525"/>
                <a:gd name="connsiteY61" fmla="*/ 640556 h 1135856"/>
                <a:gd name="connsiteX62" fmla="*/ 73819 w 771525"/>
                <a:gd name="connsiteY62" fmla="*/ 678656 h 1135856"/>
                <a:gd name="connsiteX63" fmla="*/ 73819 w 771525"/>
                <a:gd name="connsiteY63" fmla="*/ 704850 h 1135856"/>
                <a:gd name="connsiteX64" fmla="*/ 61913 w 771525"/>
                <a:gd name="connsiteY64" fmla="*/ 733425 h 1135856"/>
                <a:gd name="connsiteX65" fmla="*/ 88107 w 771525"/>
                <a:gd name="connsiteY65" fmla="*/ 762000 h 1135856"/>
                <a:gd name="connsiteX66" fmla="*/ 135732 w 771525"/>
                <a:gd name="connsiteY66" fmla="*/ 850106 h 1135856"/>
                <a:gd name="connsiteX67" fmla="*/ 69057 w 771525"/>
                <a:gd name="connsiteY67" fmla="*/ 876300 h 1135856"/>
                <a:gd name="connsiteX68" fmla="*/ 45244 w 771525"/>
                <a:gd name="connsiteY68" fmla="*/ 928687 h 1135856"/>
                <a:gd name="connsiteX69" fmla="*/ 33338 w 771525"/>
                <a:gd name="connsiteY69" fmla="*/ 983456 h 1135856"/>
                <a:gd name="connsiteX70" fmla="*/ 2382 w 771525"/>
                <a:gd name="connsiteY70" fmla="*/ 973931 h 1135856"/>
                <a:gd name="connsiteX71" fmla="*/ 0 w 771525"/>
                <a:gd name="connsiteY71" fmla="*/ 1021556 h 1135856"/>
                <a:gd name="connsiteX72" fmla="*/ 16669 w 771525"/>
                <a:gd name="connsiteY72" fmla="*/ 1031081 h 1135856"/>
                <a:gd name="connsiteX73" fmla="*/ 57150 w 771525"/>
                <a:gd name="connsiteY73" fmla="*/ 1040606 h 1135856"/>
                <a:gd name="connsiteX74" fmla="*/ 85725 w 771525"/>
                <a:gd name="connsiteY74" fmla="*/ 1054894 h 1135856"/>
                <a:gd name="connsiteX75" fmla="*/ 102394 w 771525"/>
                <a:gd name="connsiteY75" fmla="*/ 1109662 h 1135856"/>
                <a:gd name="connsiteX76" fmla="*/ 130969 w 771525"/>
                <a:gd name="connsiteY76" fmla="*/ 1135856 h 1135856"/>
                <a:gd name="connsiteX77" fmla="*/ 202407 w 771525"/>
                <a:gd name="connsiteY77" fmla="*/ 1131094 h 1135856"/>
                <a:gd name="connsiteX0" fmla="*/ 202407 w 771525"/>
                <a:gd name="connsiteY0" fmla="*/ 1131094 h 1135856"/>
                <a:gd name="connsiteX1" fmla="*/ 221457 w 771525"/>
                <a:gd name="connsiteY1" fmla="*/ 1064419 h 1135856"/>
                <a:gd name="connsiteX2" fmla="*/ 238125 w 771525"/>
                <a:gd name="connsiteY2" fmla="*/ 1042987 h 1135856"/>
                <a:gd name="connsiteX3" fmla="*/ 247650 w 771525"/>
                <a:gd name="connsiteY3" fmla="*/ 1012031 h 1135856"/>
                <a:gd name="connsiteX4" fmla="*/ 283369 w 771525"/>
                <a:gd name="connsiteY4" fmla="*/ 985837 h 1135856"/>
                <a:gd name="connsiteX5" fmla="*/ 319088 w 771525"/>
                <a:gd name="connsiteY5" fmla="*/ 962025 h 1135856"/>
                <a:gd name="connsiteX6" fmla="*/ 350044 w 771525"/>
                <a:gd name="connsiteY6" fmla="*/ 928687 h 1135856"/>
                <a:gd name="connsiteX7" fmla="*/ 354807 w 771525"/>
                <a:gd name="connsiteY7" fmla="*/ 900112 h 1135856"/>
                <a:gd name="connsiteX8" fmla="*/ 321469 w 771525"/>
                <a:gd name="connsiteY8" fmla="*/ 854869 h 1135856"/>
                <a:gd name="connsiteX9" fmla="*/ 323850 w 771525"/>
                <a:gd name="connsiteY9" fmla="*/ 785812 h 1135856"/>
                <a:gd name="connsiteX10" fmla="*/ 280988 w 771525"/>
                <a:gd name="connsiteY10" fmla="*/ 735806 h 1135856"/>
                <a:gd name="connsiteX11" fmla="*/ 288132 w 771525"/>
                <a:gd name="connsiteY11" fmla="*/ 697706 h 1135856"/>
                <a:gd name="connsiteX12" fmla="*/ 316707 w 771525"/>
                <a:gd name="connsiteY12" fmla="*/ 681037 h 1135856"/>
                <a:gd name="connsiteX13" fmla="*/ 330994 w 771525"/>
                <a:gd name="connsiteY13" fmla="*/ 707231 h 1135856"/>
                <a:gd name="connsiteX14" fmla="*/ 354807 w 771525"/>
                <a:gd name="connsiteY14" fmla="*/ 726281 h 1135856"/>
                <a:gd name="connsiteX15" fmla="*/ 369094 w 771525"/>
                <a:gd name="connsiteY15" fmla="*/ 745331 h 1135856"/>
                <a:gd name="connsiteX16" fmla="*/ 378619 w 771525"/>
                <a:gd name="connsiteY16" fmla="*/ 781050 h 1135856"/>
                <a:gd name="connsiteX17" fmla="*/ 395288 w 771525"/>
                <a:gd name="connsiteY17" fmla="*/ 797719 h 1135856"/>
                <a:gd name="connsiteX18" fmla="*/ 409575 w 771525"/>
                <a:gd name="connsiteY18" fmla="*/ 792956 h 1135856"/>
                <a:gd name="connsiteX19" fmla="*/ 426244 w 771525"/>
                <a:gd name="connsiteY19" fmla="*/ 785812 h 1135856"/>
                <a:gd name="connsiteX20" fmla="*/ 423863 w 771525"/>
                <a:gd name="connsiteY20" fmla="*/ 676275 h 1135856"/>
                <a:gd name="connsiteX21" fmla="*/ 409575 w 771525"/>
                <a:gd name="connsiteY21" fmla="*/ 640556 h 1135856"/>
                <a:gd name="connsiteX22" fmla="*/ 411957 w 771525"/>
                <a:gd name="connsiteY22" fmla="*/ 614362 h 1135856"/>
                <a:gd name="connsiteX23" fmla="*/ 426244 w 771525"/>
                <a:gd name="connsiteY23" fmla="*/ 566737 h 1135856"/>
                <a:gd name="connsiteX24" fmla="*/ 473869 w 771525"/>
                <a:gd name="connsiteY24" fmla="*/ 566737 h 1135856"/>
                <a:gd name="connsiteX25" fmla="*/ 488157 w 771525"/>
                <a:gd name="connsiteY25" fmla="*/ 552450 h 1135856"/>
                <a:gd name="connsiteX26" fmla="*/ 509588 w 771525"/>
                <a:gd name="connsiteY26" fmla="*/ 502444 h 1135856"/>
                <a:gd name="connsiteX27" fmla="*/ 604838 w 771525"/>
                <a:gd name="connsiteY27" fmla="*/ 457200 h 1135856"/>
                <a:gd name="connsiteX28" fmla="*/ 628650 w 771525"/>
                <a:gd name="connsiteY28" fmla="*/ 447675 h 1135856"/>
                <a:gd name="connsiteX29" fmla="*/ 638175 w 771525"/>
                <a:gd name="connsiteY29" fmla="*/ 402431 h 1135856"/>
                <a:gd name="connsiteX30" fmla="*/ 638175 w 771525"/>
                <a:gd name="connsiteY30" fmla="*/ 361950 h 1135856"/>
                <a:gd name="connsiteX31" fmla="*/ 640557 w 771525"/>
                <a:gd name="connsiteY31" fmla="*/ 340519 h 1135856"/>
                <a:gd name="connsiteX32" fmla="*/ 652463 w 771525"/>
                <a:gd name="connsiteY32" fmla="*/ 333375 h 1135856"/>
                <a:gd name="connsiteX33" fmla="*/ 742950 w 771525"/>
                <a:gd name="connsiteY33" fmla="*/ 297656 h 1135856"/>
                <a:gd name="connsiteX34" fmla="*/ 766763 w 771525"/>
                <a:gd name="connsiteY34" fmla="*/ 280987 h 1135856"/>
                <a:gd name="connsiteX35" fmla="*/ 754857 w 771525"/>
                <a:gd name="connsiteY35" fmla="*/ 252412 h 1135856"/>
                <a:gd name="connsiteX36" fmla="*/ 742950 w 771525"/>
                <a:gd name="connsiteY36" fmla="*/ 221456 h 1135856"/>
                <a:gd name="connsiteX37" fmla="*/ 771525 w 771525"/>
                <a:gd name="connsiteY37" fmla="*/ 192881 h 1135856"/>
                <a:gd name="connsiteX38" fmla="*/ 752475 w 771525"/>
                <a:gd name="connsiteY38" fmla="*/ 161925 h 1135856"/>
                <a:gd name="connsiteX39" fmla="*/ 752475 w 771525"/>
                <a:gd name="connsiteY39" fmla="*/ 119062 h 1135856"/>
                <a:gd name="connsiteX40" fmla="*/ 719138 w 771525"/>
                <a:gd name="connsiteY40" fmla="*/ 85725 h 1135856"/>
                <a:gd name="connsiteX41" fmla="*/ 671513 w 771525"/>
                <a:gd name="connsiteY41" fmla="*/ 52387 h 1135856"/>
                <a:gd name="connsiteX42" fmla="*/ 645319 w 771525"/>
                <a:gd name="connsiteY42" fmla="*/ 35719 h 1135856"/>
                <a:gd name="connsiteX43" fmla="*/ 642938 w 771525"/>
                <a:gd name="connsiteY43" fmla="*/ 4762 h 1135856"/>
                <a:gd name="connsiteX44" fmla="*/ 609600 w 771525"/>
                <a:gd name="connsiteY44" fmla="*/ 0 h 1135856"/>
                <a:gd name="connsiteX45" fmla="*/ 583407 w 771525"/>
                <a:gd name="connsiteY45" fmla="*/ 23812 h 1135856"/>
                <a:gd name="connsiteX46" fmla="*/ 564357 w 771525"/>
                <a:gd name="connsiteY46" fmla="*/ 19050 h 1135856"/>
                <a:gd name="connsiteX47" fmla="*/ 554832 w 771525"/>
                <a:gd name="connsiteY47" fmla="*/ 42862 h 1135856"/>
                <a:gd name="connsiteX48" fmla="*/ 509588 w 771525"/>
                <a:gd name="connsiteY48" fmla="*/ 76200 h 1135856"/>
                <a:gd name="connsiteX49" fmla="*/ 407194 w 771525"/>
                <a:gd name="connsiteY49" fmla="*/ 114300 h 1135856"/>
                <a:gd name="connsiteX50" fmla="*/ 381000 w 771525"/>
                <a:gd name="connsiteY50" fmla="*/ 152400 h 1135856"/>
                <a:gd name="connsiteX51" fmla="*/ 340519 w 771525"/>
                <a:gd name="connsiteY51" fmla="*/ 140494 h 1135856"/>
                <a:gd name="connsiteX52" fmla="*/ 245269 w 771525"/>
                <a:gd name="connsiteY52" fmla="*/ 145256 h 1135856"/>
                <a:gd name="connsiteX53" fmla="*/ 250032 w 771525"/>
                <a:gd name="connsiteY53" fmla="*/ 154781 h 1135856"/>
                <a:gd name="connsiteX54" fmla="*/ 309563 w 771525"/>
                <a:gd name="connsiteY54" fmla="*/ 204787 h 1135856"/>
                <a:gd name="connsiteX55" fmla="*/ 211932 w 771525"/>
                <a:gd name="connsiteY55" fmla="*/ 328612 h 1135856"/>
                <a:gd name="connsiteX56" fmla="*/ 173832 w 771525"/>
                <a:gd name="connsiteY56" fmla="*/ 319087 h 1135856"/>
                <a:gd name="connsiteX57" fmla="*/ 80963 w 771525"/>
                <a:gd name="connsiteY57" fmla="*/ 452437 h 1135856"/>
                <a:gd name="connsiteX58" fmla="*/ 97632 w 771525"/>
                <a:gd name="connsiteY58" fmla="*/ 464344 h 1135856"/>
                <a:gd name="connsiteX59" fmla="*/ 114300 w 771525"/>
                <a:gd name="connsiteY59" fmla="*/ 504825 h 1135856"/>
                <a:gd name="connsiteX60" fmla="*/ 92869 w 771525"/>
                <a:gd name="connsiteY60" fmla="*/ 566737 h 1135856"/>
                <a:gd name="connsiteX61" fmla="*/ 102394 w 771525"/>
                <a:gd name="connsiteY61" fmla="*/ 640556 h 1135856"/>
                <a:gd name="connsiteX62" fmla="*/ 73819 w 771525"/>
                <a:gd name="connsiteY62" fmla="*/ 678656 h 1135856"/>
                <a:gd name="connsiteX63" fmla="*/ 73819 w 771525"/>
                <a:gd name="connsiteY63" fmla="*/ 704850 h 1135856"/>
                <a:gd name="connsiteX64" fmla="*/ 61913 w 771525"/>
                <a:gd name="connsiteY64" fmla="*/ 733425 h 1135856"/>
                <a:gd name="connsiteX65" fmla="*/ 88107 w 771525"/>
                <a:gd name="connsiteY65" fmla="*/ 762000 h 1135856"/>
                <a:gd name="connsiteX66" fmla="*/ 135732 w 771525"/>
                <a:gd name="connsiteY66" fmla="*/ 850106 h 1135856"/>
                <a:gd name="connsiteX67" fmla="*/ 69057 w 771525"/>
                <a:gd name="connsiteY67" fmla="*/ 876300 h 1135856"/>
                <a:gd name="connsiteX68" fmla="*/ 45244 w 771525"/>
                <a:gd name="connsiteY68" fmla="*/ 928687 h 1135856"/>
                <a:gd name="connsiteX69" fmla="*/ 33338 w 771525"/>
                <a:gd name="connsiteY69" fmla="*/ 983456 h 1135856"/>
                <a:gd name="connsiteX70" fmla="*/ 2382 w 771525"/>
                <a:gd name="connsiteY70" fmla="*/ 973931 h 1135856"/>
                <a:gd name="connsiteX71" fmla="*/ 0 w 771525"/>
                <a:gd name="connsiteY71" fmla="*/ 1021556 h 1135856"/>
                <a:gd name="connsiteX72" fmla="*/ 16669 w 771525"/>
                <a:gd name="connsiteY72" fmla="*/ 1031081 h 1135856"/>
                <a:gd name="connsiteX73" fmla="*/ 57150 w 771525"/>
                <a:gd name="connsiteY73" fmla="*/ 1040606 h 1135856"/>
                <a:gd name="connsiteX74" fmla="*/ 85725 w 771525"/>
                <a:gd name="connsiteY74" fmla="*/ 1054894 h 1135856"/>
                <a:gd name="connsiteX75" fmla="*/ 102394 w 771525"/>
                <a:gd name="connsiteY75" fmla="*/ 1109662 h 1135856"/>
                <a:gd name="connsiteX76" fmla="*/ 130969 w 771525"/>
                <a:gd name="connsiteY76" fmla="*/ 1135856 h 1135856"/>
                <a:gd name="connsiteX77" fmla="*/ 157163 w 771525"/>
                <a:gd name="connsiteY77" fmla="*/ 1135856 h 1135856"/>
                <a:gd name="connsiteX78" fmla="*/ 202407 w 771525"/>
                <a:gd name="connsiteY78" fmla="*/ 1131094 h 1135856"/>
                <a:gd name="connsiteX0" fmla="*/ 202407 w 771525"/>
                <a:gd name="connsiteY0" fmla="*/ 1131094 h 1164431"/>
                <a:gd name="connsiteX1" fmla="*/ 221457 w 771525"/>
                <a:gd name="connsiteY1" fmla="*/ 1064419 h 1164431"/>
                <a:gd name="connsiteX2" fmla="*/ 238125 w 771525"/>
                <a:gd name="connsiteY2" fmla="*/ 1042987 h 1164431"/>
                <a:gd name="connsiteX3" fmla="*/ 247650 w 771525"/>
                <a:gd name="connsiteY3" fmla="*/ 1012031 h 1164431"/>
                <a:gd name="connsiteX4" fmla="*/ 283369 w 771525"/>
                <a:gd name="connsiteY4" fmla="*/ 985837 h 1164431"/>
                <a:gd name="connsiteX5" fmla="*/ 319088 w 771525"/>
                <a:gd name="connsiteY5" fmla="*/ 962025 h 1164431"/>
                <a:gd name="connsiteX6" fmla="*/ 350044 w 771525"/>
                <a:gd name="connsiteY6" fmla="*/ 928687 h 1164431"/>
                <a:gd name="connsiteX7" fmla="*/ 354807 w 771525"/>
                <a:gd name="connsiteY7" fmla="*/ 900112 h 1164431"/>
                <a:gd name="connsiteX8" fmla="*/ 321469 w 771525"/>
                <a:gd name="connsiteY8" fmla="*/ 854869 h 1164431"/>
                <a:gd name="connsiteX9" fmla="*/ 323850 w 771525"/>
                <a:gd name="connsiteY9" fmla="*/ 785812 h 1164431"/>
                <a:gd name="connsiteX10" fmla="*/ 280988 w 771525"/>
                <a:gd name="connsiteY10" fmla="*/ 735806 h 1164431"/>
                <a:gd name="connsiteX11" fmla="*/ 288132 w 771525"/>
                <a:gd name="connsiteY11" fmla="*/ 697706 h 1164431"/>
                <a:gd name="connsiteX12" fmla="*/ 316707 w 771525"/>
                <a:gd name="connsiteY12" fmla="*/ 681037 h 1164431"/>
                <a:gd name="connsiteX13" fmla="*/ 330994 w 771525"/>
                <a:gd name="connsiteY13" fmla="*/ 707231 h 1164431"/>
                <a:gd name="connsiteX14" fmla="*/ 354807 w 771525"/>
                <a:gd name="connsiteY14" fmla="*/ 726281 h 1164431"/>
                <a:gd name="connsiteX15" fmla="*/ 369094 w 771525"/>
                <a:gd name="connsiteY15" fmla="*/ 745331 h 1164431"/>
                <a:gd name="connsiteX16" fmla="*/ 378619 w 771525"/>
                <a:gd name="connsiteY16" fmla="*/ 781050 h 1164431"/>
                <a:gd name="connsiteX17" fmla="*/ 395288 w 771525"/>
                <a:gd name="connsiteY17" fmla="*/ 797719 h 1164431"/>
                <a:gd name="connsiteX18" fmla="*/ 409575 w 771525"/>
                <a:gd name="connsiteY18" fmla="*/ 792956 h 1164431"/>
                <a:gd name="connsiteX19" fmla="*/ 426244 w 771525"/>
                <a:gd name="connsiteY19" fmla="*/ 785812 h 1164431"/>
                <a:gd name="connsiteX20" fmla="*/ 423863 w 771525"/>
                <a:gd name="connsiteY20" fmla="*/ 676275 h 1164431"/>
                <a:gd name="connsiteX21" fmla="*/ 409575 w 771525"/>
                <a:gd name="connsiteY21" fmla="*/ 640556 h 1164431"/>
                <a:gd name="connsiteX22" fmla="*/ 411957 w 771525"/>
                <a:gd name="connsiteY22" fmla="*/ 614362 h 1164431"/>
                <a:gd name="connsiteX23" fmla="*/ 426244 w 771525"/>
                <a:gd name="connsiteY23" fmla="*/ 566737 h 1164431"/>
                <a:gd name="connsiteX24" fmla="*/ 473869 w 771525"/>
                <a:gd name="connsiteY24" fmla="*/ 566737 h 1164431"/>
                <a:gd name="connsiteX25" fmla="*/ 488157 w 771525"/>
                <a:gd name="connsiteY25" fmla="*/ 552450 h 1164431"/>
                <a:gd name="connsiteX26" fmla="*/ 509588 w 771525"/>
                <a:gd name="connsiteY26" fmla="*/ 502444 h 1164431"/>
                <a:gd name="connsiteX27" fmla="*/ 604838 w 771525"/>
                <a:gd name="connsiteY27" fmla="*/ 457200 h 1164431"/>
                <a:gd name="connsiteX28" fmla="*/ 628650 w 771525"/>
                <a:gd name="connsiteY28" fmla="*/ 447675 h 1164431"/>
                <a:gd name="connsiteX29" fmla="*/ 638175 w 771525"/>
                <a:gd name="connsiteY29" fmla="*/ 402431 h 1164431"/>
                <a:gd name="connsiteX30" fmla="*/ 638175 w 771525"/>
                <a:gd name="connsiteY30" fmla="*/ 361950 h 1164431"/>
                <a:gd name="connsiteX31" fmla="*/ 640557 w 771525"/>
                <a:gd name="connsiteY31" fmla="*/ 340519 h 1164431"/>
                <a:gd name="connsiteX32" fmla="*/ 652463 w 771525"/>
                <a:gd name="connsiteY32" fmla="*/ 333375 h 1164431"/>
                <a:gd name="connsiteX33" fmla="*/ 742950 w 771525"/>
                <a:gd name="connsiteY33" fmla="*/ 297656 h 1164431"/>
                <a:gd name="connsiteX34" fmla="*/ 766763 w 771525"/>
                <a:gd name="connsiteY34" fmla="*/ 280987 h 1164431"/>
                <a:gd name="connsiteX35" fmla="*/ 754857 w 771525"/>
                <a:gd name="connsiteY35" fmla="*/ 252412 h 1164431"/>
                <a:gd name="connsiteX36" fmla="*/ 742950 w 771525"/>
                <a:gd name="connsiteY36" fmla="*/ 221456 h 1164431"/>
                <a:gd name="connsiteX37" fmla="*/ 771525 w 771525"/>
                <a:gd name="connsiteY37" fmla="*/ 192881 h 1164431"/>
                <a:gd name="connsiteX38" fmla="*/ 752475 w 771525"/>
                <a:gd name="connsiteY38" fmla="*/ 161925 h 1164431"/>
                <a:gd name="connsiteX39" fmla="*/ 752475 w 771525"/>
                <a:gd name="connsiteY39" fmla="*/ 119062 h 1164431"/>
                <a:gd name="connsiteX40" fmla="*/ 719138 w 771525"/>
                <a:gd name="connsiteY40" fmla="*/ 85725 h 1164431"/>
                <a:gd name="connsiteX41" fmla="*/ 671513 w 771525"/>
                <a:gd name="connsiteY41" fmla="*/ 52387 h 1164431"/>
                <a:gd name="connsiteX42" fmla="*/ 645319 w 771525"/>
                <a:gd name="connsiteY42" fmla="*/ 35719 h 1164431"/>
                <a:gd name="connsiteX43" fmla="*/ 642938 w 771525"/>
                <a:gd name="connsiteY43" fmla="*/ 4762 h 1164431"/>
                <a:gd name="connsiteX44" fmla="*/ 609600 w 771525"/>
                <a:gd name="connsiteY44" fmla="*/ 0 h 1164431"/>
                <a:gd name="connsiteX45" fmla="*/ 583407 w 771525"/>
                <a:gd name="connsiteY45" fmla="*/ 23812 h 1164431"/>
                <a:gd name="connsiteX46" fmla="*/ 564357 w 771525"/>
                <a:gd name="connsiteY46" fmla="*/ 19050 h 1164431"/>
                <a:gd name="connsiteX47" fmla="*/ 554832 w 771525"/>
                <a:gd name="connsiteY47" fmla="*/ 42862 h 1164431"/>
                <a:gd name="connsiteX48" fmla="*/ 509588 w 771525"/>
                <a:gd name="connsiteY48" fmla="*/ 76200 h 1164431"/>
                <a:gd name="connsiteX49" fmla="*/ 407194 w 771525"/>
                <a:gd name="connsiteY49" fmla="*/ 114300 h 1164431"/>
                <a:gd name="connsiteX50" fmla="*/ 381000 w 771525"/>
                <a:gd name="connsiteY50" fmla="*/ 152400 h 1164431"/>
                <a:gd name="connsiteX51" fmla="*/ 340519 w 771525"/>
                <a:gd name="connsiteY51" fmla="*/ 140494 h 1164431"/>
                <a:gd name="connsiteX52" fmla="*/ 245269 w 771525"/>
                <a:gd name="connsiteY52" fmla="*/ 145256 h 1164431"/>
                <a:gd name="connsiteX53" fmla="*/ 250032 w 771525"/>
                <a:gd name="connsiteY53" fmla="*/ 154781 h 1164431"/>
                <a:gd name="connsiteX54" fmla="*/ 309563 w 771525"/>
                <a:gd name="connsiteY54" fmla="*/ 204787 h 1164431"/>
                <a:gd name="connsiteX55" fmla="*/ 211932 w 771525"/>
                <a:gd name="connsiteY55" fmla="*/ 328612 h 1164431"/>
                <a:gd name="connsiteX56" fmla="*/ 173832 w 771525"/>
                <a:gd name="connsiteY56" fmla="*/ 319087 h 1164431"/>
                <a:gd name="connsiteX57" fmla="*/ 80963 w 771525"/>
                <a:gd name="connsiteY57" fmla="*/ 452437 h 1164431"/>
                <a:gd name="connsiteX58" fmla="*/ 97632 w 771525"/>
                <a:gd name="connsiteY58" fmla="*/ 464344 h 1164431"/>
                <a:gd name="connsiteX59" fmla="*/ 114300 w 771525"/>
                <a:gd name="connsiteY59" fmla="*/ 504825 h 1164431"/>
                <a:gd name="connsiteX60" fmla="*/ 92869 w 771525"/>
                <a:gd name="connsiteY60" fmla="*/ 566737 h 1164431"/>
                <a:gd name="connsiteX61" fmla="*/ 102394 w 771525"/>
                <a:gd name="connsiteY61" fmla="*/ 640556 h 1164431"/>
                <a:gd name="connsiteX62" fmla="*/ 73819 w 771525"/>
                <a:gd name="connsiteY62" fmla="*/ 678656 h 1164431"/>
                <a:gd name="connsiteX63" fmla="*/ 73819 w 771525"/>
                <a:gd name="connsiteY63" fmla="*/ 704850 h 1164431"/>
                <a:gd name="connsiteX64" fmla="*/ 61913 w 771525"/>
                <a:gd name="connsiteY64" fmla="*/ 733425 h 1164431"/>
                <a:gd name="connsiteX65" fmla="*/ 88107 w 771525"/>
                <a:gd name="connsiteY65" fmla="*/ 762000 h 1164431"/>
                <a:gd name="connsiteX66" fmla="*/ 135732 w 771525"/>
                <a:gd name="connsiteY66" fmla="*/ 850106 h 1164431"/>
                <a:gd name="connsiteX67" fmla="*/ 69057 w 771525"/>
                <a:gd name="connsiteY67" fmla="*/ 876300 h 1164431"/>
                <a:gd name="connsiteX68" fmla="*/ 45244 w 771525"/>
                <a:gd name="connsiteY68" fmla="*/ 928687 h 1164431"/>
                <a:gd name="connsiteX69" fmla="*/ 33338 w 771525"/>
                <a:gd name="connsiteY69" fmla="*/ 983456 h 1164431"/>
                <a:gd name="connsiteX70" fmla="*/ 2382 w 771525"/>
                <a:gd name="connsiteY70" fmla="*/ 973931 h 1164431"/>
                <a:gd name="connsiteX71" fmla="*/ 0 w 771525"/>
                <a:gd name="connsiteY71" fmla="*/ 1021556 h 1164431"/>
                <a:gd name="connsiteX72" fmla="*/ 16669 w 771525"/>
                <a:gd name="connsiteY72" fmla="*/ 1031081 h 1164431"/>
                <a:gd name="connsiteX73" fmla="*/ 57150 w 771525"/>
                <a:gd name="connsiteY73" fmla="*/ 1040606 h 1164431"/>
                <a:gd name="connsiteX74" fmla="*/ 85725 w 771525"/>
                <a:gd name="connsiteY74" fmla="*/ 1054894 h 1164431"/>
                <a:gd name="connsiteX75" fmla="*/ 102394 w 771525"/>
                <a:gd name="connsiteY75" fmla="*/ 1109662 h 1164431"/>
                <a:gd name="connsiteX76" fmla="*/ 130969 w 771525"/>
                <a:gd name="connsiteY76" fmla="*/ 1135856 h 1164431"/>
                <a:gd name="connsiteX77" fmla="*/ 157163 w 771525"/>
                <a:gd name="connsiteY77" fmla="*/ 1164431 h 1164431"/>
                <a:gd name="connsiteX78" fmla="*/ 202407 w 771525"/>
                <a:gd name="connsiteY78" fmla="*/ 1131094 h 1164431"/>
                <a:gd name="connsiteX0" fmla="*/ 202407 w 771525"/>
                <a:gd name="connsiteY0" fmla="*/ 1131094 h 1164431"/>
                <a:gd name="connsiteX1" fmla="*/ 221457 w 771525"/>
                <a:gd name="connsiteY1" fmla="*/ 1064419 h 1164431"/>
                <a:gd name="connsiteX2" fmla="*/ 238125 w 771525"/>
                <a:gd name="connsiteY2" fmla="*/ 1042987 h 1164431"/>
                <a:gd name="connsiteX3" fmla="*/ 247650 w 771525"/>
                <a:gd name="connsiteY3" fmla="*/ 1012031 h 1164431"/>
                <a:gd name="connsiteX4" fmla="*/ 283369 w 771525"/>
                <a:gd name="connsiteY4" fmla="*/ 985837 h 1164431"/>
                <a:gd name="connsiteX5" fmla="*/ 319088 w 771525"/>
                <a:gd name="connsiteY5" fmla="*/ 962025 h 1164431"/>
                <a:gd name="connsiteX6" fmla="*/ 350044 w 771525"/>
                <a:gd name="connsiteY6" fmla="*/ 928687 h 1164431"/>
                <a:gd name="connsiteX7" fmla="*/ 354807 w 771525"/>
                <a:gd name="connsiteY7" fmla="*/ 900112 h 1164431"/>
                <a:gd name="connsiteX8" fmla="*/ 321469 w 771525"/>
                <a:gd name="connsiteY8" fmla="*/ 854869 h 1164431"/>
                <a:gd name="connsiteX9" fmla="*/ 323850 w 771525"/>
                <a:gd name="connsiteY9" fmla="*/ 785812 h 1164431"/>
                <a:gd name="connsiteX10" fmla="*/ 280988 w 771525"/>
                <a:gd name="connsiteY10" fmla="*/ 735806 h 1164431"/>
                <a:gd name="connsiteX11" fmla="*/ 288132 w 771525"/>
                <a:gd name="connsiteY11" fmla="*/ 697706 h 1164431"/>
                <a:gd name="connsiteX12" fmla="*/ 316707 w 771525"/>
                <a:gd name="connsiteY12" fmla="*/ 681037 h 1164431"/>
                <a:gd name="connsiteX13" fmla="*/ 330994 w 771525"/>
                <a:gd name="connsiteY13" fmla="*/ 707231 h 1164431"/>
                <a:gd name="connsiteX14" fmla="*/ 354807 w 771525"/>
                <a:gd name="connsiteY14" fmla="*/ 726281 h 1164431"/>
                <a:gd name="connsiteX15" fmla="*/ 369094 w 771525"/>
                <a:gd name="connsiteY15" fmla="*/ 745331 h 1164431"/>
                <a:gd name="connsiteX16" fmla="*/ 378619 w 771525"/>
                <a:gd name="connsiteY16" fmla="*/ 781050 h 1164431"/>
                <a:gd name="connsiteX17" fmla="*/ 395288 w 771525"/>
                <a:gd name="connsiteY17" fmla="*/ 797719 h 1164431"/>
                <a:gd name="connsiteX18" fmla="*/ 409575 w 771525"/>
                <a:gd name="connsiteY18" fmla="*/ 792956 h 1164431"/>
                <a:gd name="connsiteX19" fmla="*/ 426244 w 771525"/>
                <a:gd name="connsiteY19" fmla="*/ 785812 h 1164431"/>
                <a:gd name="connsiteX20" fmla="*/ 423863 w 771525"/>
                <a:gd name="connsiteY20" fmla="*/ 676275 h 1164431"/>
                <a:gd name="connsiteX21" fmla="*/ 409575 w 771525"/>
                <a:gd name="connsiteY21" fmla="*/ 640556 h 1164431"/>
                <a:gd name="connsiteX22" fmla="*/ 411957 w 771525"/>
                <a:gd name="connsiteY22" fmla="*/ 614362 h 1164431"/>
                <a:gd name="connsiteX23" fmla="*/ 426244 w 771525"/>
                <a:gd name="connsiteY23" fmla="*/ 566737 h 1164431"/>
                <a:gd name="connsiteX24" fmla="*/ 473869 w 771525"/>
                <a:gd name="connsiteY24" fmla="*/ 566737 h 1164431"/>
                <a:gd name="connsiteX25" fmla="*/ 488157 w 771525"/>
                <a:gd name="connsiteY25" fmla="*/ 552450 h 1164431"/>
                <a:gd name="connsiteX26" fmla="*/ 509588 w 771525"/>
                <a:gd name="connsiteY26" fmla="*/ 502444 h 1164431"/>
                <a:gd name="connsiteX27" fmla="*/ 604838 w 771525"/>
                <a:gd name="connsiteY27" fmla="*/ 457200 h 1164431"/>
                <a:gd name="connsiteX28" fmla="*/ 628650 w 771525"/>
                <a:gd name="connsiteY28" fmla="*/ 447675 h 1164431"/>
                <a:gd name="connsiteX29" fmla="*/ 638175 w 771525"/>
                <a:gd name="connsiteY29" fmla="*/ 402431 h 1164431"/>
                <a:gd name="connsiteX30" fmla="*/ 638175 w 771525"/>
                <a:gd name="connsiteY30" fmla="*/ 361950 h 1164431"/>
                <a:gd name="connsiteX31" fmla="*/ 640557 w 771525"/>
                <a:gd name="connsiteY31" fmla="*/ 340519 h 1164431"/>
                <a:gd name="connsiteX32" fmla="*/ 652463 w 771525"/>
                <a:gd name="connsiteY32" fmla="*/ 333375 h 1164431"/>
                <a:gd name="connsiteX33" fmla="*/ 742950 w 771525"/>
                <a:gd name="connsiteY33" fmla="*/ 297656 h 1164431"/>
                <a:gd name="connsiteX34" fmla="*/ 766763 w 771525"/>
                <a:gd name="connsiteY34" fmla="*/ 280987 h 1164431"/>
                <a:gd name="connsiteX35" fmla="*/ 754857 w 771525"/>
                <a:gd name="connsiteY35" fmla="*/ 252412 h 1164431"/>
                <a:gd name="connsiteX36" fmla="*/ 742950 w 771525"/>
                <a:gd name="connsiteY36" fmla="*/ 221456 h 1164431"/>
                <a:gd name="connsiteX37" fmla="*/ 771525 w 771525"/>
                <a:gd name="connsiteY37" fmla="*/ 192881 h 1164431"/>
                <a:gd name="connsiteX38" fmla="*/ 752475 w 771525"/>
                <a:gd name="connsiteY38" fmla="*/ 161925 h 1164431"/>
                <a:gd name="connsiteX39" fmla="*/ 752475 w 771525"/>
                <a:gd name="connsiteY39" fmla="*/ 119062 h 1164431"/>
                <a:gd name="connsiteX40" fmla="*/ 719138 w 771525"/>
                <a:gd name="connsiteY40" fmla="*/ 85725 h 1164431"/>
                <a:gd name="connsiteX41" fmla="*/ 671513 w 771525"/>
                <a:gd name="connsiteY41" fmla="*/ 52387 h 1164431"/>
                <a:gd name="connsiteX42" fmla="*/ 645319 w 771525"/>
                <a:gd name="connsiteY42" fmla="*/ 35719 h 1164431"/>
                <a:gd name="connsiteX43" fmla="*/ 642938 w 771525"/>
                <a:gd name="connsiteY43" fmla="*/ 4762 h 1164431"/>
                <a:gd name="connsiteX44" fmla="*/ 609600 w 771525"/>
                <a:gd name="connsiteY44" fmla="*/ 0 h 1164431"/>
                <a:gd name="connsiteX45" fmla="*/ 583407 w 771525"/>
                <a:gd name="connsiteY45" fmla="*/ 23812 h 1164431"/>
                <a:gd name="connsiteX46" fmla="*/ 564357 w 771525"/>
                <a:gd name="connsiteY46" fmla="*/ 19050 h 1164431"/>
                <a:gd name="connsiteX47" fmla="*/ 554832 w 771525"/>
                <a:gd name="connsiteY47" fmla="*/ 42862 h 1164431"/>
                <a:gd name="connsiteX48" fmla="*/ 509588 w 771525"/>
                <a:gd name="connsiteY48" fmla="*/ 76200 h 1164431"/>
                <a:gd name="connsiteX49" fmla="*/ 407194 w 771525"/>
                <a:gd name="connsiteY49" fmla="*/ 114300 h 1164431"/>
                <a:gd name="connsiteX50" fmla="*/ 381000 w 771525"/>
                <a:gd name="connsiteY50" fmla="*/ 152400 h 1164431"/>
                <a:gd name="connsiteX51" fmla="*/ 340519 w 771525"/>
                <a:gd name="connsiteY51" fmla="*/ 140494 h 1164431"/>
                <a:gd name="connsiteX52" fmla="*/ 245269 w 771525"/>
                <a:gd name="connsiteY52" fmla="*/ 145256 h 1164431"/>
                <a:gd name="connsiteX53" fmla="*/ 250032 w 771525"/>
                <a:gd name="connsiteY53" fmla="*/ 154781 h 1164431"/>
                <a:gd name="connsiteX54" fmla="*/ 309563 w 771525"/>
                <a:gd name="connsiteY54" fmla="*/ 204787 h 1164431"/>
                <a:gd name="connsiteX55" fmla="*/ 211932 w 771525"/>
                <a:gd name="connsiteY55" fmla="*/ 328612 h 1164431"/>
                <a:gd name="connsiteX56" fmla="*/ 173832 w 771525"/>
                <a:gd name="connsiteY56" fmla="*/ 319087 h 1164431"/>
                <a:gd name="connsiteX57" fmla="*/ 80963 w 771525"/>
                <a:gd name="connsiteY57" fmla="*/ 452437 h 1164431"/>
                <a:gd name="connsiteX58" fmla="*/ 97632 w 771525"/>
                <a:gd name="connsiteY58" fmla="*/ 464344 h 1164431"/>
                <a:gd name="connsiteX59" fmla="*/ 114300 w 771525"/>
                <a:gd name="connsiteY59" fmla="*/ 504825 h 1164431"/>
                <a:gd name="connsiteX60" fmla="*/ 92869 w 771525"/>
                <a:gd name="connsiteY60" fmla="*/ 566737 h 1164431"/>
                <a:gd name="connsiteX61" fmla="*/ 102394 w 771525"/>
                <a:gd name="connsiteY61" fmla="*/ 640556 h 1164431"/>
                <a:gd name="connsiteX62" fmla="*/ 73819 w 771525"/>
                <a:gd name="connsiteY62" fmla="*/ 678656 h 1164431"/>
                <a:gd name="connsiteX63" fmla="*/ 73819 w 771525"/>
                <a:gd name="connsiteY63" fmla="*/ 704850 h 1164431"/>
                <a:gd name="connsiteX64" fmla="*/ 61913 w 771525"/>
                <a:gd name="connsiteY64" fmla="*/ 733425 h 1164431"/>
                <a:gd name="connsiteX65" fmla="*/ 88107 w 771525"/>
                <a:gd name="connsiteY65" fmla="*/ 762000 h 1164431"/>
                <a:gd name="connsiteX66" fmla="*/ 135732 w 771525"/>
                <a:gd name="connsiteY66" fmla="*/ 850106 h 1164431"/>
                <a:gd name="connsiteX67" fmla="*/ 69057 w 771525"/>
                <a:gd name="connsiteY67" fmla="*/ 876300 h 1164431"/>
                <a:gd name="connsiteX68" fmla="*/ 45244 w 771525"/>
                <a:gd name="connsiteY68" fmla="*/ 928687 h 1164431"/>
                <a:gd name="connsiteX69" fmla="*/ 33338 w 771525"/>
                <a:gd name="connsiteY69" fmla="*/ 983456 h 1164431"/>
                <a:gd name="connsiteX70" fmla="*/ 2382 w 771525"/>
                <a:gd name="connsiteY70" fmla="*/ 973931 h 1164431"/>
                <a:gd name="connsiteX71" fmla="*/ 0 w 771525"/>
                <a:gd name="connsiteY71" fmla="*/ 1021556 h 1164431"/>
                <a:gd name="connsiteX72" fmla="*/ 16669 w 771525"/>
                <a:gd name="connsiteY72" fmla="*/ 1031081 h 1164431"/>
                <a:gd name="connsiteX73" fmla="*/ 57150 w 771525"/>
                <a:gd name="connsiteY73" fmla="*/ 1040606 h 1164431"/>
                <a:gd name="connsiteX74" fmla="*/ 85725 w 771525"/>
                <a:gd name="connsiteY74" fmla="*/ 1054894 h 1164431"/>
                <a:gd name="connsiteX75" fmla="*/ 102394 w 771525"/>
                <a:gd name="connsiteY75" fmla="*/ 1109662 h 1164431"/>
                <a:gd name="connsiteX76" fmla="*/ 130969 w 771525"/>
                <a:gd name="connsiteY76" fmla="*/ 1135856 h 1164431"/>
                <a:gd name="connsiteX77" fmla="*/ 157163 w 771525"/>
                <a:gd name="connsiteY77" fmla="*/ 1164431 h 1164431"/>
                <a:gd name="connsiteX78" fmla="*/ 185738 w 771525"/>
                <a:gd name="connsiteY78" fmla="*/ 1140619 h 1164431"/>
                <a:gd name="connsiteX79" fmla="*/ 202407 w 771525"/>
                <a:gd name="connsiteY79" fmla="*/ 1131094 h 1164431"/>
                <a:gd name="connsiteX0" fmla="*/ 202407 w 771525"/>
                <a:gd name="connsiteY0" fmla="*/ 1131094 h 1164431"/>
                <a:gd name="connsiteX1" fmla="*/ 221457 w 771525"/>
                <a:gd name="connsiteY1" fmla="*/ 1064419 h 1164431"/>
                <a:gd name="connsiteX2" fmla="*/ 238125 w 771525"/>
                <a:gd name="connsiteY2" fmla="*/ 1042987 h 1164431"/>
                <a:gd name="connsiteX3" fmla="*/ 247650 w 771525"/>
                <a:gd name="connsiteY3" fmla="*/ 1012031 h 1164431"/>
                <a:gd name="connsiteX4" fmla="*/ 283369 w 771525"/>
                <a:gd name="connsiteY4" fmla="*/ 985837 h 1164431"/>
                <a:gd name="connsiteX5" fmla="*/ 319088 w 771525"/>
                <a:gd name="connsiteY5" fmla="*/ 962025 h 1164431"/>
                <a:gd name="connsiteX6" fmla="*/ 350044 w 771525"/>
                <a:gd name="connsiteY6" fmla="*/ 928687 h 1164431"/>
                <a:gd name="connsiteX7" fmla="*/ 354807 w 771525"/>
                <a:gd name="connsiteY7" fmla="*/ 900112 h 1164431"/>
                <a:gd name="connsiteX8" fmla="*/ 321469 w 771525"/>
                <a:gd name="connsiteY8" fmla="*/ 854869 h 1164431"/>
                <a:gd name="connsiteX9" fmla="*/ 323850 w 771525"/>
                <a:gd name="connsiteY9" fmla="*/ 785812 h 1164431"/>
                <a:gd name="connsiteX10" fmla="*/ 280988 w 771525"/>
                <a:gd name="connsiteY10" fmla="*/ 735806 h 1164431"/>
                <a:gd name="connsiteX11" fmla="*/ 288132 w 771525"/>
                <a:gd name="connsiteY11" fmla="*/ 697706 h 1164431"/>
                <a:gd name="connsiteX12" fmla="*/ 316707 w 771525"/>
                <a:gd name="connsiteY12" fmla="*/ 681037 h 1164431"/>
                <a:gd name="connsiteX13" fmla="*/ 330994 w 771525"/>
                <a:gd name="connsiteY13" fmla="*/ 707231 h 1164431"/>
                <a:gd name="connsiteX14" fmla="*/ 354807 w 771525"/>
                <a:gd name="connsiteY14" fmla="*/ 726281 h 1164431"/>
                <a:gd name="connsiteX15" fmla="*/ 369094 w 771525"/>
                <a:gd name="connsiteY15" fmla="*/ 745331 h 1164431"/>
                <a:gd name="connsiteX16" fmla="*/ 378619 w 771525"/>
                <a:gd name="connsiteY16" fmla="*/ 781050 h 1164431"/>
                <a:gd name="connsiteX17" fmla="*/ 395288 w 771525"/>
                <a:gd name="connsiteY17" fmla="*/ 797719 h 1164431"/>
                <a:gd name="connsiteX18" fmla="*/ 409575 w 771525"/>
                <a:gd name="connsiteY18" fmla="*/ 792956 h 1164431"/>
                <a:gd name="connsiteX19" fmla="*/ 426244 w 771525"/>
                <a:gd name="connsiteY19" fmla="*/ 785812 h 1164431"/>
                <a:gd name="connsiteX20" fmla="*/ 423863 w 771525"/>
                <a:gd name="connsiteY20" fmla="*/ 676275 h 1164431"/>
                <a:gd name="connsiteX21" fmla="*/ 409575 w 771525"/>
                <a:gd name="connsiteY21" fmla="*/ 640556 h 1164431"/>
                <a:gd name="connsiteX22" fmla="*/ 411957 w 771525"/>
                <a:gd name="connsiteY22" fmla="*/ 614362 h 1164431"/>
                <a:gd name="connsiteX23" fmla="*/ 426244 w 771525"/>
                <a:gd name="connsiteY23" fmla="*/ 566737 h 1164431"/>
                <a:gd name="connsiteX24" fmla="*/ 473869 w 771525"/>
                <a:gd name="connsiteY24" fmla="*/ 566737 h 1164431"/>
                <a:gd name="connsiteX25" fmla="*/ 488157 w 771525"/>
                <a:gd name="connsiteY25" fmla="*/ 552450 h 1164431"/>
                <a:gd name="connsiteX26" fmla="*/ 509588 w 771525"/>
                <a:gd name="connsiteY26" fmla="*/ 502444 h 1164431"/>
                <a:gd name="connsiteX27" fmla="*/ 604838 w 771525"/>
                <a:gd name="connsiteY27" fmla="*/ 457200 h 1164431"/>
                <a:gd name="connsiteX28" fmla="*/ 628650 w 771525"/>
                <a:gd name="connsiteY28" fmla="*/ 447675 h 1164431"/>
                <a:gd name="connsiteX29" fmla="*/ 638175 w 771525"/>
                <a:gd name="connsiteY29" fmla="*/ 402431 h 1164431"/>
                <a:gd name="connsiteX30" fmla="*/ 638175 w 771525"/>
                <a:gd name="connsiteY30" fmla="*/ 361950 h 1164431"/>
                <a:gd name="connsiteX31" fmla="*/ 640557 w 771525"/>
                <a:gd name="connsiteY31" fmla="*/ 340519 h 1164431"/>
                <a:gd name="connsiteX32" fmla="*/ 652463 w 771525"/>
                <a:gd name="connsiteY32" fmla="*/ 333375 h 1164431"/>
                <a:gd name="connsiteX33" fmla="*/ 742950 w 771525"/>
                <a:gd name="connsiteY33" fmla="*/ 297656 h 1164431"/>
                <a:gd name="connsiteX34" fmla="*/ 766763 w 771525"/>
                <a:gd name="connsiteY34" fmla="*/ 280987 h 1164431"/>
                <a:gd name="connsiteX35" fmla="*/ 754857 w 771525"/>
                <a:gd name="connsiteY35" fmla="*/ 252412 h 1164431"/>
                <a:gd name="connsiteX36" fmla="*/ 742950 w 771525"/>
                <a:gd name="connsiteY36" fmla="*/ 221456 h 1164431"/>
                <a:gd name="connsiteX37" fmla="*/ 771525 w 771525"/>
                <a:gd name="connsiteY37" fmla="*/ 192881 h 1164431"/>
                <a:gd name="connsiteX38" fmla="*/ 752475 w 771525"/>
                <a:gd name="connsiteY38" fmla="*/ 161925 h 1164431"/>
                <a:gd name="connsiteX39" fmla="*/ 752475 w 771525"/>
                <a:gd name="connsiteY39" fmla="*/ 119062 h 1164431"/>
                <a:gd name="connsiteX40" fmla="*/ 719138 w 771525"/>
                <a:gd name="connsiteY40" fmla="*/ 85725 h 1164431"/>
                <a:gd name="connsiteX41" fmla="*/ 671513 w 771525"/>
                <a:gd name="connsiteY41" fmla="*/ 52387 h 1164431"/>
                <a:gd name="connsiteX42" fmla="*/ 645319 w 771525"/>
                <a:gd name="connsiteY42" fmla="*/ 35719 h 1164431"/>
                <a:gd name="connsiteX43" fmla="*/ 642938 w 771525"/>
                <a:gd name="connsiteY43" fmla="*/ 4762 h 1164431"/>
                <a:gd name="connsiteX44" fmla="*/ 609600 w 771525"/>
                <a:gd name="connsiteY44" fmla="*/ 0 h 1164431"/>
                <a:gd name="connsiteX45" fmla="*/ 583407 w 771525"/>
                <a:gd name="connsiteY45" fmla="*/ 23812 h 1164431"/>
                <a:gd name="connsiteX46" fmla="*/ 564357 w 771525"/>
                <a:gd name="connsiteY46" fmla="*/ 19050 h 1164431"/>
                <a:gd name="connsiteX47" fmla="*/ 554832 w 771525"/>
                <a:gd name="connsiteY47" fmla="*/ 42862 h 1164431"/>
                <a:gd name="connsiteX48" fmla="*/ 509588 w 771525"/>
                <a:gd name="connsiteY48" fmla="*/ 76200 h 1164431"/>
                <a:gd name="connsiteX49" fmla="*/ 407194 w 771525"/>
                <a:gd name="connsiteY49" fmla="*/ 114300 h 1164431"/>
                <a:gd name="connsiteX50" fmla="*/ 381000 w 771525"/>
                <a:gd name="connsiteY50" fmla="*/ 152400 h 1164431"/>
                <a:gd name="connsiteX51" fmla="*/ 340519 w 771525"/>
                <a:gd name="connsiteY51" fmla="*/ 140494 h 1164431"/>
                <a:gd name="connsiteX52" fmla="*/ 245269 w 771525"/>
                <a:gd name="connsiteY52" fmla="*/ 145256 h 1164431"/>
                <a:gd name="connsiteX53" fmla="*/ 250032 w 771525"/>
                <a:gd name="connsiteY53" fmla="*/ 154781 h 1164431"/>
                <a:gd name="connsiteX54" fmla="*/ 309563 w 771525"/>
                <a:gd name="connsiteY54" fmla="*/ 204787 h 1164431"/>
                <a:gd name="connsiteX55" fmla="*/ 211932 w 771525"/>
                <a:gd name="connsiteY55" fmla="*/ 328612 h 1164431"/>
                <a:gd name="connsiteX56" fmla="*/ 173832 w 771525"/>
                <a:gd name="connsiteY56" fmla="*/ 319087 h 1164431"/>
                <a:gd name="connsiteX57" fmla="*/ 80963 w 771525"/>
                <a:gd name="connsiteY57" fmla="*/ 452437 h 1164431"/>
                <a:gd name="connsiteX58" fmla="*/ 97632 w 771525"/>
                <a:gd name="connsiteY58" fmla="*/ 464344 h 1164431"/>
                <a:gd name="connsiteX59" fmla="*/ 114300 w 771525"/>
                <a:gd name="connsiteY59" fmla="*/ 504825 h 1164431"/>
                <a:gd name="connsiteX60" fmla="*/ 92869 w 771525"/>
                <a:gd name="connsiteY60" fmla="*/ 566737 h 1164431"/>
                <a:gd name="connsiteX61" fmla="*/ 102394 w 771525"/>
                <a:gd name="connsiteY61" fmla="*/ 640556 h 1164431"/>
                <a:gd name="connsiteX62" fmla="*/ 73819 w 771525"/>
                <a:gd name="connsiteY62" fmla="*/ 678656 h 1164431"/>
                <a:gd name="connsiteX63" fmla="*/ 73819 w 771525"/>
                <a:gd name="connsiteY63" fmla="*/ 704850 h 1164431"/>
                <a:gd name="connsiteX64" fmla="*/ 61913 w 771525"/>
                <a:gd name="connsiteY64" fmla="*/ 733425 h 1164431"/>
                <a:gd name="connsiteX65" fmla="*/ 88107 w 771525"/>
                <a:gd name="connsiteY65" fmla="*/ 762000 h 1164431"/>
                <a:gd name="connsiteX66" fmla="*/ 135732 w 771525"/>
                <a:gd name="connsiteY66" fmla="*/ 850106 h 1164431"/>
                <a:gd name="connsiteX67" fmla="*/ 69057 w 771525"/>
                <a:gd name="connsiteY67" fmla="*/ 876300 h 1164431"/>
                <a:gd name="connsiteX68" fmla="*/ 45244 w 771525"/>
                <a:gd name="connsiteY68" fmla="*/ 928687 h 1164431"/>
                <a:gd name="connsiteX69" fmla="*/ 33338 w 771525"/>
                <a:gd name="connsiteY69" fmla="*/ 983456 h 1164431"/>
                <a:gd name="connsiteX70" fmla="*/ 2382 w 771525"/>
                <a:gd name="connsiteY70" fmla="*/ 973931 h 1164431"/>
                <a:gd name="connsiteX71" fmla="*/ 0 w 771525"/>
                <a:gd name="connsiteY71" fmla="*/ 1021556 h 1164431"/>
                <a:gd name="connsiteX72" fmla="*/ 16669 w 771525"/>
                <a:gd name="connsiteY72" fmla="*/ 1031081 h 1164431"/>
                <a:gd name="connsiteX73" fmla="*/ 57150 w 771525"/>
                <a:gd name="connsiteY73" fmla="*/ 1040606 h 1164431"/>
                <a:gd name="connsiteX74" fmla="*/ 85725 w 771525"/>
                <a:gd name="connsiteY74" fmla="*/ 1054894 h 1164431"/>
                <a:gd name="connsiteX75" fmla="*/ 102394 w 771525"/>
                <a:gd name="connsiteY75" fmla="*/ 1109662 h 1164431"/>
                <a:gd name="connsiteX76" fmla="*/ 130969 w 771525"/>
                <a:gd name="connsiteY76" fmla="*/ 1135856 h 1164431"/>
                <a:gd name="connsiteX77" fmla="*/ 157163 w 771525"/>
                <a:gd name="connsiteY77" fmla="*/ 1164431 h 1164431"/>
                <a:gd name="connsiteX78" fmla="*/ 192882 w 771525"/>
                <a:gd name="connsiteY78" fmla="*/ 1157288 h 1164431"/>
                <a:gd name="connsiteX79" fmla="*/ 202407 w 771525"/>
                <a:gd name="connsiteY79" fmla="*/ 1131094 h 1164431"/>
                <a:gd name="connsiteX0" fmla="*/ 202407 w 771525"/>
                <a:gd name="connsiteY0" fmla="*/ 1164432 h 1197769"/>
                <a:gd name="connsiteX1" fmla="*/ 221457 w 771525"/>
                <a:gd name="connsiteY1" fmla="*/ 1097757 h 1197769"/>
                <a:gd name="connsiteX2" fmla="*/ 238125 w 771525"/>
                <a:gd name="connsiteY2" fmla="*/ 1076325 h 1197769"/>
                <a:gd name="connsiteX3" fmla="*/ 247650 w 771525"/>
                <a:gd name="connsiteY3" fmla="*/ 1045369 h 1197769"/>
                <a:gd name="connsiteX4" fmla="*/ 283369 w 771525"/>
                <a:gd name="connsiteY4" fmla="*/ 1019175 h 1197769"/>
                <a:gd name="connsiteX5" fmla="*/ 319088 w 771525"/>
                <a:gd name="connsiteY5" fmla="*/ 995363 h 1197769"/>
                <a:gd name="connsiteX6" fmla="*/ 350044 w 771525"/>
                <a:gd name="connsiteY6" fmla="*/ 962025 h 1197769"/>
                <a:gd name="connsiteX7" fmla="*/ 354807 w 771525"/>
                <a:gd name="connsiteY7" fmla="*/ 933450 h 1197769"/>
                <a:gd name="connsiteX8" fmla="*/ 321469 w 771525"/>
                <a:gd name="connsiteY8" fmla="*/ 888207 h 1197769"/>
                <a:gd name="connsiteX9" fmla="*/ 323850 w 771525"/>
                <a:gd name="connsiteY9" fmla="*/ 819150 h 1197769"/>
                <a:gd name="connsiteX10" fmla="*/ 280988 w 771525"/>
                <a:gd name="connsiteY10" fmla="*/ 769144 h 1197769"/>
                <a:gd name="connsiteX11" fmla="*/ 288132 w 771525"/>
                <a:gd name="connsiteY11" fmla="*/ 731044 h 1197769"/>
                <a:gd name="connsiteX12" fmla="*/ 316707 w 771525"/>
                <a:gd name="connsiteY12" fmla="*/ 714375 h 1197769"/>
                <a:gd name="connsiteX13" fmla="*/ 330994 w 771525"/>
                <a:gd name="connsiteY13" fmla="*/ 740569 h 1197769"/>
                <a:gd name="connsiteX14" fmla="*/ 354807 w 771525"/>
                <a:gd name="connsiteY14" fmla="*/ 759619 h 1197769"/>
                <a:gd name="connsiteX15" fmla="*/ 369094 w 771525"/>
                <a:gd name="connsiteY15" fmla="*/ 778669 h 1197769"/>
                <a:gd name="connsiteX16" fmla="*/ 378619 w 771525"/>
                <a:gd name="connsiteY16" fmla="*/ 814388 h 1197769"/>
                <a:gd name="connsiteX17" fmla="*/ 395288 w 771525"/>
                <a:gd name="connsiteY17" fmla="*/ 831057 h 1197769"/>
                <a:gd name="connsiteX18" fmla="*/ 409575 w 771525"/>
                <a:gd name="connsiteY18" fmla="*/ 826294 h 1197769"/>
                <a:gd name="connsiteX19" fmla="*/ 426244 w 771525"/>
                <a:gd name="connsiteY19" fmla="*/ 819150 h 1197769"/>
                <a:gd name="connsiteX20" fmla="*/ 423863 w 771525"/>
                <a:gd name="connsiteY20" fmla="*/ 709613 h 1197769"/>
                <a:gd name="connsiteX21" fmla="*/ 409575 w 771525"/>
                <a:gd name="connsiteY21" fmla="*/ 673894 h 1197769"/>
                <a:gd name="connsiteX22" fmla="*/ 411957 w 771525"/>
                <a:gd name="connsiteY22" fmla="*/ 647700 h 1197769"/>
                <a:gd name="connsiteX23" fmla="*/ 426244 w 771525"/>
                <a:gd name="connsiteY23" fmla="*/ 600075 h 1197769"/>
                <a:gd name="connsiteX24" fmla="*/ 473869 w 771525"/>
                <a:gd name="connsiteY24" fmla="*/ 600075 h 1197769"/>
                <a:gd name="connsiteX25" fmla="*/ 488157 w 771525"/>
                <a:gd name="connsiteY25" fmla="*/ 585788 h 1197769"/>
                <a:gd name="connsiteX26" fmla="*/ 509588 w 771525"/>
                <a:gd name="connsiteY26" fmla="*/ 535782 h 1197769"/>
                <a:gd name="connsiteX27" fmla="*/ 604838 w 771525"/>
                <a:gd name="connsiteY27" fmla="*/ 490538 h 1197769"/>
                <a:gd name="connsiteX28" fmla="*/ 628650 w 771525"/>
                <a:gd name="connsiteY28" fmla="*/ 481013 h 1197769"/>
                <a:gd name="connsiteX29" fmla="*/ 638175 w 771525"/>
                <a:gd name="connsiteY29" fmla="*/ 435769 h 1197769"/>
                <a:gd name="connsiteX30" fmla="*/ 638175 w 771525"/>
                <a:gd name="connsiteY30" fmla="*/ 395288 h 1197769"/>
                <a:gd name="connsiteX31" fmla="*/ 640557 w 771525"/>
                <a:gd name="connsiteY31" fmla="*/ 373857 h 1197769"/>
                <a:gd name="connsiteX32" fmla="*/ 652463 w 771525"/>
                <a:gd name="connsiteY32" fmla="*/ 366713 h 1197769"/>
                <a:gd name="connsiteX33" fmla="*/ 742950 w 771525"/>
                <a:gd name="connsiteY33" fmla="*/ 330994 h 1197769"/>
                <a:gd name="connsiteX34" fmla="*/ 766763 w 771525"/>
                <a:gd name="connsiteY34" fmla="*/ 314325 h 1197769"/>
                <a:gd name="connsiteX35" fmla="*/ 754857 w 771525"/>
                <a:gd name="connsiteY35" fmla="*/ 285750 h 1197769"/>
                <a:gd name="connsiteX36" fmla="*/ 742950 w 771525"/>
                <a:gd name="connsiteY36" fmla="*/ 254794 h 1197769"/>
                <a:gd name="connsiteX37" fmla="*/ 771525 w 771525"/>
                <a:gd name="connsiteY37" fmla="*/ 226219 h 1197769"/>
                <a:gd name="connsiteX38" fmla="*/ 752475 w 771525"/>
                <a:gd name="connsiteY38" fmla="*/ 195263 h 1197769"/>
                <a:gd name="connsiteX39" fmla="*/ 752475 w 771525"/>
                <a:gd name="connsiteY39" fmla="*/ 152400 h 1197769"/>
                <a:gd name="connsiteX40" fmla="*/ 719138 w 771525"/>
                <a:gd name="connsiteY40" fmla="*/ 119063 h 1197769"/>
                <a:gd name="connsiteX41" fmla="*/ 671513 w 771525"/>
                <a:gd name="connsiteY41" fmla="*/ 85725 h 1197769"/>
                <a:gd name="connsiteX42" fmla="*/ 645319 w 771525"/>
                <a:gd name="connsiteY42" fmla="*/ 69057 h 1197769"/>
                <a:gd name="connsiteX43" fmla="*/ 642938 w 771525"/>
                <a:gd name="connsiteY43" fmla="*/ 0 h 1197769"/>
                <a:gd name="connsiteX44" fmla="*/ 609600 w 771525"/>
                <a:gd name="connsiteY44" fmla="*/ 33338 h 1197769"/>
                <a:gd name="connsiteX45" fmla="*/ 583407 w 771525"/>
                <a:gd name="connsiteY45" fmla="*/ 57150 h 1197769"/>
                <a:gd name="connsiteX46" fmla="*/ 564357 w 771525"/>
                <a:gd name="connsiteY46" fmla="*/ 52388 h 1197769"/>
                <a:gd name="connsiteX47" fmla="*/ 554832 w 771525"/>
                <a:gd name="connsiteY47" fmla="*/ 76200 h 1197769"/>
                <a:gd name="connsiteX48" fmla="*/ 509588 w 771525"/>
                <a:gd name="connsiteY48" fmla="*/ 109538 h 1197769"/>
                <a:gd name="connsiteX49" fmla="*/ 407194 w 771525"/>
                <a:gd name="connsiteY49" fmla="*/ 147638 h 1197769"/>
                <a:gd name="connsiteX50" fmla="*/ 381000 w 771525"/>
                <a:gd name="connsiteY50" fmla="*/ 185738 h 1197769"/>
                <a:gd name="connsiteX51" fmla="*/ 340519 w 771525"/>
                <a:gd name="connsiteY51" fmla="*/ 173832 h 1197769"/>
                <a:gd name="connsiteX52" fmla="*/ 245269 w 771525"/>
                <a:gd name="connsiteY52" fmla="*/ 178594 h 1197769"/>
                <a:gd name="connsiteX53" fmla="*/ 250032 w 771525"/>
                <a:gd name="connsiteY53" fmla="*/ 188119 h 1197769"/>
                <a:gd name="connsiteX54" fmla="*/ 309563 w 771525"/>
                <a:gd name="connsiteY54" fmla="*/ 238125 h 1197769"/>
                <a:gd name="connsiteX55" fmla="*/ 211932 w 771525"/>
                <a:gd name="connsiteY55" fmla="*/ 361950 h 1197769"/>
                <a:gd name="connsiteX56" fmla="*/ 173832 w 771525"/>
                <a:gd name="connsiteY56" fmla="*/ 352425 h 1197769"/>
                <a:gd name="connsiteX57" fmla="*/ 80963 w 771525"/>
                <a:gd name="connsiteY57" fmla="*/ 485775 h 1197769"/>
                <a:gd name="connsiteX58" fmla="*/ 97632 w 771525"/>
                <a:gd name="connsiteY58" fmla="*/ 497682 h 1197769"/>
                <a:gd name="connsiteX59" fmla="*/ 114300 w 771525"/>
                <a:gd name="connsiteY59" fmla="*/ 538163 h 1197769"/>
                <a:gd name="connsiteX60" fmla="*/ 92869 w 771525"/>
                <a:gd name="connsiteY60" fmla="*/ 600075 h 1197769"/>
                <a:gd name="connsiteX61" fmla="*/ 102394 w 771525"/>
                <a:gd name="connsiteY61" fmla="*/ 673894 h 1197769"/>
                <a:gd name="connsiteX62" fmla="*/ 73819 w 771525"/>
                <a:gd name="connsiteY62" fmla="*/ 711994 h 1197769"/>
                <a:gd name="connsiteX63" fmla="*/ 73819 w 771525"/>
                <a:gd name="connsiteY63" fmla="*/ 738188 h 1197769"/>
                <a:gd name="connsiteX64" fmla="*/ 61913 w 771525"/>
                <a:gd name="connsiteY64" fmla="*/ 766763 h 1197769"/>
                <a:gd name="connsiteX65" fmla="*/ 88107 w 771525"/>
                <a:gd name="connsiteY65" fmla="*/ 795338 h 1197769"/>
                <a:gd name="connsiteX66" fmla="*/ 135732 w 771525"/>
                <a:gd name="connsiteY66" fmla="*/ 883444 h 1197769"/>
                <a:gd name="connsiteX67" fmla="*/ 69057 w 771525"/>
                <a:gd name="connsiteY67" fmla="*/ 909638 h 1197769"/>
                <a:gd name="connsiteX68" fmla="*/ 45244 w 771525"/>
                <a:gd name="connsiteY68" fmla="*/ 962025 h 1197769"/>
                <a:gd name="connsiteX69" fmla="*/ 33338 w 771525"/>
                <a:gd name="connsiteY69" fmla="*/ 1016794 h 1197769"/>
                <a:gd name="connsiteX70" fmla="*/ 2382 w 771525"/>
                <a:gd name="connsiteY70" fmla="*/ 1007269 h 1197769"/>
                <a:gd name="connsiteX71" fmla="*/ 0 w 771525"/>
                <a:gd name="connsiteY71" fmla="*/ 1054894 h 1197769"/>
                <a:gd name="connsiteX72" fmla="*/ 16669 w 771525"/>
                <a:gd name="connsiteY72" fmla="*/ 1064419 h 1197769"/>
                <a:gd name="connsiteX73" fmla="*/ 57150 w 771525"/>
                <a:gd name="connsiteY73" fmla="*/ 1073944 h 1197769"/>
                <a:gd name="connsiteX74" fmla="*/ 85725 w 771525"/>
                <a:gd name="connsiteY74" fmla="*/ 1088232 h 1197769"/>
                <a:gd name="connsiteX75" fmla="*/ 102394 w 771525"/>
                <a:gd name="connsiteY75" fmla="*/ 1143000 h 1197769"/>
                <a:gd name="connsiteX76" fmla="*/ 130969 w 771525"/>
                <a:gd name="connsiteY76" fmla="*/ 1169194 h 1197769"/>
                <a:gd name="connsiteX77" fmla="*/ 157163 w 771525"/>
                <a:gd name="connsiteY77" fmla="*/ 1197769 h 1197769"/>
                <a:gd name="connsiteX78" fmla="*/ 192882 w 771525"/>
                <a:gd name="connsiteY78" fmla="*/ 1190626 h 1197769"/>
                <a:gd name="connsiteX79" fmla="*/ 202407 w 771525"/>
                <a:gd name="connsiteY79" fmla="*/ 1164432 h 1197769"/>
                <a:gd name="connsiteX0" fmla="*/ 202407 w 771525"/>
                <a:gd name="connsiteY0" fmla="*/ 1164432 h 1197769"/>
                <a:gd name="connsiteX1" fmla="*/ 221457 w 771525"/>
                <a:gd name="connsiteY1" fmla="*/ 1097757 h 1197769"/>
                <a:gd name="connsiteX2" fmla="*/ 238125 w 771525"/>
                <a:gd name="connsiteY2" fmla="*/ 1076325 h 1197769"/>
                <a:gd name="connsiteX3" fmla="*/ 247650 w 771525"/>
                <a:gd name="connsiteY3" fmla="*/ 1045369 h 1197769"/>
                <a:gd name="connsiteX4" fmla="*/ 283369 w 771525"/>
                <a:gd name="connsiteY4" fmla="*/ 1019175 h 1197769"/>
                <a:gd name="connsiteX5" fmla="*/ 319088 w 771525"/>
                <a:gd name="connsiteY5" fmla="*/ 995363 h 1197769"/>
                <a:gd name="connsiteX6" fmla="*/ 350044 w 771525"/>
                <a:gd name="connsiteY6" fmla="*/ 962025 h 1197769"/>
                <a:gd name="connsiteX7" fmla="*/ 354807 w 771525"/>
                <a:gd name="connsiteY7" fmla="*/ 933450 h 1197769"/>
                <a:gd name="connsiteX8" fmla="*/ 321469 w 771525"/>
                <a:gd name="connsiteY8" fmla="*/ 888207 h 1197769"/>
                <a:gd name="connsiteX9" fmla="*/ 323850 w 771525"/>
                <a:gd name="connsiteY9" fmla="*/ 819150 h 1197769"/>
                <a:gd name="connsiteX10" fmla="*/ 280988 w 771525"/>
                <a:gd name="connsiteY10" fmla="*/ 769144 h 1197769"/>
                <a:gd name="connsiteX11" fmla="*/ 288132 w 771525"/>
                <a:gd name="connsiteY11" fmla="*/ 731044 h 1197769"/>
                <a:gd name="connsiteX12" fmla="*/ 316707 w 771525"/>
                <a:gd name="connsiteY12" fmla="*/ 714375 h 1197769"/>
                <a:gd name="connsiteX13" fmla="*/ 330994 w 771525"/>
                <a:gd name="connsiteY13" fmla="*/ 740569 h 1197769"/>
                <a:gd name="connsiteX14" fmla="*/ 354807 w 771525"/>
                <a:gd name="connsiteY14" fmla="*/ 759619 h 1197769"/>
                <a:gd name="connsiteX15" fmla="*/ 369094 w 771525"/>
                <a:gd name="connsiteY15" fmla="*/ 778669 h 1197769"/>
                <a:gd name="connsiteX16" fmla="*/ 378619 w 771525"/>
                <a:gd name="connsiteY16" fmla="*/ 814388 h 1197769"/>
                <a:gd name="connsiteX17" fmla="*/ 395288 w 771525"/>
                <a:gd name="connsiteY17" fmla="*/ 831057 h 1197769"/>
                <a:gd name="connsiteX18" fmla="*/ 409575 w 771525"/>
                <a:gd name="connsiteY18" fmla="*/ 826294 h 1197769"/>
                <a:gd name="connsiteX19" fmla="*/ 426244 w 771525"/>
                <a:gd name="connsiteY19" fmla="*/ 819150 h 1197769"/>
                <a:gd name="connsiteX20" fmla="*/ 423863 w 771525"/>
                <a:gd name="connsiteY20" fmla="*/ 709613 h 1197769"/>
                <a:gd name="connsiteX21" fmla="*/ 409575 w 771525"/>
                <a:gd name="connsiteY21" fmla="*/ 673894 h 1197769"/>
                <a:gd name="connsiteX22" fmla="*/ 411957 w 771525"/>
                <a:gd name="connsiteY22" fmla="*/ 647700 h 1197769"/>
                <a:gd name="connsiteX23" fmla="*/ 426244 w 771525"/>
                <a:gd name="connsiteY23" fmla="*/ 600075 h 1197769"/>
                <a:gd name="connsiteX24" fmla="*/ 473869 w 771525"/>
                <a:gd name="connsiteY24" fmla="*/ 600075 h 1197769"/>
                <a:gd name="connsiteX25" fmla="*/ 488157 w 771525"/>
                <a:gd name="connsiteY25" fmla="*/ 585788 h 1197769"/>
                <a:gd name="connsiteX26" fmla="*/ 509588 w 771525"/>
                <a:gd name="connsiteY26" fmla="*/ 535782 h 1197769"/>
                <a:gd name="connsiteX27" fmla="*/ 604838 w 771525"/>
                <a:gd name="connsiteY27" fmla="*/ 490538 h 1197769"/>
                <a:gd name="connsiteX28" fmla="*/ 628650 w 771525"/>
                <a:gd name="connsiteY28" fmla="*/ 481013 h 1197769"/>
                <a:gd name="connsiteX29" fmla="*/ 638175 w 771525"/>
                <a:gd name="connsiteY29" fmla="*/ 435769 h 1197769"/>
                <a:gd name="connsiteX30" fmla="*/ 638175 w 771525"/>
                <a:gd name="connsiteY30" fmla="*/ 395288 h 1197769"/>
                <a:gd name="connsiteX31" fmla="*/ 640557 w 771525"/>
                <a:gd name="connsiteY31" fmla="*/ 373857 h 1197769"/>
                <a:gd name="connsiteX32" fmla="*/ 652463 w 771525"/>
                <a:gd name="connsiteY32" fmla="*/ 366713 h 1197769"/>
                <a:gd name="connsiteX33" fmla="*/ 742950 w 771525"/>
                <a:gd name="connsiteY33" fmla="*/ 330994 h 1197769"/>
                <a:gd name="connsiteX34" fmla="*/ 766763 w 771525"/>
                <a:gd name="connsiteY34" fmla="*/ 314325 h 1197769"/>
                <a:gd name="connsiteX35" fmla="*/ 754857 w 771525"/>
                <a:gd name="connsiteY35" fmla="*/ 285750 h 1197769"/>
                <a:gd name="connsiteX36" fmla="*/ 742950 w 771525"/>
                <a:gd name="connsiteY36" fmla="*/ 254794 h 1197769"/>
                <a:gd name="connsiteX37" fmla="*/ 771525 w 771525"/>
                <a:gd name="connsiteY37" fmla="*/ 226219 h 1197769"/>
                <a:gd name="connsiteX38" fmla="*/ 752475 w 771525"/>
                <a:gd name="connsiteY38" fmla="*/ 195263 h 1197769"/>
                <a:gd name="connsiteX39" fmla="*/ 752475 w 771525"/>
                <a:gd name="connsiteY39" fmla="*/ 152400 h 1197769"/>
                <a:gd name="connsiteX40" fmla="*/ 719138 w 771525"/>
                <a:gd name="connsiteY40" fmla="*/ 119063 h 1197769"/>
                <a:gd name="connsiteX41" fmla="*/ 695325 w 771525"/>
                <a:gd name="connsiteY41" fmla="*/ 97632 h 1197769"/>
                <a:gd name="connsiteX42" fmla="*/ 671513 w 771525"/>
                <a:gd name="connsiteY42" fmla="*/ 85725 h 1197769"/>
                <a:gd name="connsiteX43" fmla="*/ 645319 w 771525"/>
                <a:gd name="connsiteY43" fmla="*/ 69057 h 1197769"/>
                <a:gd name="connsiteX44" fmla="*/ 642938 w 771525"/>
                <a:gd name="connsiteY44" fmla="*/ 0 h 1197769"/>
                <a:gd name="connsiteX45" fmla="*/ 609600 w 771525"/>
                <a:gd name="connsiteY45" fmla="*/ 33338 h 1197769"/>
                <a:gd name="connsiteX46" fmla="*/ 583407 w 771525"/>
                <a:gd name="connsiteY46" fmla="*/ 57150 h 1197769"/>
                <a:gd name="connsiteX47" fmla="*/ 564357 w 771525"/>
                <a:gd name="connsiteY47" fmla="*/ 52388 h 1197769"/>
                <a:gd name="connsiteX48" fmla="*/ 554832 w 771525"/>
                <a:gd name="connsiteY48" fmla="*/ 76200 h 1197769"/>
                <a:gd name="connsiteX49" fmla="*/ 509588 w 771525"/>
                <a:gd name="connsiteY49" fmla="*/ 109538 h 1197769"/>
                <a:gd name="connsiteX50" fmla="*/ 407194 w 771525"/>
                <a:gd name="connsiteY50" fmla="*/ 147638 h 1197769"/>
                <a:gd name="connsiteX51" fmla="*/ 381000 w 771525"/>
                <a:gd name="connsiteY51" fmla="*/ 185738 h 1197769"/>
                <a:gd name="connsiteX52" fmla="*/ 340519 w 771525"/>
                <a:gd name="connsiteY52" fmla="*/ 173832 h 1197769"/>
                <a:gd name="connsiteX53" fmla="*/ 245269 w 771525"/>
                <a:gd name="connsiteY53" fmla="*/ 178594 h 1197769"/>
                <a:gd name="connsiteX54" fmla="*/ 250032 w 771525"/>
                <a:gd name="connsiteY54" fmla="*/ 188119 h 1197769"/>
                <a:gd name="connsiteX55" fmla="*/ 309563 w 771525"/>
                <a:gd name="connsiteY55" fmla="*/ 238125 h 1197769"/>
                <a:gd name="connsiteX56" fmla="*/ 211932 w 771525"/>
                <a:gd name="connsiteY56" fmla="*/ 361950 h 1197769"/>
                <a:gd name="connsiteX57" fmla="*/ 173832 w 771525"/>
                <a:gd name="connsiteY57" fmla="*/ 352425 h 1197769"/>
                <a:gd name="connsiteX58" fmla="*/ 80963 w 771525"/>
                <a:gd name="connsiteY58" fmla="*/ 485775 h 1197769"/>
                <a:gd name="connsiteX59" fmla="*/ 97632 w 771525"/>
                <a:gd name="connsiteY59" fmla="*/ 497682 h 1197769"/>
                <a:gd name="connsiteX60" fmla="*/ 114300 w 771525"/>
                <a:gd name="connsiteY60" fmla="*/ 538163 h 1197769"/>
                <a:gd name="connsiteX61" fmla="*/ 92869 w 771525"/>
                <a:gd name="connsiteY61" fmla="*/ 600075 h 1197769"/>
                <a:gd name="connsiteX62" fmla="*/ 102394 w 771525"/>
                <a:gd name="connsiteY62" fmla="*/ 673894 h 1197769"/>
                <a:gd name="connsiteX63" fmla="*/ 73819 w 771525"/>
                <a:gd name="connsiteY63" fmla="*/ 711994 h 1197769"/>
                <a:gd name="connsiteX64" fmla="*/ 73819 w 771525"/>
                <a:gd name="connsiteY64" fmla="*/ 738188 h 1197769"/>
                <a:gd name="connsiteX65" fmla="*/ 61913 w 771525"/>
                <a:gd name="connsiteY65" fmla="*/ 766763 h 1197769"/>
                <a:gd name="connsiteX66" fmla="*/ 88107 w 771525"/>
                <a:gd name="connsiteY66" fmla="*/ 795338 h 1197769"/>
                <a:gd name="connsiteX67" fmla="*/ 135732 w 771525"/>
                <a:gd name="connsiteY67" fmla="*/ 883444 h 1197769"/>
                <a:gd name="connsiteX68" fmla="*/ 69057 w 771525"/>
                <a:gd name="connsiteY68" fmla="*/ 909638 h 1197769"/>
                <a:gd name="connsiteX69" fmla="*/ 45244 w 771525"/>
                <a:gd name="connsiteY69" fmla="*/ 962025 h 1197769"/>
                <a:gd name="connsiteX70" fmla="*/ 33338 w 771525"/>
                <a:gd name="connsiteY70" fmla="*/ 1016794 h 1197769"/>
                <a:gd name="connsiteX71" fmla="*/ 2382 w 771525"/>
                <a:gd name="connsiteY71" fmla="*/ 1007269 h 1197769"/>
                <a:gd name="connsiteX72" fmla="*/ 0 w 771525"/>
                <a:gd name="connsiteY72" fmla="*/ 1054894 h 1197769"/>
                <a:gd name="connsiteX73" fmla="*/ 16669 w 771525"/>
                <a:gd name="connsiteY73" fmla="*/ 1064419 h 1197769"/>
                <a:gd name="connsiteX74" fmla="*/ 57150 w 771525"/>
                <a:gd name="connsiteY74" fmla="*/ 1073944 h 1197769"/>
                <a:gd name="connsiteX75" fmla="*/ 85725 w 771525"/>
                <a:gd name="connsiteY75" fmla="*/ 1088232 h 1197769"/>
                <a:gd name="connsiteX76" fmla="*/ 102394 w 771525"/>
                <a:gd name="connsiteY76" fmla="*/ 1143000 h 1197769"/>
                <a:gd name="connsiteX77" fmla="*/ 130969 w 771525"/>
                <a:gd name="connsiteY77" fmla="*/ 1169194 h 1197769"/>
                <a:gd name="connsiteX78" fmla="*/ 157163 w 771525"/>
                <a:gd name="connsiteY78" fmla="*/ 1197769 h 1197769"/>
                <a:gd name="connsiteX79" fmla="*/ 192882 w 771525"/>
                <a:gd name="connsiteY79" fmla="*/ 1190626 h 1197769"/>
                <a:gd name="connsiteX80" fmla="*/ 202407 w 771525"/>
                <a:gd name="connsiteY80" fmla="*/ 1164432 h 1197769"/>
                <a:gd name="connsiteX0" fmla="*/ 202407 w 771525"/>
                <a:gd name="connsiteY0" fmla="*/ 1164432 h 1197769"/>
                <a:gd name="connsiteX1" fmla="*/ 221457 w 771525"/>
                <a:gd name="connsiteY1" fmla="*/ 1097757 h 1197769"/>
                <a:gd name="connsiteX2" fmla="*/ 238125 w 771525"/>
                <a:gd name="connsiteY2" fmla="*/ 1076325 h 1197769"/>
                <a:gd name="connsiteX3" fmla="*/ 247650 w 771525"/>
                <a:gd name="connsiteY3" fmla="*/ 1045369 h 1197769"/>
                <a:gd name="connsiteX4" fmla="*/ 283369 w 771525"/>
                <a:gd name="connsiteY4" fmla="*/ 1019175 h 1197769"/>
                <a:gd name="connsiteX5" fmla="*/ 319088 w 771525"/>
                <a:gd name="connsiteY5" fmla="*/ 995363 h 1197769"/>
                <a:gd name="connsiteX6" fmla="*/ 350044 w 771525"/>
                <a:gd name="connsiteY6" fmla="*/ 962025 h 1197769"/>
                <a:gd name="connsiteX7" fmla="*/ 354807 w 771525"/>
                <a:gd name="connsiteY7" fmla="*/ 933450 h 1197769"/>
                <a:gd name="connsiteX8" fmla="*/ 321469 w 771525"/>
                <a:gd name="connsiteY8" fmla="*/ 888207 h 1197769"/>
                <a:gd name="connsiteX9" fmla="*/ 323850 w 771525"/>
                <a:gd name="connsiteY9" fmla="*/ 819150 h 1197769"/>
                <a:gd name="connsiteX10" fmla="*/ 280988 w 771525"/>
                <a:gd name="connsiteY10" fmla="*/ 769144 h 1197769"/>
                <a:gd name="connsiteX11" fmla="*/ 288132 w 771525"/>
                <a:gd name="connsiteY11" fmla="*/ 731044 h 1197769"/>
                <a:gd name="connsiteX12" fmla="*/ 316707 w 771525"/>
                <a:gd name="connsiteY12" fmla="*/ 714375 h 1197769"/>
                <a:gd name="connsiteX13" fmla="*/ 330994 w 771525"/>
                <a:gd name="connsiteY13" fmla="*/ 740569 h 1197769"/>
                <a:gd name="connsiteX14" fmla="*/ 354807 w 771525"/>
                <a:gd name="connsiteY14" fmla="*/ 759619 h 1197769"/>
                <a:gd name="connsiteX15" fmla="*/ 369094 w 771525"/>
                <a:gd name="connsiteY15" fmla="*/ 778669 h 1197769"/>
                <a:gd name="connsiteX16" fmla="*/ 378619 w 771525"/>
                <a:gd name="connsiteY16" fmla="*/ 814388 h 1197769"/>
                <a:gd name="connsiteX17" fmla="*/ 395288 w 771525"/>
                <a:gd name="connsiteY17" fmla="*/ 831057 h 1197769"/>
                <a:gd name="connsiteX18" fmla="*/ 409575 w 771525"/>
                <a:gd name="connsiteY18" fmla="*/ 826294 h 1197769"/>
                <a:gd name="connsiteX19" fmla="*/ 426244 w 771525"/>
                <a:gd name="connsiteY19" fmla="*/ 819150 h 1197769"/>
                <a:gd name="connsiteX20" fmla="*/ 423863 w 771525"/>
                <a:gd name="connsiteY20" fmla="*/ 709613 h 1197769"/>
                <a:gd name="connsiteX21" fmla="*/ 409575 w 771525"/>
                <a:gd name="connsiteY21" fmla="*/ 673894 h 1197769"/>
                <a:gd name="connsiteX22" fmla="*/ 411957 w 771525"/>
                <a:gd name="connsiteY22" fmla="*/ 647700 h 1197769"/>
                <a:gd name="connsiteX23" fmla="*/ 426244 w 771525"/>
                <a:gd name="connsiteY23" fmla="*/ 600075 h 1197769"/>
                <a:gd name="connsiteX24" fmla="*/ 473869 w 771525"/>
                <a:gd name="connsiteY24" fmla="*/ 600075 h 1197769"/>
                <a:gd name="connsiteX25" fmla="*/ 488157 w 771525"/>
                <a:gd name="connsiteY25" fmla="*/ 585788 h 1197769"/>
                <a:gd name="connsiteX26" fmla="*/ 509588 w 771525"/>
                <a:gd name="connsiteY26" fmla="*/ 535782 h 1197769"/>
                <a:gd name="connsiteX27" fmla="*/ 604838 w 771525"/>
                <a:gd name="connsiteY27" fmla="*/ 490538 h 1197769"/>
                <a:gd name="connsiteX28" fmla="*/ 628650 w 771525"/>
                <a:gd name="connsiteY28" fmla="*/ 481013 h 1197769"/>
                <a:gd name="connsiteX29" fmla="*/ 638175 w 771525"/>
                <a:gd name="connsiteY29" fmla="*/ 435769 h 1197769"/>
                <a:gd name="connsiteX30" fmla="*/ 638175 w 771525"/>
                <a:gd name="connsiteY30" fmla="*/ 395288 h 1197769"/>
                <a:gd name="connsiteX31" fmla="*/ 640557 w 771525"/>
                <a:gd name="connsiteY31" fmla="*/ 373857 h 1197769"/>
                <a:gd name="connsiteX32" fmla="*/ 652463 w 771525"/>
                <a:gd name="connsiteY32" fmla="*/ 366713 h 1197769"/>
                <a:gd name="connsiteX33" fmla="*/ 742950 w 771525"/>
                <a:gd name="connsiteY33" fmla="*/ 330994 h 1197769"/>
                <a:gd name="connsiteX34" fmla="*/ 766763 w 771525"/>
                <a:gd name="connsiteY34" fmla="*/ 314325 h 1197769"/>
                <a:gd name="connsiteX35" fmla="*/ 754857 w 771525"/>
                <a:gd name="connsiteY35" fmla="*/ 285750 h 1197769"/>
                <a:gd name="connsiteX36" fmla="*/ 742950 w 771525"/>
                <a:gd name="connsiteY36" fmla="*/ 254794 h 1197769"/>
                <a:gd name="connsiteX37" fmla="*/ 771525 w 771525"/>
                <a:gd name="connsiteY37" fmla="*/ 226219 h 1197769"/>
                <a:gd name="connsiteX38" fmla="*/ 752475 w 771525"/>
                <a:gd name="connsiteY38" fmla="*/ 195263 h 1197769"/>
                <a:gd name="connsiteX39" fmla="*/ 752475 w 771525"/>
                <a:gd name="connsiteY39" fmla="*/ 152400 h 1197769"/>
                <a:gd name="connsiteX40" fmla="*/ 719138 w 771525"/>
                <a:gd name="connsiteY40" fmla="*/ 119063 h 1197769"/>
                <a:gd name="connsiteX41" fmla="*/ 707231 w 771525"/>
                <a:gd name="connsiteY41" fmla="*/ 92870 h 1197769"/>
                <a:gd name="connsiteX42" fmla="*/ 671513 w 771525"/>
                <a:gd name="connsiteY42" fmla="*/ 85725 h 1197769"/>
                <a:gd name="connsiteX43" fmla="*/ 645319 w 771525"/>
                <a:gd name="connsiteY43" fmla="*/ 69057 h 1197769"/>
                <a:gd name="connsiteX44" fmla="*/ 642938 w 771525"/>
                <a:gd name="connsiteY44" fmla="*/ 0 h 1197769"/>
                <a:gd name="connsiteX45" fmla="*/ 609600 w 771525"/>
                <a:gd name="connsiteY45" fmla="*/ 33338 h 1197769"/>
                <a:gd name="connsiteX46" fmla="*/ 583407 w 771525"/>
                <a:gd name="connsiteY46" fmla="*/ 57150 h 1197769"/>
                <a:gd name="connsiteX47" fmla="*/ 564357 w 771525"/>
                <a:gd name="connsiteY47" fmla="*/ 52388 h 1197769"/>
                <a:gd name="connsiteX48" fmla="*/ 554832 w 771525"/>
                <a:gd name="connsiteY48" fmla="*/ 76200 h 1197769"/>
                <a:gd name="connsiteX49" fmla="*/ 509588 w 771525"/>
                <a:gd name="connsiteY49" fmla="*/ 109538 h 1197769"/>
                <a:gd name="connsiteX50" fmla="*/ 407194 w 771525"/>
                <a:gd name="connsiteY50" fmla="*/ 147638 h 1197769"/>
                <a:gd name="connsiteX51" fmla="*/ 381000 w 771525"/>
                <a:gd name="connsiteY51" fmla="*/ 185738 h 1197769"/>
                <a:gd name="connsiteX52" fmla="*/ 340519 w 771525"/>
                <a:gd name="connsiteY52" fmla="*/ 173832 h 1197769"/>
                <a:gd name="connsiteX53" fmla="*/ 245269 w 771525"/>
                <a:gd name="connsiteY53" fmla="*/ 178594 h 1197769"/>
                <a:gd name="connsiteX54" fmla="*/ 250032 w 771525"/>
                <a:gd name="connsiteY54" fmla="*/ 188119 h 1197769"/>
                <a:gd name="connsiteX55" fmla="*/ 309563 w 771525"/>
                <a:gd name="connsiteY55" fmla="*/ 238125 h 1197769"/>
                <a:gd name="connsiteX56" fmla="*/ 211932 w 771525"/>
                <a:gd name="connsiteY56" fmla="*/ 361950 h 1197769"/>
                <a:gd name="connsiteX57" fmla="*/ 173832 w 771525"/>
                <a:gd name="connsiteY57" fmla="*/ 352425 h 1197769"/>
                <a:gd name="connsiteX58" fmla="*/ 80963 w 771525"/>
                <a:gd name="connsiteY58" fmla="*/ 485775 h 1197769"/>
                <a:gd name="connsiteX59" fmla="*/ 97632 w 771525"/>
                <a:gd name="connsiteY59" fmla="*/ 497682 h 1197769"/>
                <a:gd name="connsiteX60" fmla="*/ 114300 w 771525"/>
                <a:gd name="connsiteY60" fmla="*/ 538163 h 1197769"/>
                <a:gd name="connsiteX61" fmla="*/ 92869 w 771525"/>
                <a:gd name="connsiteY61" fmla="*/ 600075 h 1197769"/>
                <a:gd name="connsiteX62" fmla="*/ 102394 w 771525"/>
                <a:gd name="connsiteY62" fmla="*/ 673894 h 1197769"/>
                <a:gd name="connsiteX63" fmla="*/ 73819 w 771525"/>
                <a:gd name="connsiteY63" fmla="*/ 711994 h 1197769"/>
                <a:gd name="connsiteX64" fmla="*/ 73819 w 771525"/>
                <a:gd name="connsiteY64" fmla="*/ 738188 h 1197769"/>
                <a:gd name="connsiteX65" fmla="*/ 61913 w 771525"/>
                <a:gd name="connsiteY65" fmla="*/ 766763 h 1197769"/>
                <a:gd name="connsiteX66" fmla="*/ 88107 w 771525"/>
                <a:gd name="connsiteY66" fmla="*/ 795338 h 1197769"/>
                <a:gd name="connsiteX67" fmla="*/ 135732 w 771525"/>
                <a:gd name="connsiteY67" fmla="*/ 883444 h 1197769"/>
                <a:gd name="connsiteX68" fmla="*/ 69057 w 771525"/>
                <a:gd name="connsiteY68" fmla="*/ 909638 h 1197769"/>
                <a:gd name="connsiteX69" fmla="*/ 45244 w 771525"/>
                <a:gd name="connsiteY69" fmla="*/ 962025 h 1197769"/>
                <a:gd name="connsiteX70" fmla="*/ 33338 w 771525"/>
                <a:gd name="connsiteY70" fmla="*/ 1016794 h 1197769"/>
                <a:gd name="connsiteX71" fmla="*/ 2382 w 771525"/>
                <a:gd name="connsiteY71" fmla="*/ 1007269 h 1197769"/>
                <a:gd name="connsiteX72" fmla="*/ 0 w 771525"/>
                <a:gd name="connsiteY72" fmla="*/ 1054894 h 1197769"/>
                <a:gd name="connsiteX73" fmla="*/ 16669 w 771525"/>
                <a:gd name="connsiteY73" fmla="*/ 1064419 h 1197769"/>
                <a:gd name="connsiteX74" fmla="*/ 57150 w 771525"/>
                <a:gd name="connsiteY74" fmla="*/ 1073944 h 1197769"/>
                <a:gd name="connsiteX75" fmla="*/ 85725 w 771525"/>
                <a:gd name="connsiteY75" fmla="*/ 1088232 h 1197769"/>
                <a:gd name="connsiteX76" fmla="*/ 102394 w 771525"/>
                <a:gd name="connsiteY76" fmla="*/ 1143000 h 1197769"/>
                <a:gd name="connsiteX77" fmla="*/ 130969 w 771525"/>
                <a:gd name="connsiteY77" fmla="*/ 1169194 h 1197769"/>
                <a:gd name="connsiteX78" fmla="*/ 157163 w 771525"/>
                <a:gd name="connsiteY78" fmla="*/ 1197769 h 1197769"/>
                <a:gd name="connsiteX79" fmla="*/ 192882 w 771525"/>
                <a:gd name="connsiteY79" fmla="*/ 1190626 h 1197769"/>
                <a:gd name="connsiteX80" fmla="*/ 202407 w 771525"/>
                <a:gd name="connsiteY80" fmla="*/ 1164432 h 1197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771525" h="1197769">
                  <a:moveTo>
                    <a:pt x="202407" y="1164432"/>
                  </a:moveTo>
                  <a:lnTo>
                    <a:pt x="221457" y="1097757"/>
                  </a:lnTo>
                  <a:lnTo>
                    <a:pt x="238125" y="1076325"/>
                  </a:lnTo>
                  <a:lnTo>
                    <a:pt x="247650" y="1045369"/>
                  </a:lnTo>
                  <a:lnTo>
                    <a:pt x="283369" y="1019175"/>
                  </a:lnTo>
                  <a:lnTo>
                    <a:pt x="319088" y="995363"/>
                  </a:lnTo>
                  <a:lnTo>
                    <a:pt x="350044" y="962025"/>
                  </a:lnTo>
                  <a:lnTo>
                    <a:pt x="354807" y="933450"/>
                  </a:lnTo>
                  <a:lnTo>
                    <a:pt x="321469" y="888207"/>
                  </a:lnTo>
                  <a:cubicBezTo>
                    <a:pt x="322263" y="865188"/>
                    <a:pt x="323056" y="842169"/>
                    <a:pt x="323850" y="819150"/>
                  </a:cubicBezTo>
                  <a:lnTo>
                    <a:pt x="280988" y="769144"/>
                  </a:lnTo>
                  <a:lnTo>
                    <a:pt x="288132" y="731044"/>
                  </a:lnTo>
                  <a:lnTo>
                    <a:pt x="316707" y="714375"/>
                  </a:lnTo>
                  <a:lnTo>
                    <a:pt x="330994" y="740569"/>
                  </a:lnTo>
                  <a:lnTo>
                    <a:pt x="354807" y="759619"/>
                  </a:lnTo>
                  <a:lnTo>
                    <a:pt x="369094" y="778669"/>
                  </a:lnTo>
                  <a:lnTo>
                    <a:pt x="378619" y="814388"/>
                  </a:lnTo>
                  <a:lnTo>
                    <a:pt x="395288" y="831057"/>
                  </a:lnTo>
                  <a:lnTo>
                    <a:pt x="409575" y="826294"/>
                  </a:lnTo>
                  <a:lnTo>
                    <a:pt x="426244" y="819150"/>
                  </a:lnTo>
                  <a:cubicBezTo>
                    <a:pt x="425450" y="782638"/>
                    <a:pt x="424657" y="746125"/>
                    <a:pt x="423863" y="709613"/>
                  </a:cubicBezTo>
                  <a:lnTo>
                    <a:pt x="409575" y="673894"/>
                  </a:lnTo>
                  <a:lnTo>
                    <a:pt x="411957" y="647700"/>
                  </a:lnTo>
                  <a:lnTo>
                    <a:pt x="426244" y="600075"/>
                  </a:lnTo>
                  <a:lnTo>
                    <a:pt x="473869" y="600075"/>
                  </a:lnTo>
                  <a:lnTo>
                    <a:pt x="488157" y="585788"/>
                  </a:lnTo>
                  <a:lnTo>
                    <a:pt x="509588" y="535782"/>
                  </a:lnTo>
                  <a:lnTo>
                    <a:pt x="604838" y="490538"/>
                  </a:lnTo>
                  <a:lnTo>
                    <a:pt x="628650" y="481013"/>
                  </a:lnTo>
                  <a:lnTo>
                    <a:pt x="638175" y="435769"/>
                  </a:lnTo>
                  <a:lnTo>
                    <a:pt x="638175" y="395288"/>
                  </a:lnTo>
                  <a:lnTo>
                    <a:pt x="640557" y="373857"/>
                  </a:lnTo>
                  <a:lnTo>
                    <a:pt x="652463" y="366713"/>
                  </a:lnTo>
                  <a:lnTo>
                    <a:pt x="742950" y="330994"/>
                  </a:lnTo>
                  <a:lnTo>
                    <a:pt x="766763" y="314325"/>
                  </a:lnTo>
                  <a:lnTo>
                    <a:pt x="754857" y="285750"/>
                  </a:lnTo>
                  <a:lnTo>
                    <a:pt x="742950" y="254794"/>
                  </a:lnTo>
                  <a:lnTo>
                    <a:pt x="771525" y="226219"/>
                  </a:lnTo>
                  <a:lnTo>
                    <a:pt x="752475" y="195263"/>
                  </a:lnTo>
                  <a:lnTo>
                    <a:pt x="752475" y="152400"/>
                  </a:lnTo>
                  <a:lnTo>
                    <a:pt x="719138" y="119063"/>
                  </a:lnTo>
                  <a:lnTo>
                    <a:pt x="707231" y="92870"/>
                  </a:lnTo>
                  <a:lnTo>
                    <a:pt x="671513" y="85725"/>
                  </a:lnTo>
                  <a:lnTo>
                    <a:pt x="645319" y="69057"/>
                  </a:lnTo>
                  <a:cubicBezTo>
                    <a:pt x="644525" y="46038"/>
                    <a:pt x="643732" y="23019"/>
                    <a:pt x="642938" y="0"/>
                  </a:cubicBezTo>
                  <a:lnTo>
                    <a:pt x="609600" y="33338"/>
                  </a:lnTo>
                  <a:lnTo>
                    <a:pt x="583407" y="57150"/>
                  </a:lnTo>
                  <a:lnTo>
                    <a:pt x="564357" y="52388"/>
                  </a:lnTo>
                  <a:lnTo>
                    <a:pt x="554832" y="76200"/>
                  </a:lnTo>
                  <a:lnTo>
                    <a:pt x="509588" y="109538"/>
                  </a:lnTo>
                  <a:lnTo>
                    <a:pt x="407194" y="147638"/>
                  </a:lnTo>
                  <a:lnTo>
                    <a:pt x="381000" y="185738"/>
                  </a:lnTo>
                  <a:lnTo>
                    <a:pt x="340519" y="173832"/>
                  </a:lnTo>
                  <a:lnTo>
                    <a:pt x="245269" y="178594"/>
                  </a:lnTo>
                  <a:lnTo>
                    <a:pt x="250032" y="188119"/>
                  </a:lnTo>
                  <a:lnTo>
                    <a:pt x="309563" y="238125"/>
                  </a:lnTo>
                  <a:lnTo>
                    <a:pt x="211932" y="361950"/>
                  </a:lnTo>
                  <a:lnTo>
                    <a:pt x="173832" y="352425"/>
                  </a:lnTo>
                  <a:lnTo>
                    <a:pt x="80963" y="485775"/>
                  </a:lnTo>
                  <a:lnTo>
                    <a:pt x="97632" y="497682"/>
                  </a:lnTo>
                  <a:lnTo>
                    <a:pt x="114300" y="538163"/>
                  </a:lnTo>
                  <a:lnTo>
                    <a:pt x="92869" y="600075"/>
                  </a:lnTo>
                  <a:lnTo>
                    <a:pt x="102394" y="673894"/>
                  </a:lnTo>
                  <a:lnTo>
                    <a:pt x="73819" y="711994"/>
                  </a:lnTo>
                  <a:lnTo>
                    <a:pt x="73819" y="738188"/>
                  </a:lnTo>
                  <a:lnTo>
                    <a:pt x="61913" y="766763"/>
                  </a:lnTo>
                  <a:lnTo>
                    <a:pt x="88107" y="795338"/>
                  </a:lnTo>
                  <a:lnTo>
                    <a:pt x="135732" y="883444"/>
                  </a:lnTo>
                  <a:lnTo>
                    <a:pt x="69057" y="909638"/>
                  </a:lnTo>
                  <a:lnTo>
                    <a:pt x="45244" y="962025"/>
                  </a:lnTo>
                  <a:lnTo>
                    <a:pt x="33338" y="1016794"/>
                  </a:lnTo>
                  <a:lnTo>
                    <a:pt x="2382" y="1007269"/>
                  </a:lnTo>
                  <a:lnTo>
                    <a:pt x="0" y="1054894"/>
                  </a:lnTo>
                  <a:lnTo>
                    <a:pt x="16669" y="1064419"/>
                  </a:lnTo>
                  <a:lnTo>
                    <a:pt x="57150" y="1073944"/>
                  </a:lnTo>
                  <a:lnTo>
                    <a:pt x="85725" y="1088232"/>
                  </a:lnTo>
                  <a:lnTo>
                    <a:pt x="102394" y="1143000"/>
                  </a:lnTo>
                  <a:lnTo>
                    <a:pt x="130969" y="1169194"/>
                  </a:lnTo>
                  <a:lnTo>
                    <a:pt x="157163" y="1197769"/>
                  </a:lnTo>
                  <a:lnTo>
                    <a:pt x="192882" y="1190626"/>
                  </a:lnTo>
                  <a:lnTo>
                    <a:pt x="202407" y="1164432"/>
                  </a:lnTo>
                  <a:close/>
                </a:path>
              </a:pathLst>
            </a:custGeom>
            <a:solidFill>
              <a:schemeClr val="bg1"/>
            </a:solidFill>
            <a:ln w="317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a:lstStyle/>
            <a:p>
              <a:pPr>
                <a:defRPr/>
              </a:pPr>
              <a:endParaRPr lang="en-GB"/>
            </a:p>
          </p:txBody>
        </p:sp>
        <p:sp>
          <p:nvSpPr>
            <p:cNvPr id="56" name="Freeform 55"/>
            <p:cNvSpPr/>
            <p:nvPr/>
          </p:nvSpPr>
          <p:spPr>
            <a:xfrm>
              <a:off x="4975622" y="3440659"/>
              <a:ext cx="1138238" cy="862012"/>
            </a:xfrm>
            <a:custGeom>
              <a:avLst/>
              <a:gdLst>
                <a:gd name="connsiteX0" fmla="*/ 631031 w 1114425"/>
                <a:gd name="connsiteY0" fmla="*/ 650081 h 862012"/>
                <a:gd name="connsiteX1" fmla="*/ 678656 w 1114425"/>
                <a:gd name="connsiteY1" fmla="*/ 585787 h 862012"/>
                <a:gd name="connsiteX2" fmla="*/ 702468 w 1114425"/>
                <a:gd name="connsiteY2" fmla="*/ 573881 h 862012"/>
                <a:gd name="connsiteX3" fmla="*/ 733425 w 1114425"/>
                <a:gd name="connsiteY3" fmla="*/ 573881 h 862012"/>
                <a:gd name="connsiteX4" fmla="*/ 778668 w 1114425"/>
                <a:gd name="connsiteY4" fmla="*/ 554831 h 862012"/>
                <a:gd name="connsiteX5" fmla="*/ 833437 w 1114425"/>
                <a:gd name="connsiteY5" fmla="*/ 528637 h 862012"/>
                <a:gd name="connsiteX6" fmla="*/ 883443 w 1114425"/>
                <a:gd name="connsiteY6" fmla="*/ 495300 h 862012"/>
                <a:gd name="connsiteX7" fmla="*/ 900112 w 1114425"/>
                <a:gd name="connsiteY7" fmla="*/ 490537 h 862012"/>
                <a:gd name="connsiteX8" fmla="*/ 919162 w 1114425"/>
                <a:gd name="connsiteY8" fmla="*/ 485775 h 862012"/>
                <a:gd name="connsiteX9" fmla="*/ 916781 w 1114425"/>
                <a:gd name="connsiteY9" fmla="*/ 447675 h 862012"/>
                <a:gd name="connsiteX10" fmla="*/ 954881 w 1114425"/>
                <a:gd name="connsiteY10" fmla="*/ 428625 h 862012"/>
                <a:gd name="connsiteX11" fmla="*/ 985837 w 1114425"/>
                <a:gd name="connsiteY11" fmla="*/ 407194 h 862012"/>
                <a:gd name="connsiteX12" fmla="*/ 1000125 w 1114425"/>
                <a:gd name="connsiteY12" fmla="*/ 347662 h 862012"/>
                <a:gd name="connsiteX13" fmla="*/ 981075 w 1114425"/>
                <a:gd name="connsiteY13" fmla="*/ 316706 h 862012"/>
                <a:gd name="connsiteX14" fmla="*/ 997743 w 1114425"/>
                <a:gd name="connsiteY14" fmla="*/ 271462 h 862012"/>
                <a:gd name="connsiteX15" fmla="*/ 1033462 w 1114425"/>
                <a:gd name="connsiteY15" fmla="*/ 233362 h 862012"/>
                <a:gd name="connsiteX16" fmla="*/ 1097756 w 1114425"/>
                <a:gd name="connsiteY16" fmla="*/ 209550 h 862012"/>
                <a:gd name="connsiteX17" fmla="*/ 1114425 w 1114425"/>
                <a:gd name="connsiteY17" fmla="*/ 190500 h 862012"/>
                <a:gd name="connsiteX18" fmla="*/ 1100137 w 1114425"/>
                <a:gd name="connsiteY18" fmla="*/ 161925 h 862012"/>
                <a:gd name="connsiteX19" fmla="*/ 1052512 w 1114425"/>
                <a:gd name="connsiteY19" fmla="*/ 107156 h 862012"/>
                <a:gd name="connsiteX20" fmla="*/ 1009650 w 1114425"/>
                <a:gd name="connsiteY20" fmla="*/ 73819 h 862012"/>
                <a:gd name="connsiteX21" fmla="*/ 995362 w 1114425"/>
                <a:gd name="connsiteY21" fmla="*/ 47625 h 862012"/>
                <a:gd name="connsiteX22" fmla="*/ 983456 w 1114425"/>
                <a:gd name="connsiteY22" fmla="*/ 64294 h 862012"/>
                <a:gd name="connsiteX23" fmla="*/ 966787 w 1114425"/>
                <a:gd name="connsiteY23" fmla="*/ 69056 h 862012"/>
                <a:gd name="connsiteX24" fmla="*/ 935831 w 1114425"/>
                <a:gd name="connsiteY24" fmla="*/ 59531 h 862012"/>
                <a:gd name="connsiteX25" fmla="*/ 904875 w 1114425"/>
                <a:gd name="connsiteY25" fmla="*/ 23812 h 862012"/>
                <a:gd name="connsiteX26" fmla="*/ 888206 w 1114425"/>
                <a:gd name="connsiteY26" fmla="*/ 0 h 862012"/>
                <a:gd name="connsiteX27" fmla="*/ 869156 w 1114425"/>
                <a:gd name="connsiteY27" fmla="*/ 28575 h 862012"/>
                <a:gd name="connsiteX28" fmla="*/ 871537 w 1114425"/>
                <a:gd name="connsiteY28" fmla="*/ 69056 h 862012"/>
                <a:gd name="connsiteX29" fmla="*/ 847725 w 1114425"/>
                <a:gd name="connsiteY29" fmla="*/ 100012 h 862012"/>
                <a:gd name="connsiteX30" fmla="*/ 826293 w 1114425"/>
                <a:gd name="connsiteY30" fmla="*/ 97631 h 862012"/>
                <a:gd name="connsiteX31" fmla="*/ 800100 w 1114425"/>
                <a:gd name="connsiteY31" fmla="*/ 71437 h 862012"/>
                <a:gd name="connsiteX32" fmla="*/ 783431 w 1114425"/>
                <a:gd name="connsiteY32" fmla="*/ 57150 h 862012"/>
                <a:gd name="connsiteX33" fmla="*/ 764381 w 1114425"/>
                <a:gd name="connsiteY33" fmla="*/ 61912 h 862012"/>
                <a:gd name="connsiteX34" fmla="*/ 747712 w 1114425"/>
                <a:gd name="connsiteY34" fmla="*/ 92869 h 862012"/>
                <a:gd name="connsiteX35" fmla="*/ 742950 w 1114425"/>
                <a:gd name="connsiteY35" fmla="*/ 107156 h 862012"/>
                <a:gd name="connsiteX36" fmla="*/ 714375 w 1114425"/>
                <a:gd name="connsiteY36" fmla="*/ 107156 h 862012"/>
                <a:gd name="connsiteX37" fmla="*/ 700087 w 1114425"/>
                <a:gd name="connsiteY37" fmla="*/ 95250 h 862012"/>
                <a:gd name="connsiteX38" fmla="*/ 700087 w 1114425"/>
                <a:gd name="connsiteY38" fmla="*/ 66675 h 862012"/>
                <a:gd name="connsiteX39" fmla="*/ 704850 w 1114425"/>
                <a:gd name="connsiteY39" fmla="*/ 38100 h 862012"/>
                <a:gd name="connsiteX40" fmla="*/ 692943 w 1114425"/>
                <a:gd name="connsiteY40" fmla="*/ 23812 h 862012"/>
                <a:gd name="connsiteX41" fmla="*/ 669131 w 1114425"/>
                <a:gd name="connsiteY41" fmla="*/ 26194 h 862012"/>
                <a:gd name="connsiteX42" fmla="*/ 640556 w 1114425"/>
                <a:gd name="connsiteY42" fmla="*/ 19050 h 862012"/>
                <a:gd name="connsiteX43" fmla="*/ 604837 w 1114425"/>
                <a:gd name="connsiteY43" fmla="*/ 4762 h 862012"/>
                <a:gd name="connsiteX44" fmla="*/ 569118 w 1114425"/>
                <a:gd name="connsiteY44" fmla="*/ 4762 h 862012"/>
                <a:gd name="connsiteX45" fmla="*/ 557212 w 1114425"/>
                <a:gd name="connsiteY45" fmla="*/ 11906 h 862012"/>
                <a:gd name="connsiteX46" fmla="*/ 438150 w 1114425"/>
                <a:gd name="connsiteY46" fmla="*/ 69056 h 862012"/>
                <a:gd name="connsiteX47" fmla="*/ 421481 w 1114425"/>
                <a:gd name="connsiteY47" fmla="*/ 169069 h 862012"/>
                <a:gd name="connsiteX48" fmla="*/ 304800 w 1114425"/>
                <a:gd name="connsiteY48" fmla="*/ 228600 h 862012"/>
                <a:gd name="connsiteX49" fmla="*/ 276225 w 1114425"/>
                <a:gd name="connsiteY49" fmla="*/ 290512 h 862012"/>
                <a:gd name="connsiteX50" fmla="*/ 228600 w 1114425"/>
                <a:gd name="connsiteY50" fmla="*/ 285750 h 862012"/>
                <a:gd name="connsiteX51" fmla="*/ 211931 w 1114425"/>
                <a:gd name="connsiteY51" fmla="*/ 357187 h 862012"/>
                <a:gd name="connsiteX52" fmla="*/ 207168 w 1114425"/>
                <a:gd name="connsiteY52" fmla="*/ 369094 h 862012"/>
                <a:gd name="connsiteX53" fmla="*/ 223837 w 1114425"/>
                <a:gd name="connsiteY53" fmla="*/ 404812 h 862012"/>
                <a:gd name="connsiteX54" fmla="*/ 219075 w 1114425"/>
                <a:gd name="connsiteY54" fmla="*/ 511969 h 862012"/>
                <a:gd name="connsiteX55" fmla="*/ 195262 w 1114425"/>
                <a:gd name="connsiteY55" fmla="*/ 521494 h 862012"/>
                <a:gd name="connsiteX56" fmla="*/ 180975 w 1114425"/>
                <a:gd name="connsiteY56" fmla="*/ 502444 h 862012"/>
                <a:gd name="connsiteX57" fmla="*/ 161925 w 1114425"/>
                <a:gd name="connsiteY57" fmla="*/ 457200 h 862012"/>
                <a:gd name="connsiteX58" fmla="*/ 128587 w 1114425"/>
                <a:gd name="connsiteY58" fmla="*/ 433387 h 862012"/>
                <a:gd name="connsiteX59" fmla="*/ 116681 w 1114425"/>
                <a:gd name="connsiteY59" fmla="*/ 409575 h 862012"/>
                <a:gd name="connsiteX60" fmla="*/ 83343 w 1114425"/>
                <a:gd name="connsiteY60" fmla="*/ 421481 h 862012"/>
                <a:gd name="connsiteX61" fmla="*/ 78581 w 1114425"/>
                <a:gd name="connsiteY61" fmla="*/ 466725 h 862012"/>
                <a:gd name="connsiteX62" fmla="*/ 116681 w 1114425"/>
                <a:gd name="connsiteY62" fmla="*/ 514350 h 862012"/>
                <a:gd name="connsiteX63" fmla="*/ 123825 w 1114425"/>
                <a:gd name="connsiteY63" fmla="*/ 583406 h 862012"/>
                <a:gd name="connsiteX64" fmla="*/ 152400 w 1114425"/>
                <a:gd name="connsiteY64" fmla="*/ 631031 h 862012"/>
                <a:gd name="connsiteX65" fmla="*/ 142875 w 1114425"/>
                <a:gd name="connsiteY65" fmla="*/ 657225 h 862012"/>
                <a:gd name="connsiteX66" fmla="*/ 107156 w 1114425"/>
                <a:gd name="connsiteY66" fmla="*/ 697706 h 862012"/>
                <a:gd name="connsiteX67" fmla="*/ 42862 w 1114425"/>
                <a:gd name="connsiteY67" fmla="*/ 735806 h 862012"/>
                <a:gd name="connsiteX68" fmla="*/ 35718 w 1114425"/>
                <a:gd name="connsiteY68" fmla="*/ 769144 h 862012"/>
                <a:gd name="connsiteX69" fmla="*/ 19050 w 1114425"/>
                <a:gd name="connsiteY69" fmla="*/ 795337 h 862012"/>
                <a:gd name="connsiteX70" fmla="*/ 0 w 1114425"/>
                <a:gd name="connsiteY70" fmla="*/ 859631 h 862012"/>
                <a:gd name="connsiteX71" fmla="*/ 19050 w 1114425"/>
                <a:gd name="connsiteY71" fmla="*/ 862012 h 862012"/>
                <a:gd name="connsiteX72" fmla="*/ 154781 w 1114425"/>
                <a:gd name="connsiteY72" fmla="*/ 828675 h 862012"/>
                <a:gd name="connsiteX73" fmla="*/ 171450 w 1114425"/>
                <a:gd name="connsiteY73" fmla="*/ 757237 h 862012"/>
                <a:gd name="connsiteX74" fmla="*/ 259556 w 1114425"/>
                <a:gd name="connsiteY74" fmla="*/ 800100 h 862012"/>
                <a:gd name="connsiteX75" fmla="*/ 297656 w 1114425"/>
                <a:gd name="connsiteY75" fmla="*/ 700087 h 862012"/>
                <a:gd name="connsiteX76" fmla="*/ 385762 w 1114425"/>
                <a:gd name="connsiteY76" fmla="*/ 666750 h 862012"/>
                <a:gd name="connsiteX77" fmla="*/ 435768 w 1114425"/>
                <a:gd name="connsiteY77" fmla="*/ 681037 h 862012"/>
                <a:gd name="connsiteX78" fmla="*/ 473868 w 1114425"/>
                <a:gd name="connsiteY78" fmla="*/ 702469 h 862012"/>
                <a:gd name="connsiteX79" fmla="*/ 500062 w 1114425"/>
                <a:gd name="connsiteY79" fmla="*/ 707231 h 862012"/>
                <a:gd name="connsiteX80" fmla="*/ 516731 w 1114425"/>
                <a:gd name="connsiteY80" fmla="*/ 702469 h 862012"/>
                <a:gd name="connsiteX81" fmla="*/ 545306 w 1114425"/>
                <a:gd name="connsiteY81" fmla="*/ 671512 h 862012"/>
                <a:gd name="connsiteX82" fmla="*/ 576262 w 1114425"/>
                <a:gd name="connsiteY82" fmla="*/ 671512 h 862012"/>
                <a:gd name="connsiteX83" fmla="*/ 631031 w 1114425"/>
                <a:gd name="connsiteY83" fmla="*/ 650081 h 862012"/>
                <a:gd name="connsiteX0" fmla="*/ 631031 w 1138238"/>
                <a:gd name="connsiteY0" fmla="*/ 650081 h 862012"/>
                <a:gd name="connsiteX1" fmla="*/ 678656 w 1138238"/>
                <a:gd name="connsiteY1" fmla="*/ 585787 h 862012"/>
                <a:gd name="connsiteX2" fmla="*/ 702468 w 1138238"/>
                <a:gd name="connsiteY2" fmla="*/ 573881 h 862012"/>
                <a:gd name="connsiteX3" fmla="*/ 733425 w 1138238"/>
                <a:gd name="connsiteY3" fmla="*/ 573881 h 862012"/>
                <a:gd name="connsiteX4" fmla="*/ 778668 w 1138238"/>
                <a:gd name="connsiteY4" fmla="*/ 554831 h 862012"/>
                <a:gd name="connsiteX5" fmla="*/ 833437 w 1138238"/>
                <a:gd name="connsiteY5" fmla="*/ 528637 h 862012"/>
                <a:gd name="connsiteX6" fmla="*/ 883443 w 1138238"/>
                <a:gd name="connsiteY6" fmla="*/ 495300 h 862012"/>
                <a:gd name="connsiteX7" fmla="*/ 900112 w 1138238"/>
                <a:gd name="connsiteY7" fmla="*/ 490537 h 862012"/>
                <a:gd name="connsiteX8" fmla="*/ 919162 w 1138238"/>
                <a:gd name="connsiteY8" fmla="*/ 485775 h 862012"/>
                <a:gd name="connsiteX9" fmla="*/ 916781 w 1138238"/>
                <a:gd name="connsiteY9" fmla="*/ 447675 h 862012"/>
                <a:gd name="connsiteX10" fmla="*/ 954881 w 1138238"/>
                <a:gd name="connsiteY10" fmla="*/ 428625 h 862012"/>
                <a:gd name="connsiteX11" fmla="*/ 985837 w 1138238"/>
                <a:gd name="connsiteY11" fmla="*/ 407194 h 862012"/>
                <a:gd name="connsiteX12" fmla="*/ 1000125 w 1138238"/>
                <a:gd name="connsiteY12" fmla="*/ 347662 h 862012"/>
                <a:gd name="connsiteX13" fmla="*/ 981075 w 1138238"/>
                <a:gd name="connsiteY13" fmla="*/ 316706 h 862012"/>
                <a:gd name="connsiteX14" fmla="*/ 997743 w 1138238"/>
                <a:gd name="connsiteY14" fmla="*/ 271462 h 862012"/>
                <a:gd name="connsiteX15" fmla="*/ 1033462 w 1138238"/>
                <a:gd name="connsiteY15" fmla="*/ 233362 h 862012"/>
                <a:gd name="connsiteX16" fmla="*/ 1097756 w 1138238"/>
                <a:gd name="connsiteY16" fmla="*/ 209550 h 862012"/>
                <a:gd name="connsiteX17" fmla="*/ 1138238 w 1138238"/>
                <a:gd name="connsiteY17" fmla="*/ 185737 h 862012"/>
                <a:gd name="connsiteX18" fmla="*/ 1100137 w 1138238"/>
                <a:gd name="connsiteY18" fmla="*/ 161925 h 862012"/>
                <a:gd name="connsiteX19" fmla="*/ 1052512 w 1138238"/>
                <a:gd name="connsiteY19" fmla="*/ 107156 h 862012"/>
                <a:gd name="connsiteX20" fmla="*/ 1009650 w 1138238"/>
                <a:gd name="connsiteY20" fmla="*/ 73819 h 862012"/>
                <a:gd name="connsiteX21" fmla="*/ 995362 w 1138238"/>
                <a:gd name="connsiteY21" fmla="*/ 47625 h 862012"/>
                <a:gd name="connsiteX22" fmla="*/ 983456 w 1138238"/>
                <a:gd name="connsiteY22" fmla="*/ 64294 h 862012"/>
                <a:gd name="connsiteX23" fmla="*/ 966787 w 1138238"/>
                <a:gd name="connsiteY23" fmla="*/ 69056 h 862012"/>
                <a:gd name="connsiteX24" fmla="*/ 935831 w 1138238"/>
                <a:gd name="connsiteY24" fmla="*/ 59531 h 862012"/>
                <a:gd name="connsiteX25" fmla="*/ 904875 w 1138238"/>
                <a:gd name="connsiteY25" fmla="*/ 23812 h 862012"/>
                <a:gd name="connsiteX26" fmla="*/ 888206 w 1138238"/>
                <a:gd name="connsiteY26" fmla="*/ 0 h 862012"/>
                <a:gd name="connsiteX27" fmla="*/ 869156 w 1138238"/>
                <a:gd name="connsiteY27" fmla="*/ 28575 h 862012"/>
                <a:gd name="connsiteX28" fmla="*/ 871537 w 1138238"/>
                <a:gd name="connsiteY28" fmla="*/ 69056 h 862012"/>
                <a:gd name="connsiteX29" fmla="*/ 847725 w 1138238"/>
                <a:gd name="connsiteY29" fmla="*/ 100012 h 862012"/>
                <a:gd name="connsiteX30" fmla="*/ 826293 w 1138238"/>
                <a:gd name="connsiteY30" fmla="*/ 97631 h 862012"/>
                <a:gd name="connsiteX31" fmla="*/ 800100 w 1138238"/>
                <a:gd name="connsiteY31" fmla="*/ 71437 h 862012"/>
                <a:gd name="connsiteX32" fmla="*/ 783431 w 1138238"/>
                <a:gd name="connsiteY32" fmla="*/ 57150 h 862012"/>
                <a:gd name="connsiteX33" fmla="*/ 764381 w 1138238"/>
                <a:gd name="connsiteY33" fmla="*/ 61912 h 862012"/>
                <a:gd name="connsiteX34" fmla="*/ 747712 w 1138238"/>
                <a:gd name="connsiteY34" fmla="*/ 92869 h 862012"/>
                <a:gd name="connsiteX35" fmla="*/ 742950 w 1138238"/>
                <a:gd name="connsiteY35" fmla="*/ 107156 h 862012"/>
                <a:gd name="connsiteX36" fmla="*/ 714375 w 1138238"/>
                <a:gd name="connsiteY36" fmla="*/ 107156 h 862012"/>
                <a:gd name="connsiteX37" fmla="*/ 700087 w 1138238"/>
                <a:gd name="connsiteY37" fmla="*/ 95250 h 862012"/>
                <a:gd name="connsiteX38" fmla="*/ 700087 w 1138238"/>
                <a:gd name="connsiteY38" fmla="*/ 66675 h 862012"/>
                <a:gd name="connsiteX39" fmla="*/ 704850 w 1138238"/>
                <a:gd name="connsiteY39" fmla="*/ 38100 h 862012"/>
                <a:gd name="connsiteX40" fmla="*/ 692943 w 1138238"/>
                <a:gd name="connsiteY40" fmla="*/ 23812 h 862012"/>
                <a:gd name="connsiteX41" fmla="*/ 669131 w 1138238"/>
                <a:gd name="connsiteY41" fmla="*/ 26194 h 862012"/>
                <a:gd name="connsiteX42" fmla="*/ 640556 w 1138238"/>
                <a:gd name="connsiteY42" fmla="*/ 19050 h 862012"/>
                <a:gd name="connsiteX43" fmla="*/ 604837 w 1138238"/>
                <a:gd name="connsiteY43" fmla="*/ 4762 h 862012"/>
                <a:gd name="connsiteX44" fmla="*/ 569118 w 1138238"/>
                <a:gd name="connsiteY44" fmla="*/ 4762 h 862012"/>
                <a:gd name="connsiteX45" fmla="*/ 557212 w 1138238"/>
                <a:gd name="connsiteY45" fmla="*/ 11906 h 862012"/>
                <a:gd name="connsiteX46" fmla="*/ 438150 w 1138238"/>
                <a:gd name="connsiteY46" fmla="*/ 69056 h 862012"/>
                <a:gd name="connsiteX47" fmla="*/ 421481 w 1138238"/>
                <a:gd name="connsiteY47" fmla="*/ 169069 h 862012"/>
                <a:gd name="connsiteX48" fmla="*/ 304800 w 1138238"/>
                <a:gd name="connsiteY48" fmla="*/ 228600 h 862012"/>
                <a:gd name="connsiteX49" fmla="*/ 276225 w 1138238"/>
                <a:gd name="connsiteY49" fmla="*/ 290512 h 862012"/>
                <a:gd name="connsiteX50" fmla="*/ 228600 w 1138238"/>
                <a:gd name="connsiteY50" fmla="*/ 285750 h 862012"/>
                <a:gd name="connsiteX51" fmla="*/ 211931 w 1138238"/>
                <a:gd name="connsiteY51" fmla="*/ 357187 h 862012"/>
                <a:gd name="connsiteX52" fmla="*/ 207168 w 1138238"/>
                <a:gd name="connsiteY52" fmla="*/ 369094 h 862012"/>
                <a:gd name="connsiteX53" fmla="*/ 223837 w 1138238"/>
                <a:gd name="connsiteY53" fmla="*/ 404812 h 862012"/>
                <a:gd name="connsiteX54" fmla="*/ 219075 w 1138238"/>
                <a:gd name="connsiteY54" fmla="*/ 511969 h 862012"/>
                <a:gd name="connsiteX55" fmla="*/ 195262 w 1138238"/>
                <a:gd name="connsiteY55" fmla="*/ 521494 h 862012"/>
                <a:gd name="connsiteX56" fmla="*/ 180975 w 1138238"/>
                <a:gd name="connsiteY56" fmla="*/ 502444 h 862012"/>
                <a:gd name="connsiteX57" fmla="*/ 161925 w 1138238"/>
                <a:gd name="connsiteY57" fmla="*/ 457200 h 862012"/>
                <a:gd name="connsiteX58" fmla="*/ 128587 w 1138238"/>
                <a:gd name="connsiteY58" fmla="*/ 433387 h 862012"/>
                <a:gd name="connsiteX59" fmla="*/ 116681 w 1138238"/>
                <a:gd name="connsiteY59" fmla="*/ 409575 h 862012"/>
                <a:gd name="connsiteX60" fmla="*/ 83343 w 1138238"/>
                <a:gd name="connsiteY60" fmla="*/ 421481 h 862012"/>
                <a:gd name="connsiteX61" fmla="*/ 78581 w 1138238"/>
                <a:gd name="connsiteY61" fmla="*/ 466725 h 862012"/>
                <a:gd name="connsiteX62" fmla="*/ 116681 w 1138238"/>
                <a:gd name="connsiteY62" fmla="*/ 514350 h 862012"/>
                <a:gd name="connsiteX63" fmla="*/ 123825 w 1138238"/>
                <a:gd name="connsiteY63" fmla="*/ 583406 h 862012"/>
                <a:gd name="connsiteX64" fmla="*/ 152400 w 1138238"/>
                <a:gd name="connsiteY64" fmla="*/ 631031 h 862012"/>
                <a:gd name="connsiteX65" fmla="*/ 142875 w 1138238"/>
                <a:gd name="connsiteY65" fmla="*/ 657225 h 862012"/>
                <a:gd name="connsiteX66" fmla="*/ 107156 w 1138238"/>
                <a:gd name="connsiteY66" fmla="*/ 697706 h 862012"/>
                <a:gd name="connsiteX67" fmla="*/ 42862 w 1138238"/>
                <a:gd name="connsiteY67" fmla="*/ 735806 h 862012"/>
                <a:gd name="connsiteX68" fmla="*/ 35718 w 1138238"/>
                <a:gd name="connsiteY68" fmla="*/ 769144 h 862012"/>
                <a:gd name="connsiteX69" fmla="*/ 19050 w 1138238"/>
                <a:gd name="connsiteY69" fmla="*/ 795337 h 862012"/>
                <a:gd name="connsiteX70" fmla="*/ 0 w 1138238"/>
                <a:gd name="connsiteY70" fmla="*/ 859631 h 862012"/>
                <a:gd name="connsiteX71" fmla="*/ 19050 w 1138238"/>
                <a:gd name="connsiteY71" fmla="*/ 862012 h 862012"/>
                <a:gd name="connsiteX72" fmla="*/ 154781 w 1138238"/>
                <a:gd name="connsiteY72" fmla="*/ 828675 h 862012"/>
                <a:gd name="connsiteX73" fmla="*/ 171450 w 1138238"/>
                <a:gd name="connsiteY73" fmla="*/ 757237 h 862012"/>
                <a:gd name="connsiteX74" fmla="*/ 259556 w 1138238"/>
                <a:gd name="connsiteY74" fmla="*/ 800100 h 862012"/>
                <a:gd name="connsiteX75" fmla="*/ 297656 w 1138238"/>
                <a:gd name="connsiteY75" fmla="*/ 700087 h 862012"/>
                <a:gd name="connsiteX76" fmla="*/ 385762 w 1138238"/>
                <a:gd name="connsiteY76" fmla="*/ 666750 h 862012"/>
                <a:gd name="connsiteX77" fmla="*/ 435768 w 1138238"/>
                <a:gd name="connsiteY77" fmla="*/ 681037 h 862012"/>
                <a:gd name="connsiteX78" fmla="*/ 473868 w 1138238"/>
                <a:gd name="connsiteY78" fmla="*/ 702469 h 862012"/>
                <a:gd name="connsiteX79" fmla="*/ 500062 w 1138238"/>
                <a:gd name="connsiteY79" fmla="*/ 707231 h 862012"/>
                <a:gd name="connsiteX80" fmla="*/ 516731 w 1138238"/>
                <a:gd name="connsiteY80" fmla="*/ 702469 h 862012"/>
                <a:gd name="connsiteX81" fmla="*/ 545306 w 1138238"/>
                <a:gd name="connsiteY81" fmla="*/ 671512 h 862012"/>
                <a:gd name="connsiteX82" fmla="*/ 576262 w 1138238"/>
                <a:gd name="connsiteY82" fmla="*/ 671512 h 862012"/>
                <a:gd name="connsiteX83" fmla="*/ 631031 w 1138238"/>
                <a:gd name="connsiteY83" fmla="*/ 650081 h 862012"/>
                <a:gd name="connsiteX0" fmla="*/ 631031 w 1138238"/>
                <a:gd name="connsiteY0" fmla="*/ 650081 h 862012"/>
                <a:gd name="connsiteX1" fmla="*/ 678656 w 1138238"/>
                <a:gd name="connsiteY1" fmla="*/ 585787 h 862012"/>
                <a:gd name="connsiteX2" fmla="*/ 702468 w 1138238"/>
                <a:gd name="connsiteY2" fmla="*/ 573881 h 862012"/>
                <a:gd name="connsiteX3" fmla="*/ 733425 w 1138238"/>
                <a:gd name="connsiteY3" fmla="*/ 573881 h 862012"/>
                <a:gd name="connsiteX4" fmla="*/ 778668 w 1138238"/>
                <a:gd name="connsiteY4" fmla="*/ 554831 h 862012"/>
                <a:gd name="connsiteX5" fmla="*/ 833437 w 1138238"/>
                <a:gd name="connsiteY5" fmla="*/ 528637 h 862012"/>
                <a:gd name="connsiteX6" fmla="*/ 883443 w 1138238"/>
                <a:gd name="connsiteY6" fmla="*/ 495300 h 862012"/>
                <a:gd name="connsiteX7" fmla="*/ 900112 w 1138238"/>
                <a:gd name="connsiteY7" fmla="*/ 490537 h 862012"/>
                <a:gd name="connsiteX8" fmla="*/ 919162 w 1138238"/>
                <a:gd name="connsiteY8" fmla="*/ 485775 h 862012"/>
                <a:gd name="connsiteX9" fmla="*/ 916781 w 1138238"/>
                <a:gd name="connsiteY9" fmla="*/ 447675 h 862012"/>
                <a:gd name="connsiteX10" fmla="*/ 954881 w 1138238"/>
                <a:gd name="connsiteY10" fmla="*/ 428625 h 862012"/>
                <a:gd name="connsiteX11" fmla="*/ 985837 w 1138238"/>
                <a:gd name="connsiteY11" fmla="*/ 407194 h 862012"/>
                <a:gd name="connsiteX12" fmla="*/ 1000125 w 1138238"/>
                <a:gd name="connsiteY12" fmla="*/ 347662 h 862012"/>
                <a:gd name="connsiteX13" fmla="*/ 981075 w 1138238"/>
                <a:gd name="connsiteY13" fmla="*/ 316706 h 862012"/>
                <a:gd name="connsiteX14" fmla="*/ 997743 w 1138238"/>
                <a:gd name="connsiteY14" fmla="*/ 271462 h 862012"/>
                <a:gd name="connsiteX15" fmla="*/ 1033462 w 1138238"/>
                <a:gd name="connsiteY15" fmla="*/ 233362 h 862012"/>
                <a:gd name="connsiteX16" fmla="*/ 1097756 w 1138238"/>
                <a:gd name="connsiteY16" fmla="*/ 209550 h 862012"/>
                <a:gd name="connsiteX17" fmla="*/ 1138238 w 1138238"/>
                <a:gd name="connsiteY17" fmla="*/ 185737 h 862012"/>
                <a:gd name="connsiteX18" fmla="*/ 1107281 w 1138238"/>
                <a:gd name="connsiteY18" fmla="*/ 154781 h 862012"/>
                <a:gd name="connsiteX19" fmla="*/ 1052512 w 1138238"/>
                <a:gd name="connsiteY19" fmla="*/ 107156 h 862012"/>
                <a:gd name="connsiteX20" fmla="*/ 1009650 w 1138238"/>
                <a:gd name="connsiteY20" fmla="*/ 73819 h 862012"/>
                <a:gd name="connsiteX21" fmla="*/ 995362 w 1138238"/>
                <a:gd name="connsiteY21" fmla="*/ 47625 h 862012"/>
                <a:gd name="connsiteX22" fmla="*/ 983456 w 1138238"/>
                <a:gd name="connsiteY22" fmla="*/ 64294 h 862012"/>
                <a:gd name="connsiteX23" fmla="*/ 966787 w 1138238"/>
                <a:gd name="connsiteY23" fmla="*/ 69056 h 862012"/>
                <a:gd name="connsiteX24" fmla="*/ 935831 w 1138238"/>
                <a:gd name="connsiteY24" fmla="*/ 59531 h 862012"/>
                <a:gd name="connsiteX25" fmla="*/ 904875 w 1138238"/>
                <a:gd name="connsiteY25" fmla="*/ 23812 h 862012"/>
                <a:gd name="connsiteX26" fmla="*/ 888206 w 1138238"/>
                <a:gd name="connsiteY26" fmla="*/ 0 h 862012"/>
                <a:gd name="connsiteX27" fmla="*/ 869156 w 1138238"/>
                <a:gd name="connsiteY27" fmla="*/ 28575 h 862012"/>
                <a:gd name="connsiteX28" fmla="*/ 871537 w 1138238"/>
                <a:gd name="connsiteY28" fmla="*/ 69056 h 862012"/>
                <a:gd name="connsiteX29" fmla="*/ 847725 w 1138238"/>
                <a:gd name="connsiteY29" fmla="*/ 100012 h 862012"/>
                <a:gd name="connsiteX30" fmla="*/ 826293 w 1138238"/>
                <a:gd name="connsiteY30" fmla="*/ 97631 h 862012"/>
                <a:gd name="connsiteX31" fmla="*/ 800100 w 1138238"/>
                <a:gd name="connsiteY31" fmla="*/ 71437 h 862012"/>
                <a:gd name="connsiteX32" fmla="*/ 783431 w 1138238"/>
                <a:gd name="connsiteY32" fmla="*/ 57150 h 862012"/>
                <a:gd name="connsiteX33" fmla="*/ 764381 w 1138238"/>
                <a:gd name="connsiteY33" fmla="*/ 61912 h 862012"/>
                <a:gd name="connsiteX34" fmla="*/ 747712 w 1138238"/>
                <a:gd name="connsiteY34" fmla="*/ 92869 h 862012"/>
                <a:gd name="connsiteX35" fmla="*/ 742950 w 1138238"/>
                <a:gd name="connsiteY35" fmla="*/ 107156 h 862012"/>
                <a:gd name="connsiteX36" fmla="*/ 714375 w 1138238"/>
                <a:gd name="connsiteY36" fmla="*/ 107156 h 862012"/>
                <a:gd name="connsiteX37" fmla="*/ 700087 w 1138238"/>
                <a:gd name="connsiteY37" fmla="*/ 95250 h 862012"/>
                <a:gd name="connsiteX38" fmla="*/ 700087 w 1138238"/>
                <a:gd name="connsiteY38" fmla="*/ 66675 h 862012"/>
                <a:gd name="connsiteX39" fmla="*/ 704850 w 1138238"/>
                <a:gd name="connsiteY39" fmla="*/ 38100 h 862012"/>
                <a:gd name="connsiteX40" fmla="*/ 692943 w 1138238"/>
                <a:gd name="connsiteY40" fmla="*/ 23812 h 862012"/>
                <a:gd name="connsiteX41" fmla="*/ 669131 w 1138238"/>
                <a:gd name="connsiteY41" fmla="*/ 26194 h 862012"/>
                <a:gd name="connsiteX42" fmla="*/ 640556 w 1138238"/>
                <a:gd name="connsiteY42" fmla="*/ 19050 h 862012"/>
                <a:gd name="connsiteX43" fmla="*/ 604837 w 1138238"/>
                <a:gd name="connsiteY43" fmla="*/ 4762 h 862012"/>
                <a:gd name="connsiteX44" fmla="*/ 569118 w 1138238"/>
                <a:gd name="connsiteY44" fmla="*/ 4762 h 862012"/>
                <a:gd name="connsiteX45" fmla="*/ 557212 w 1138238"/>
                <a:gd name="connsiteY45" fmla="*/ 11906 h 862012"/>
                <a:gd name="connsiteX46" fmla="*/ 438150 w 1138238"/>
                <a:gd name="connsiteY46" fmla="*/ 69056 h 862012"/>
                <a:gd name="connsiteX47" fmla="*/ 421481 w 1138238"/>
                <a:gd name="connsiteY47" fmla="*/ 169069 h 862012"/>
                <a:gd name="connsiteX48" fmla="*/ 304800 w 1138238"/>
                <a:gd name="connsiteY48" fmla="*/ 228600 h 862012"/>
                <a:gd name="connsiteX49" fmla="*/ 276225 w 1138238"/>
                <a:gd name="connsiteY49" fmla="*/ 290512 h 862012"/>
                <a:gd name="connsiteX50" fmla="*/ 228600 w 1138238"/>
                <a:gd name="connsiteY50" fmla="*/ 285750 h 862012"/>
                <a:gd name="connsiteX51" fmla="*/ 211931 w 1138238"/>
                <a:gd name="connsiteY51" fmla="*/ 357187 h 862012"/>
                <a:gd name="connsiteX52" fmla="*/ 207168 w 1138238"/>
                <a:gd name="connsiteY52" fmla="*/ 369094 h 862012"/>
                <a:gd name="connsiteX53" fmla="*/ 223837 w 1138238"/>
                <a:gd name="connsiteY53" fmla="*/ 404812 h 862012"/>
                <a:gd name="connsiteX54" fmla="*/ 219075 w 1138238"/>
                <a:gd name="connsiteY54" fmla="*/ 511969 h 862012"/>
                <a:gd name="connsiteX55" fmla="*/ 195262 w 1138238"/>
                <a:gd name="connsiteY55" fmla="*/ 521494 h 862012"/>
                <a:gd name="connsiteX56" fmla="*/ 180975 w 1138238"/>
                <a:gd name="connsiteY56" fmla="*/ 502444 h 862012"/>
                <a:gd name="connsiteX57" fmla="*/ 161925 w 1138238"/>
                <a:gd name="connsiteY57" fmla="*/ 457200 h 862012"/>
                <a:gd name="connsiteX58" fmla="*/ 128587 w 1138238"/>
                <a:gd name="connsiteY58" fmla="*/ 433387 h 862012"/>
                <a:gd name="connsiteX59" fmla="*/ 116681 w 1138238"/>
                <a:gd name="connsiteY59" fmla="*/ 409575 h 862012"/>
                <a:gd name="connsiteX60" fmla="*/ 83343 w 1138238"/>
                <a:gd name="connsiteY60" fmla="*/ 421481 h 862012"/>
                <a:gd name="connsiteX61" fmla="*/ 78581 w 1138238"/>
                <a:gd name="connsiteY61" fmla="*/ 466725 h 862012"/>
                <a:gd name="connsiteX62" fmla="*/ 116681 w 1138238"/>
                <a:gd name="connsiteY62" fmla="*/ 514350 h 862012"/>
                <a:gd name="connsiteX63" fmla="*/ 123825 w 1138238"/>
                <a:gd name="connsiteY63" fmla="*/ 583406 h 862012"/>
                <a:gd name="connsiteX64" fmla="*/ 152400 w 1138238"/>
                <a:gd name="connsiteY64" fmla="*/ 631031 h 862012"/>
                <a:gd name="connsiteX65" fmla="*/ 142875 w 1138238"/>
                <a:gd name="connsiteY65" fmla="*/ 657225 h 862012"/>
                <a:gd name="connsiteX66" fmla="*/ 107156 w 1138238"/>
                <a:gd name="connsiteY66" fmla="*/ 697706 h 862012"/>
                <a:gd name="connsiteX67" fmla="*/ 42862 w 1138238"/>
                <a:gd name="connsiteY67" fmla="*/ 735806 h 862012"/>
                <a:gd name="connsiteX68" fmla="*/ 35718 w 1138238"/>
                <a:gd name="connsiteY68" fmla="*/ 769144 h 862012"/>
                <a:gd name="connsiteX69" fmla="*/ 19050 w 1138238"/>
                <a:gd name="connsiteY69" fmla="*/ 795337 h 862012"/>
                <a:gd name="connsiteX70" fmla="*/ 0 w 1138238"/>
                <a:gd name="connsiteY70" fmla="*/ 859631 h 862012"/>
                <a:gd name="connsiteX71" fmla="*/ 19050 w 1138238"/>
                <a:gd name="connsiteY71" fmla="*/ 862012 h 862012"/>
                <a:gd name="connsiteX72" fmla="*/ 154781 w 1138238"/>
                <a:gd name="connsiteY72" fmla="*/ 828675 h 862012"/>
                <a:gd name="connsiteX73" fmla="*/ 171450 w 1138238"/>
                <a:gd name="connsiteY73" fmla="*/ 757237 h 862012"/>
                <a:gd name="connsiteX74" fmla="*/ 259556 w 1138238"/>
                <a:gd name="connsiteY74" fmla="*/ 800100 h 862012"/>
                <a:gd name="connsiteX75" fmla="*/ 297656 w 1138238"/>
                <a:gd name="connsiteY75" fmla="*/ 700087 h 862012"/>
                <a:gd name="connsiteX76" fmla="*/ 385762 w 1138238"/>
                <a:gd name="connsiteY76" fmla="*/ 666750 h 862012"/>
                <a:gd name="connsiteX77" fmla="*/ 435768 w 1138238"/>
                <a:gd name="connsiteY77" fmla="*/ 681037 h 862012"/>
                <a:gd name="connsiteX78" fmla="*/ 473868 w 1138238"/>
                <a:gd name="connsiteY78" fmla="*/ 702469 h 862012"/>
                <a:gd name="connsiteX79" fmla="*/ 500062 w 1138238"/>
                <a:gd name="connsiteY79" fmla="*/ 707231 h 862012"/>
                <a:gd name="connsiteX80" fmla="*/ 516731 w 1138238"/>
                <a:gd name="connsiteY80" fmla="*/ 702469 h 862012"/>
                <a:gd name="connsiteX81" fmla="*/ 545306 w 1138238"/>
                <a:gd name="connsiteY81" fmla="*/ 671512 h 862012"/>
                <a:gd name="connsiteX82" fmla="*/ 576262 w 1138238"/>
                <a:gd name="connsiteY82" fmla="*/ 671512 h 862012"/>
                <a:gd name="connsiteX83" fmla="*/ 631031 w 1138238"/>
                <a:gd name="connsiteY83" fmla="*/ 650081 h 862012"/>
                <a:gd name="connsiteX0" fmla="*/ 631031 w 1138238"/>
                <a:gd name="connsiteY0" fmla="*/ 650081 h 862012"/>
                <a:gd name="connsiteX1" fmla="*/ 678656 w 1138238"/>
                <a:gd name="connsiteY1" fmla="*/ 585787 h 862012"/>
                <a:gd name="connsiteX2" fmla="*/ 702468 w 1138238"/>
                <a:gd name="connsiteY2" fmla="*/ 573881 h 862012"/>
                <a:gd name="connsiteX3" fmla="*/ 733425 w 1138238"/>
                <a:gd name="connsiteY3" fmla="*/ 573881 h 862012"/>
                <a:gd name="connsiteX4" fmla="*/ 778668 w 1138238"/>
                <a:gd name="connsiteY4" fmla="*/ 554831 h 862012"/>
                <a:gd name="connsiteX5" fmla="*/ 833437 w 1138238"/>
                <a:gd name="connsiteY5" fmla="*/ 528637 h 862012"/>
                <a:gd name="connsiteX6" fmla="*/ 883443 w 1138238"/>
                <a:gd name="connsiteY6" fmla="*/ 495300 h 862012"/>
                <a:gd name="connsiteX7" fmla="*/ 900112 w 1138238"/>
                <a:gd name="connsiteY7" fmla="*/ 490537 h 862012"/>
                <a:gd name="connsiteX8" fmla="*/ 919162 w 1138238"/>
                <a:gd name="connsiteY8" fmla="*/ 485775 h 862012"/>
                <a:gd name="connsiteX9" fmla="*/ 916781 w 1138238"/>
                <a:gd name="connsiteY9" fmla="*/ 447675 h 862012"/>
                <a:gd name="connsiteX10" fmla="*/ 954881 w 1138238"/>
                <a:gd name="connsiteY10" fmla="*/ 428625 h 862012"/>
                <a:gd name="connsiteX11" fmla="*/ 985837 w 1138238"/>
                <a:gd name="connsiteY11" fmla="*/ 407194 h 862012"/>
                <a:gd name="connsiteX12" fmla="*/ 1000125 w 1138238"/>
                <a:gd name="connsiteY12" fmla="*/ 347662 h 862012"/>
                <a:gd name="connsiteX13" fmla="*/ 981075 w 1138238"/>
                <a:gd name="connsiteY13" fmla="*/ 316706 h 862012"/>
                <a:gd name="connsiteX14" fmla="*/ 997743 w 1138238"/>
                <a:gd name="connsiteY14" fmla="*/ 271462 h 862012"/>
                <a:gd name="connsiteX15" fmla="*/ 1033462 w 1138238"/>
                <a:gd name="connsiteY15" fmla="*/ 233362 h 862012"/>
                <a:gd name="connsiteX16" fmla="*/ 1097756 w 1138238"/>
                <a:gd name="connsiteY16" fmla="*/ 209550 h 862012"/>
                <a:gd name="connsiteX17" fmla="*/ 1138238 w 1138238"/>
                <a:gd name="connsiteY17" fmla="*/ 185737 h 862012"/>
                <a:gd name="connsiteX18" fmla="*/ 1107281 w 1138238"/>
                <a:gd name="connsiteY18" fmla="*/ 154781 h 862012"/>
                <a:gd name="connsiteX19" fmla="*/ 1052512 w 1138238"/>
                <a:gd name="connsiteY19" fmla="*/ 97631 h 862012"/>
                <a:gd name="connsiteX20" fmla="*/ 1009650 w 1138238"/>
                <a:gd name="connsiteY20" fmla="*/ 73819 h 862012"/>
                <a:gd name="connsiteX21" fmla="*/ 995362 w 1138238"/>
                <a:gd name="connsiteY21" fmla="*/ 47625 h 862012"/>
                <a:gd name="connsiteX22" fmla="*/ 983456 w 1138238"/>
                <a:gd name="connsiteY22" fmla="*/ 64294 h 862012"/>
                <a:gd name="connsiteX23" fmla="*/ 966787 w 1138238"/>
                <a:gd name="connsiteY23" fmla="*/ 69056 h 862012"/>
                <a:gd name="connsiteX24" fmla="*/ 935831 w 1138238"/>
                <a:gd name="connsiteY24" fmla="*/ 59531 h 862012"/>
                <a:gd name="connsiteX25" fmla="*/ 904875 w 1138238"/>
                <a:gd name="connsiteY25" fmla="*/ 23812 h 862012"/>
                <a:gd name="connsiteX26" fmla="*/ 888206 w 1138238"/>
                <a:gd name="connsiteY26" fmla="*/ 0 h 862012"/>
                <a:gd name="connsiteX27" fmla="*/ 869156 w 1138238"/>
                <a:gd name="connsiteY27" fmla="*/ 28575 h 862012"/>
                <a:gd name="connsiteX28" fmla="*/ 871537 w 1138238"/>
                <a:gd name="connsiteY28" fmla="*/ 69056 h 862012"/>
                <a:gd name="connsiteX29" fmla="*/ 847725 w 1138238"/>
                <a:gd name="connsiteY29" fmla="*/ 100012 h 862012"/>
                <a:gd name="connsiteX30" fmla="*/ 826293 w 1138238"/>
                <a:gd name="connsiteY30" fmla="*/ 97631 h 862012"/>
                <a:gd name="connsiteX31" fmla="*/ 800100 w 1138238"/>
                <a:gd name="connsiteY31" fmla="*/ 71437 h 862012"/>
                <a:gd name="connsiteX32" fmla="*/ 783431 w 1138238"/>
                <a:gd name="connsiteY32" fmla="*/ 57150 h 862012"/>
                <a:gd name="connsiteX33" fmla="*/ 764381 w 1138238"/>
                <a:gd name="connsiteY33" fmla="*/ 61912 h 862012"/>
                <a:gd name="connsiteX34" fmla="*/ 747712 w 1138238"/>
                <a:gd name="connsiteY34" fmla="*/ 92869 h 862012"/>
                <a:gd name="connsiteX35" fmla="*/ 742950 w 1138238"/>
                <a:gd name="connsiteY35" fmla="*/ 107156 h 862012"/>
                <a:gd name="connsiteX36" fmla="*/ 714375 w 1138238"/>
                <a:gd name="connsiteY36" fmla="*/ 107156 h 862012"/>
                <a:gd name="connsiteX37" fmla="*/ 700087 w 1138238"/>
                <a:gd name="connsiteY37" fmla="*/ 95250 h 862012"/>
                <a:gd name="connsiteX38" fmla="*/ 700087 w 1138238"/>
                <a:gd name="connsiteY38" fmla="*/ 66675 h 862012"/>
                <a:gd name="connsiteX39" fmla="*/ 704850 w 1138238"/>
                <a:gd name="connsiteY39" fmla="*/ 38100 h 862012"/>
                <a:gd name="connsiteX40" fmla="*/ 692943 w 1138238"/>
                <a:gd name="connsiteY40" fmla="*/ 23812 h 862012"/>
                <a:gd name="connsiteX41" fmla="*/ 669131 w 1138238"/>
                <a:gd name="connsiteY41" fmla="*/ 26194 h 862012"/>
                <a:gd name="connsiteX42" fmla="*/ 640556 w 1138238"/>
                <a:gd name="connsiteY42" fmla="*/ 19050 h 862012"/>
                <a:gd name="connsiteX43" fmla="*/ 604837 w 1138238"/>
                <a:gd name="connsiteY43" fmla="*/ 4762 h 862012"/>
                <a:gd name="connsiteX44" fmla="*/ 569118 w 1138238"/>
                <a:gd name="connsiteY44" fmla="*/ 4762 h 862012"/>
                <a:gd name="connsiteX45" fmla="*/ 557212 w 1138238"/>
                <a:gd name="connsiteY45" fmla="*/ 11906 h 862012"/>
                <a:gd name="connsiteX46" fmla="*/ 438150 w 1138238"/>
                <a:gd name="connsiteY46" fmla="*/ 69056 h 862012"/>
                <a:gd name="connsiteX47" fmla="*/ 421481 w 1138238"/>
                <a:gd name="connsiteY47" fmla="*/ 169069 h 862012"/>
                <a:gd name="connsiteX48" fmla="*/ 304800 w 1138238"/>
                <a:gd name="connsiteY48" fmla="*/ 228600 h 862012"/>
                <a:gd name="connsiteX49" fmla="*/ 276225 w 1138238"/>
                <a:gd name="connsiteY49" fmla="*/ 290512 h 862012"/>
                <a:gd name="connsiteX50" fmla="*/ 228600 w 1138238"/>
                <a:gd name="connsiteY50" fmla="*/ 285750 h 862012"/>
                <a:gd name="connsiteX51" fmla="*/ 211931 w 1138238"/>
                <a:gd name="connsiteY51" fmla="*/ 357187 h 862012"/>
                <a:gd name="connsiteX52" fmla="*/ 207168 w 1138238"/>
                <a:gd name="connsiteY52" fmla="*/ 369094 h 862012"/>
                <a:gd name="connsiteX53" fmla="*/ 223837 w 1138238"/>
                <a:gd name="connsiteY53" fmla="*/ 404812 h 862012"/>
                <a:gd name="connsiteX54" fmla="*/ 219075 w 1138238"/>
                <a:gd name="connsiteY54" fmla="*/ 511969 h 862012"/>
                <a:gd name="connsiteX55" fmla="*/ 195262 w 1138238"/>
                <a:gd name="connsiteY55" fmla="*/ 521494 h 862012"/>
                <a:gd name="connsiteX56" fmla="*/ 180975 w 1138238"/>
                <a:gd name="connsiteY56" fmla="*/ 502444 h 862012"/>
                <a:gd name="connsiteX57" fmla="*/ 161925 w 1138238"/>
                <a:gd name="connsiteY57" fmla="*/ 457200 h 862012"/>
                <a:gd name="connsiteX58" fmla="*/ 128587 w 1138238"/>
                <a:gd name="connsiteY58" fmla="*/ 433387 h 862012"/>
                <a:gd name="connsiteX59" fmla="*/ 116681 w 1138238"/>
                <a:gd name="connsiteY59" fmla="*/ 409575 h 862012"/>
                <a:gd name="connsiteX60" fmla="*/ 83343 w 1138238"/>
                <a:gd name="connsiteY60" fmla="*/ 421481 h 862012"/>
                <a:gd name="connsiteX61" fmla="*/ 78581 w 1138238"/>
                <a:gd name="connsiteY61" fmla="*/ 466725 h 862012"/>
                <a:gd name="connsiteX62" fmla="*/ 116681 w 1138238"/>
                <a:gd name="connsiteY62" fmla="*/ 514350 h 862012"/>
                <a:gd name="connsiteX63" fmla="*/ 123825 w 1138238"/>
                <a:gd name="connsiteY63" fmla="*/ 583406 h 862012"/>
                <a:gd name="connsiteX64" fmla="*/ 152400 w 1138238"/>
                <a:gd name="connsiteY64" fmla="*/ 631031 h 862012"/>
                <a:gd name="connsiteX65" fmla="*/ 142875 w 1138238"/>
                <a:gd name="connsiteY65" fmla="*/ 657225 h 862012"/>
                <a:gd name="connsiteX66" fmla="*/ 107156 w 1138238"/>
                <a:gd name="connsiteY66" fmla="*/ 697706 h 862012"/>
                <a:gd name="connsiteX67" fmla="*/ 42862 w 1138238"/>
                <a:gd name="connsiteY67" fmla="*/ 735806 h 862012"/>
                <a:gd name="connsiteX68" fmla="*/ 35718 w 1138238"/>
                <a:gd name="connsiteY68" fmla="*/ 769144 h 862012"/>
                <a:gd name="connsiteX69" fmla="*/ 19050 w 1138238"/>
                <a:gd name="connsiteY69" fmla="*/ 795337 h 862012"/>
                <a:gd name="connsiteX70" fmla="*/ 0 w 1138238"/>
                <a:gd name="connsiteY70" fmla="*/ 859631 h 862012"/>
                <a:gd name="connsiteX71" fmla="*/ 19050 w 1138238"/>
                <a:gd name="connsiteY71" fmla="*/ 862012 h 862012"/>
                <a:gd name="connsiteX72" fmla="*/ 154781 w 1138238"/>
                <a:gd name="connsiteY72" fmla="*/ 828675 h 862012"/>
                <a:gd name="connsiteX73" fmla="*/ 171450 w 1138238"/>
                <a:gd name="connsiteY73" fmla="*/ 757237 h 862012"/>
                <a:gd name="connsiteX74" fmla="*/ 259556 w 1138238"/>
                <a:gd name="connsiteY74" fmla="*/ 800100 h 862012"/>
                <a:gd name="connsiteX75" fmla="*/ 297656 w 1138238"/>
                <a:gd name="connsiteY75" fmla="*/ 700087 h 862012"/>
                <a:gd name="connsiteX76" fmla="*/ 385762 w 1138238"/>
                <a:gd name="connsiteY76" fmla="*/ 666750 h 862012"/>
                <a:gd name="connsiteX77" fmla="*/ 435768 w 1138238"/>
                <a:gd name="connsiteY77" fmla="*/ 681037 h 862012"/>
                <a:gd name="connsiteX78" fmla="*/ 473868 w 1138238"/>
                <a:gd name="connsiteY78" fmla="*/ 702469 h 862012"/>
                <a:gd name="connsiteX79" fmla="*/ 500062 w 1138238"/>
                <a:gd name="connsiteY79" fmla="*/ 707231 h 862012"/>
                <a:gd name="connsiteX80" fmla="*/ 516731 w 1138238"/>
                <a:gd name="connsiteY80" fmla="*/ 702469 h 862012"/>
                <a:gd name="connsiteX81" fmla="*/ 545306 w 1138238"/>
                <a:gd name="connsiteY81" fmla="*/ 671512 h 862012"/>
                <a:gd name="connsiteX82" fmla="*/ 576262 w 1138238"/>
                <a:gd name="connsiteY82" fmla="*/ 671512 h 862012"/>
                <a:gd name="connsiteX83" fmla="*/ 631031 w 1138238"/>
                <a:gd name="connsiteY83" fmla="*/ 650081 h 862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138238" h="862012">
                  <a:moveTo>
                    <a:pt x="631031" y="650081"/>
                  </a:moveTo>
                  <a:lnTo>
                    <a:pt x="678656" y="585787"/>
                  </a:lnTo>
                  <a:lnTo>
                    <a:pt x="702468" y="573881"/>
                  </a:lnTo>
                  <a:lnTo>
                    <a:pt x="733425" y="573881"/>
                  </a:lnTo>
                  <a:lnTo>
                    <a:pt x="778668" y="554831"/>
                  </a:lnTo>
                  <a:lnTo>
                    <a:pt x="833437" y="528637"/>
                  </a:lnTo>
                  <a:lnTo>
                    <a:pt x="883443" y="495300"/>
                  </a:lnTo>
                  <a:lnTo>
                    <a:pt x="900112" y="490537"/>
                  </a:lnTo>
                  <a:lnTo>
                    <a:pt x="919162" y="485775"/>
                  </a:lnTo>
                  <a:lnTo>
                    <a:pt x="916781" y="447675"/>
                  </a:lnTo>
                  <a:lnTo>
                    <a:pt x="954881" y="428625"/>
                  </a:lnTo>
                  <a:lnTo>
                    <a:pt x="985837" y="407194"/>
                  </a:lnTo>
                  <a:lnTo>
                    <a:pt x="1000125" y="347662"/>
                  </a:lnTo>
                  <a:lnTo>
                    <a:pt x="981075" y="316706"/>
                  </a:lnTo>
                  <a:lnTo>
                    <a:pt x="997743" y="271462"/>
                  </a:lnTo>
                  <a:lnTo>
                    <a:pt x="1033462" y="233362"/>
                  </a:lnTo>
                  <a:lnTo>
                    <a:pt x="1097756" y="209550"/>
                  </a:lnTo>
                  <a:lnTo>
                    <a:pt x="1138238" y="185737"/>
                  </a:lnTo>
                  <a:lnTo>
                    <a:pt x="1107281" y="154781"/>
                  </a:lnTo>
                  <a:lnTo>
                    <a:pt x="1052512" y="97631"/>
                  </a:lnTo>
                  <a:lnTo>
                    <a:pt x="1009650" y="73819"/>
                  </a:lnTo>
                  <a:lnTo>
                    <a:pt x="995362" y="47625"/>
                  </a:lnTo>
                  <a:lnTo>
                    <a:pt x="983456" y="64294"/>
                  </a:lnTo>
                  <a:lnTo>
                    <a:pt x="966787" y="69056"/>
                  </a:lnTo>
                  <a:lnTo>
                    <a:pt x="935831" y="59531"/>
                  </a:lnTo>
                  <a:lnTo>
                    <a:pt x="904875" y="23812"/>
                  </a:lnTo>
                  <a:lnTo>
                    <a:pt x="888206" y="0"/>
                  </a:lnTo>
                  <a:lnTo>
                    <a:pt x="869156" y="28575"/>
                  </a:lnTo>
                  <a:lnTo>
                    <a:pt x="871537" y="69056"/>
                  </a:lnTo>
                  <a:lnTo>
                    <a:pt x="847725" y="100012"/>
                  </a:lnTo>
                  <a:lnTo>
                    <a:pt x="826293" y="97631"/>
                  </a:lnTo>
                  <a:lnTo>
                    <a:pt x="800100" y="71437"/>
                  </a:lnTo>
                  <a:lnTo>
                    <a:pt x="783431" y="57150"/>
                  </a:lnTo>
                  <a:lnTo>
                    <a:pt x="764381" y="61912"/>
                  </a:lnTo>
                  <a:lnTo>
                    <a:pt x="747712" y="92869"/>
                  </a:lnTo>
                  <a:lnTo>
                    <a:pt x="742950" y="107156"/>
                  </a:lnTo>
                  <a:lnTo>
                    <a:pt x="714375" y="107156"/>
                  </a:lnTo>
                  <a:lnTo>
                    <a:pt x="700087" y="95250"/>
                  </a:lnTo>
                  <a:lnTo>
                    <a:pt x="700087" y="66675"/>
                  </a:lnTo>
                  <a:lnTo>
                    <a:pt x="704850" y="38100"/>
                  </a:lnTo>
                  <a:lnTo>
                    <a:pt x="692943" y="23812"/>
                  </a:lnTo>
                  <a:lnTo>
                    <a:pt x="669131" y="26194"/>
                  </a:lnTo>
                  <a:lnTo>
                    <a:pt x="640556" y="19050"/>
                  </a:lnTo>
                  <a:lnTo>
                    <a:pt x="604837" y="4762"/>
                  </a:lnTo>
                  <a:lnTo>
                    <a:pt x="569118" y="4762"/>
                  </a:lnTo>
                  <a:lnTo>
                    <a:pt x="557212" y="11906"/>
                  </a:lnTo>
                  <a:lnTo>
                    <a:pt x="438150" y="69056"/>
                  </a:lnTo>
                  <a:lnTo>
                    <a:pt x="421481" y="169069"/>
                  </a:lnTo>
                  <a:lnTo>
                    <a:pt x="304800" y="228600"/>
                  </a:lnTo>
                  <a:lnTo>
                    <a:pt x="276225" y="290512"/>
                  </a:lnTo>
                  <a:lnTo>
                    <a:pt x="228600" y="285750"/>
                  </a:lnTo>
                  <a:lnTo>
                    <a:pt x="211931" y="357187"/>
                  </a:lnTo>
                  <a:lnTo>
                    <a:pt x="207168" y="369094"/>
                  </a:lnTo>
                  <a:lnTo>
                    <a:pt x="223837" y="404812"/>
                  </a:lnTo>
                  <a:lnTo>
                    <a:pt x="219075" y="511969"/>
                  </a:lnTo>
                  <a:lnTo>
                    <a:pt x="195262" y="521494"/>
                  </a:lnTo>
                  <a:lnTo>
                    <a:pt x="180975" y="502444"/>
                  </a:lnTo>
                  <a:lnTo>
                    <a:pt x="161925" y="457200"/>
                  </a:lnTo>
                  <a:lnTo>
                    <a:pt x="128587" y="433387"/>
                  </a:lnTo>
                  <a:lnTo>
                    <a:pt x="116681" y="409575"/>
                  </a:lnTo>
                  <a:lnTo>
                    <a:pt x="83343" y="421481"/>
                  </a:lnTo>
                  <a:lnTo>
                    <a:pt x="78581" y="466725"/>
                  </a:lnTo>
                  <a:lnTo>
                    <a:pt x="116681" y="514350"/>
                  </a:lnTo>
                  <a:lnTo>
                    <a:pt x="123825" y="583406"/>
                  </a:lnTo>
                  <a:lnTo>
                    <a:pt x="152400" y="631031"/>
                  </a:lnTo>
                  <a:lnTo>
                    <a:pt x="142875" y="657225"/>
                  </a:lnTo>
                  <a:lnTo>
                    <a:pt x="107156" y="697706"/>
                  </a:lnTo>
                  <a:lnTo>
                    <a:pt x="42862" y="735806"/>
                  </a:lnTo>
                  <a:lnTo>
                    <a:pt x="35718" y="769144"/>
                  </a:lnTo>
                  <a:lnTo>
                    <a:pt x="19050" y="795337"/>
                  </a:lnTo>
                  <a:lnTo>
                    <a:pt x="0" y="859631"/>
                  </a:lnTo>
                  <a:lnTo>
                    <a:pt x="19050" y="862012"/>
                  </a:lnTo>
                  <a:lnTo>
                    <a:pt x="154781" y="828675"/>
                  </a:lnTo>
                  <a:lnTo>
                    <a:pt x="171450" y="757237"/>
                  </a:lnTo>
                  <a:lnTo>
                    <a:pt x="259556" y="800100"/>
                  </a:lnTo>
                  <a:lnTo>
                    <a:pt x="297656" y="700087"/>
                  </a:lnTo>
                  <a:lnTo>
                    <a:pt x="385762" y="666750"/>
                  </a:lnTo>
                  <a:lnTo>
                    <a:pt x="435768" y="681037"/>
                  </a:lnTo>
                  <a:lnTo>
                    <a:pt x="473868" y="702469"/>
                  </a:lnTo>
                  <a:lnTo>
                    <a:pt x="500062" y="707231"/>
                  </a:lnTo>
                  <a:lnTo>
                    <a:pt x="516731" y="702469"/>
                  </a:lnTo>
                  <a:lnTo>
                    <a:pt x="545306" y="671512"/>
                  </a:lnTo>
                  <a:lnTo>
                    <a:pt x="576262" y="671512"/>
                  </a:lnTo>
                  <a:lnTo>
                    <a:pt x="631031" y="650081"/>
                  </a:lnTo>
                  <a:close/>
                </a:path>
              </a:pathLst>
            </a:custGeom>
            <a:solidFill>
              <a:schemeClr val="bg1"/>
            </a:solidFill>
            <a:ln w="317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a:lstStyle/>
            <a:p>
              <a:pPr>
                <a:defRPr/>
              </a:pPr>
              <a:endParaRPr lang="en-GB"/>
            </a:p>
          </p:txBody>
        </p:sp>
        <p:sp>
          <p:nvSpPr>
            <p:cNvPr id="57" name="Freeform 56"/>
            <p:cNvSpPr/>
            <p:nvPr/>
          </p:nvSpPr>
          <p:spPr>
            <a:xfrm>
              <a:off x="5416947" y="2937421"/>
              <a:ext cx="735013" cy="614363"/>
            </a:xfrm>
            <a:custGeom>
              <a:avLst/>
              <a:gdLst>
                <a:gd name="connsiteX0" fmla="*/ 123825 w 735806"/>
                <a:gd name="connsiteY0" fmla="*/ 504825 h 611981"/>
                <a:gd name="connsiteX1" fmla="*/ 207169 w 735806"/>
                <a:gd name="connsiteY1" fmla="*/ 528638 h 611981"/>
                <a:gd name="connsiteX2" fmla="*/ 235744 w 735806"/>
                <a:gd name="connsiteY2" fmla="*/ 535781 h 611981"/>
                <a:gd name="connsiteX3" fmla="*/ 257175 w 735806"/>
                <a:gd name="connsiteY3" fmla="*/ 531019 h 611981"/>
                <a:gd name="connsiteX4" fmla="*/ 259556 w 735806"/>
                <a:gd name="connsiteY4" fmla="*/ 547688 h 611981"/>
                <a:gd name="connsiteX5" fmla="*/ 266700 w 735806"/>
                <a:gd name="connsiteY5" fmla="*/ 604838 h 611981"/>
                <a:gd name="connsiteX6" fmla="*/ 276225 w 735806"/>
                <a:gd name="connsiteY6" fmla="*/ 611981 h 611981"/>
                <a:gd name="connsiteX7" fmla="*/ 276225 w 735806"/>
                <a:gd name="connsiteY7" fmla="*/ 611981 h 611981"/>
                <a:gd name="connsiteX8" fmla="*/ 311944 w 735806"/>
                <a:gd name="connsiteY8" fmla="*/ 592931 h 611981"/>
                <a:gd name="connsiteX9" fmla="*/ 323850 w 735806"/>
                <a:gd name="connsiteY9" fmla="*/ 566738 h 611981"/>
                <a:gd name="connsiteX10" fmla="*/ 340519 w 735806"/>
                <a:gd name="connsiteY10" fmla="*/ 561975 h 611981"/>
                <a:gd name="connsiteX11" fmla="*/ 364331 w 735806"/>
                <a:gd name="connsiteY11" fmla="*/ 585788 h 611981"/>
                <a:gd name="connsiteX12" fmla="*/ 381000 w 735806"/>
                <a:gd name="connsiteY12" fmla="*/ 600075 h 611981"/>
                <a:gd name="connsiteX13" fmla="*/ 400050 w 735806"/>
                <a:gd name="connsiteY13" fmla="*/ 607219 h 611981"/>
                <a:gd name="connsiteX14" fmla="*/ 426244 w 735806"/>
                <a:gd name="connsiteY14" fmla="*/ 573881 h 611981"/>
                <a:gd name="connsiteX15" fmla="*/ 433387 w 735806"/>
                <a:gd name="connsiteY15" fmla="*/ 533400 h 611981"/>
                <a:gd name="connsiteX16" fmla="*/ 447675 w 735806"/>
                <a:gd name="connsiteY16" fmla="*/ 504825 h 611981"/>
                <a:gd name="connsiteX17" fmla="*/ 473869 w 735806"/>
                <a:gd name="connsiteY17" fmla="*/ 542925 h 611981"/>
                <a:gd name="connsiteX18" fmla="*/ 495300 w 735806"/>
                <a:gd name="connsiteY18" fmla="*/ 561975 h 611981"/>
                <a:gd name="connsiteX19" fmla="*/ 516731 w 735806"/>
                <a:gd name="connsiteY19" fmla="*/ 578644 h 611981"/>
                <a:gd name="connsiteX20" fmla="*/ 550069 w 735806"/>
                <a:gd name="connsiteY20" fmla="*/ 566738 h 611981"/>
                <a:gd name="connsiteX21" fmla="*/ 557212 w 735806"/>
                <a:gd name="connsiteY21" fmla="*/ 547688 h 611981"/>
                <a:gd name="connsiteX22" fmla="*/ 557212 w 735806"/>
                <a:gd name="connsiteY22" fmla="*/ 535781 h 611981"/>
                <a:gd name="connsiteX23" fmla="*/ 531019 w 735806"/>
                <a:gd name="connsiteY23" fmla="*/ 511969 h 611981"/>
                <a:gd name="connsiteX24" fmla="*/ 514350 w 735806"/>
                <a:gd name="connsiteY24" fmla="*/ 421481 h 611981"/>
                <a:gd name="connsiteX25" fmla="*/ 514350 w 735806"/>
                <a:gd name="connsiteY25" fmla="*/ 421481 h 611981"/>
                <a:gd name="connsiteX26" fmla="*/ 464344 w 735806"/>
                <a:gd name="connsiteY26" fmla="*/ 445294 h 611981"/>
                <a:gd name="connsiteX27" fmla="*/ 438150 w 735806"/>
                <a:gd name="connsiteY27" fmla="*/ 431006 h 611981"/>
                <a:gd name="connsiteX28" fmla="*/ 426244 w 735806"/>
                <a:gd name="connsiteY28" fmla="*/ 385763 h 611981"/>
                <a:gd name="connsiteX29" fmla="*/ 411956 w 735806"/>
                <a:gd name="connsiteY29" fmla="*/ 381000 h 611981"/>
                <a:gd name="connsiteX30" fmla="*/ 388144 w 735806"/>
                <a:gd name="connsiteY30" fmla="*/ 350044 h 611981"/>
                <a:gd name="connsiteX31" fmla="*/ 409575 w 735806"/>
                <a:gd name="connsiteY31" fmla="*/ 314325 h 611981"/>
                <a:gd name="connsiteX32" fmla="*/ 507206 w 735806"/>
                <a:gd name="connsiteY32" fmla="*/ 338138 h 611981"/>
                <a:gd name="connsiteX33" fmla="*/ 528637 w 735806"/>
                <a:gd name="connsiteY33" fmla="*/ 311944 h 611981"/>
                <a:gd name="connsiteX34" fmla="*/ 626269 w 735806"/>
                <a:gd name="connsiteY34" fmla="*/ 290513 h 611981"/>
                <a:gd name="connsiteX35" fmla="*/ 631031 w 735806"/>
                <a:gd name="connsiteY35" fmla="*/ 240506 h 611981"/>
                <a:gd name="connsiteX36" fmla="*/ 714375 w 735806"/>
                <a:gd name="connsiteY36" fmla="*/ 166688 h 611981"/>
                <a:gd name="connsiteX37" fmla="*/ 735806 w 735806"/>
                <a:gd name="connsiteY37" fmla="*/ 71438 h 611981"/>
                <a:gd name="connsiteX38" fmla="*/ 707231 w 735806"/>
                <a:gd name="connsiteY38" fmla="*/ 0 h 611981"/>
                <a:gd name="connsiteX39" fmla="*/ 614362 w 735806"/>
                <a:gd name="connsiteY39" fmla="*/ 47625 h 611981"/>
                <a:gd name="connsiteX40" fmla="*/ 614362 w 735806"/>
                <a:gd name="connsiteY40" fmla="*/ 66675 h 611981"/>
                <a:gd name="connsiteX41" fmla="*/ 597694 w 735806"/>
                <a:gd name="connsiteY41" fmla="*/ 135731 h 611981"/>
                <a:gd name="connsiteX42" fmla="*/ 566737 w 735806"/>
                <a:gd name="connsiteY42" fmla="*/ 130969 h 611981"/>
                <a:gd name="connsiteX43" fmla="*/ 514350 w 735806"/>
                <a:gd name="connsiteY43" fmla="*/ 164306 h 611981"/>
                <a:gd name="connsiteX44" fmla="*/ 433387 w 735806"/>
                <a:gd name="connsiteY44" fmla="*/ 123825 h 611981"/>
                <a:gd name="connsiteX45" fmla="*/ 402431 w 735806"/>
                <a:gd name="connsiteY45" fmla="*/ 128588 h 611981"/>
                <a:gd name="connsiteX46" fmla="*/ 359569 w 735806"/>
                <a:gd name="connsiteY46" fmla="*/ 154781 h 611981"/>
                <a:gd name="connsiteX47" fmla="*/ 307181 w 735806"/>
                <a:gd name="connsiteY47" fmla="*/ 154781 h 611981"/>
                <a:gd name="connsiteX48" fmla="*/ 280987 w 735806"/>
                <a:gd name="connsiteY48" fmla="*/ 188119 h 611981"/>
                <a:gd name="connsiteX49" fmla="*/ 209550 w 735806"/>
                <a:gd name="connsiteY49" fmla="*/ 171450 h 611981"/>
                <a:gd name="connsiteX50" fmla="*/ 154781 w 735806"/>
                <a:gd name="connsiteY50" fmla="*/ 197644 h 611981"/>
                <a:gd name="connsiteX51" fmla="*/ 126206 w 735806"/>
                <a:gd name="connsiteY51" fmla="*/ 176213 h 611981"/>
                <a:gd name="connsiteX52" fmla="*/ 111919 w 735806"/>
                <a:gd name="connsiteY52" fmla="*/ 176213 h 611981"/>
                <a:gd name="connsiteX53" fmla="*/ 107156 w 735806"/>
                <a:gd name="connsiteY53" fmla="*/ 164306 h 611981"/>
                <a:gd name="connsiteX54" fmla="*/ 9525 w 735806"/>
                <a:gd name="connsiteY54" fmla="*/ 159544 h 611981"/>
                <a:gd name="connsiteX55" fmla="*/ 0 w 735806"/>
                <a:gd name="connsiteY55" fmla="*/ 190500 h 611981"/>
                <a:gd name="connsiteX56" fmla="*/ 2381 w 735806"/>
                <a:gd name="connsiteY56" fmla="*/ 261938 h 611981"/>
                <a:gd name="connsiteX57" fmla="*/ 30956 w 735806"/>
                <a:gd name="connsiteY57" fmla="*/ 278606 h 611981"/>
                <a:gd name="connsiteX58" fmla="*/ 47625 w 735806"/>
                <a:gd name="connsiteY58" fmla="*/ 285750 h 611981"/>
                <a:gd name="connsiteX59" fmla="*/ 69056 w 735806"/>
                <a:gd name="connsiteY59" fmla="*/ 292894 h 611981"/>
                <a:gd name="connsiteX60" fmla="*/ 80962 w 735806"/>
                <a:gd name="connsiteY60" fmla="*/ 319088 h 611981"/>
                <a:gd name="connsiteX61" fmla="*/ 109537 w 735806"/>
                <a:gd name="connsiteY61" fmla="*/ 340519 h 611981"/>
                <a:gd name="connsiteX62" fmla="*/ 111919 w 735806"/>
                <a:gd name="connsiteY62" fmla="*/ 390525 h 611981"/>
                <a:gd name="connsiteX63" fmla="*/ 128587 w 735806"/>
                <a:gd name="connsiteY63" fmla="*/ 428625 h 611981"/>
                <a:gd name="connsiteX64" fmla="*/ 104775 w 735806"/>
                <a:gd name="connsiteY64" fmla="*/ 445294 h 611981"/>
                <a:gd name="connsiteX65" fmla="*/ 123825 w 735806"/>
                <a:gd name="connsiteY65" fmla="*/ 504825 h 611981"/>
                <a:gd name="connsiteX0" fmla="*/ 123825 w 735806"/>
                <a:gd name="connsiteY0" fmla="*/ 504825 h 614362"/>
                <a:gd name="connsiteX1" fmla="*/ 207169 w 735806"/>
                <a:gd name="connsiteY1" fmla="*/ 528638 h 614362"/>
                <a:gd name="connsiteX2" fmla="*/ 235744 w 735806"/>
                <a:gd name="connsiteY2" fmla="*/ 535781 h 614362"/>
                <a:gd name="connsiteX3" fmla="*/ 257175 w 735806"/>
                <a:gd name="connsiteY3" fmla="*/ 531019 h 614362"/>
                <a:gd name="connsiteX4" fmla="*/ 259556 w 735806"/>
                <a:gd name="connsiteY4" fmla="*/ 547688 h 614362"/>
                <a:gd name="connsiteX5" fmla="*/ 266700 w 735806"/>
                <a:gd name="connsiteY5" fmla="*/ 604838 h 614362"/>
                <a:gd name="connsiteX6" fmla="*/ 276225 w 735806"/>
                <a:gd name="connsiteY6" fmla="*/ 611981 h 614362"/>
                <a:gd name="connsiteX7" fmla="*/ 276225 w 735806"/>
                <a:gd name="connsiteY7" fmla="*/ 611981 h 614362"/>
                <a:gd name="connsiteX8" fmla="*/ 311944 w 735806"/>
                <a:gd name="connsiteY8" fmla="*/ 614362 h 614362"/>
                <a:gd name="connsiteX9" fmla="*/ 323850 w 735806"/>
                <a:gd name="connsiteY9" fmla="*/ 566738 h 614362"/>
                <a:gd name="connsiteX10" fmla="*/ 340519 w 735806"/>
                <a:gd name="connsiteY10" fmla="*/ 561975 h 614362"/>
                <a:gd name="connsiteX11" fmla="*/ 364331 w 735806"/>
                <a:gd name="connsiteY11" fmla="*/ 585788 h 614362"/>
                <a:gd name="connsiteX12" fmla="*/ 381000 w 735806"/>
                <a:gd name="connsiteY12" fmla="*/ 600075 h 614362"/>
                <a:gd name="connsiteX13" fmla="*/ 400050 w 735806"/>
                <a:gd name="connsiteY13" fmla="*/ 607219 h 614362"/>
                <a:gd name="connsiteX14" fmla="*/ 426244 w 735806"/>
                <a:gd name="connsiteY14" fmla="*/ 573881 h 614362"/>
                <a:gd name="connsiteX15" fmla="*/ 433387 w 735806"/>
                <a:gd name="connsiteY15" fmla="*/ 533400 h 614362"/>
                <a:gd name="connsiteX16" fmla="*/ 447675 w 735806"/>
                <a:gd name="connsiteY16" fmla="*/ 504825 h 614362"/>
                <a:gd name="connsiteX17" fmla="*/ 473869 w 735806"/>
                <a:gd name="connsiteY17" fmla="*/ 542925 h 614362"/>
                <a:gd name="connsiteX18" fmla="*/ 495300 w 735806"/>
                <a:gd name="connsiteY18" fmla="*/ 561975 h 614362"/>
                <a:gd name="connsiteX19" fmla="*/ 516731 w 735806"/>
                <a:gd name="connsiteY19" fmla="*/ 578644 h 614362"/>
                <a:gd name="connsiteX20" fmla="*/ 550069 w 735806"/>
                <a:gd name="connsiteY20" fmla="*/ 566738 h 614362"/>
                <a:gd name="connsiteX21" fmla="*/ 557212 w 735806"/>
                <a:gd name="connsiteY21" fmla="*/ 547688 h 614362"/>
                <a:gd name="connsiteX22" fmla="*/ 557212 w 735806"/>
                <a:gd name="connsiteY22" fmla="*/ 535781 h 614362"/>
                <a:gd name="connsiteX23" fmla="*/ 531019 w 735806"/>
                <a:gd name="connsiteY23" fmla="*/ 511969 h 614362"/>
                <a:gd name="connsiteX24" fmla="*/ 514350 w 735806"/>
                <a:gd name="connsiteY24" fmla="*/ 421481 h 614362"/>
                <a:gd name="connsiteX25" fmla="*/ 514350 w 735806"/>
                <a:gd name="connsiteY25" fmla="*/ 421481 h 614362"/>
                <a:gd name="connsiteX26" fmla="*/ 464344 w 735806"/>
                <a:gd name="connsiteY26" fmla="*/ 445294 h 614362"/>
                <a:gd name="connsiteX27" fmla="*/ 438150 w 735806"/>
                <a:gd name="connsiteY27" fmla="*/ 431006 h 614362"/>
                <a:gd name="connsiteX28" fmla="*/ 426244 w 735806"/>
                <a:gd name="connsiteY28" fmla="*/ 385763 h 614362"/>
                <a:gd name="connsiteX29" fmla="*/ 411956 w 735806"/>
                <a:gd name="connsiteY29" fmla="*/ 381000 h 614362"/>
                <a:gd name="connsiteX30" fmla="*/ 388144 w 735806"/>
                <a:gd name="connsiteY30" fmla="*/ 350044 h 614362"/>
                <a:gd name="connsiteX31" fmla="*/ 409575 w 735806"/>
                <a:gd name="connsiteY31" fmla="*/ 314325 h 614362"/>
                <a:gd name="connsiteX32" fmla="*/ 507206 w 735806"/>
                <a:gd name="connsiteY32" fmla="*/ 338138 h 614362"/>
                <a:gd name="connsiteX33" fmla="*/ 528637 w 735806"/>
                <a:gd name="connsiteY33" fmla="*/ 311944 h 614362"/>
                <a:gd name="connsiteX34" fmla="*/ 626269 w 735806"/>
                <a:gd name="connsiteY34" fmla="*/ 290513 h 614362"/>
                <a:gd name="connsiteX35" fmla="*/ 631031 w 735806"/>
                <a:gd name="connsiteY35" fmla="*/ 240506 h 614362"/>
                <a:gd name="connsiteX36" fmla="*/ 714375 w 735806"/>
                <a:gd name="connsiteY36" fmla="*/ 166688 h 614362"/>
                <a:gd name="connsiteX37" fmla="*/ 735806 w 735806"/>
                <a:gd name="connsiteY37" fmla="*/ 71438 h 614362"/>
                <a:gd name="connsiteX38" fmla="*/ 707231 w 735806"/>
                <a:gd name="connsiteY38" fmla="*/ 0 h 614362"/>
                <a:gd name="connsiteX39" fmla="*/ 614362 w 735806"/>
                <a:gd name="connsiteY39" fmla="*/ 47625 h 614362"/>
                <a:gd name="connsiteX40" fmla="*/ 614362 w 735806"/>
                <a:gd name="connsiteY40" fmla="*/ 66675 h 614362"/>
                <a:gd name="connsiteX41" fmla="*/ 597694 w 735806"/>
                <a:gd name="connsiteY41" fmla="*/ 135731 h 614362"/>
                <a:gd name="connsiteX42" fmla="*/ 566737 w 735806"/>
                <a:gd name="connsiteY42" fmla="*/ 130969 h 614362"/>
                <a:gd name="connsiteX43" fmla="*/ 514350 w 735806"/>
                <a:gd name="connsiteY43" fmla="*/ 164306 h 614362"/>
                <a:gd name="connsiteX44" fmla="*/ 433387 w 735806"/>
                <a:gd name="connsiteY44" fmla="*/ 123825 h 614362"/>
                <a:gd name="connsiteX45" fmla="*/ 402431 w 735806"/>
                <a:gd name="connsiteY45" fmla="*/ 128588 h 614362"/>
                <a:gd name="connsiteX46" fmla="*/ 359569 w 735806"/>
                <a:gd name="connsiteY46" fmla="*/ 154781 h 614362"/>
                <a:gd name="connsiteX47" fmla="*/ 307181 w 735806"/>
                <a:gd name="connsiteY47" fmla="*/ 154781 h 614362"/>
                <a:gd name="connsiteX48" fmla="*/ 280987 w 735806"/>
                <a:gd name="connsiteY48" fmla="*/ 188119 h 614362"/>
                <a:gd name="connsiteX49" fmla="*/ 209550 w 735806"/>
                <a:gd name="connsiteY49" fmla="*/ 171450 h 614362"/>
                <a:gd name="connsiteX50" fmla="*/ 154781 w 735806"/>
                <a:gd name="connsiteY50" fmla="*/ 197644 h 614362"/>
                <a:gd name="connsiteX51" fmla="*/ 126206 w 735806"/>
                <a:gd name="connsiteY51" fmla="*/ 176213 h 614362"/>
                <a:gd name="connsiteX52" fmla="*/ 111919 w 735806"/>
                <a:gd name="connsiteY52" fmla="*/ 176213 h 614362"/>
                <a:gd name="connsiteX53" fmla="*/ 107156 w 735806"/>
                <a:gd name="connsiteY53" fmla="*/ 164306 h 614362"/>
                <a:gd name="connsiteX54" fmla="*/ 9525 w 735806"/>
                <a:gd name="connsiteY54" fmla="*/ 159544 h 614362"/>
                <a:gd name="connsiteX55" fmla="*/ 0 w 735806"/>
                <a:gd name="connsiteY55" fmla="*/ 190500 h 614362"/>
                <a:gd name="connsiteX56" fmla="*/ 2381 w 735806"/>
                <a:gd name="connsiteY56" fmla="*/ 261938 h 614362"/>
                <a:gd name="connsiteX57" fmla="*/ 30956 w 735806"/>
                <a:gd name="connsiteY57" fmla="*/ 278606 h 614362"/>
                <a:gd name="connsiteX58" fmla="*/ 47625 w 735806"/>
                <a:gd name="connsiteY58" fmla="*/ 285750 h 614362"/>
                <a:gd name="connsiteX59" fmla="*/ 69056 w 735806"/>
                <a:gd name="connsiteY59" fmla="*/ 292894 h 614362"/>
                <a:gd name="connsiteX60" fmla="*/ 80962 w 735806"/>
                <a:gd name="connsiteY60" fmla="*/ 319088 h 614362"/>
                <a:gd name="connsiteX61" fmla="*/ 109537 w 735806"/>
                <a:gd name="connsiteY61" fmla="*/ 340519 h 614362"/>
                <a:gd name="connsiteX62" fmla="*/ 111919 w 735806"/>
                <a:gd name="connsiteY62" fmla="*/ 390525 h 614362"/>
                <a:gd name="connsiteX63" fmla="*/ 128587 w 735806"/>
                <a:gd name="connsiteY63" fmla="*/ 428625 h 614362"/>
                <a:gd name="connsiteX64" fmla="*/ 104775 w 735806"/>
                <a:gd name="connsiteY64" fmla="*/ 445294 h 614362"/>
                <a:gd name="connsiteX65" fmla="*/ 123825 w 735806"/>
                <a:gd name="connsiteY65" fmla="*/ 504825 h 614362"/>
                <a:gd name="connsiteX0" fmla="*/ 123825 w 735806"/>
                <a:gd name="connsiteY0" fmla="*/ 504825 h 614362"/>
                <a:gd name="connsiteX1" fmla="*/ 207169 w 735806"/>
                <a:gd name="connsiteY1" fmla="*/ 528638 h 614362"/>
                <a:gd name="connsiteX2" fmla="*/ 235744 w 735806"/>
                <a:gd name="connsiteY2" fmla="*/ 535781 h 614362"/>
                <a:gd name="connsiteX3" fmla="*/ 257175 w 735806"/>
                <a:gd name="connsiteY3" fmla="*/ 531019 h 614362"/>
                <a:gd name="connsiteX4" fmla="*/ 259556 w 735806"/>
                <a:gd name="connsiteY4" fmla="*/ 547688 h 614362"/>
                <a:gd name="connsiteX5" fmla="*/ 259556 w 735806"/>
                <a:gd name="connsiteY5" fmla="*/ 592932 h 614362"/>
                <a:gd name="connsiteX6" fmla="*/ 276225 w 735806"/>
                <a:gd name="connsiteY6" fmla="*/ 611981 h 614362"/>
                <a:gd name="connsiteX7" fmla="*/ 276225 w 735806"/>
                <a:gd name="connsiteY7" fmla="*/ 611981 h 614362"/>
                <a:gd name="connsiteX8" fmla="*/ 311944 w 735806"/>
                <a:gd name="connsiteY8" fmla="*/ 614362 h 614362"/>
                <a:gd name="connsiteX9" fmla="*/ 323850 w 735806"/>
                <a:gd name="connsiteY9" fmla="*/ 566738 h 614362"/>
                <a:gd name="connsiteX10" fmla="*/ 340519 w 735806"/>
                <a:gd name="connsiteY10" fmla="*/ 561975 h 614362"/>
                <a:gd name="connsiteX11" fmla="*/ 364331 w 735806"/>
                <a:gd name="connsiteY11" fmla="*/ 585788 h 614362"/>
                <a:gd name="connsiteX12" fmla="*/ 381000 w 735806"/>
                <a:gd name="connsiteY12" fmla="*/ 600075 h 614362"/>
                <a:gd name="connsiteX13" fmla="*/ 400050 w 735806"/>
                <a:gd name="connsiteY13" fmla="*/ 607219 h 614362"/>
                <a:gd name="connsiteX14" fmla="*/ 426244 w 735806"/>
                <a:gd name="connsiteY14" fmla="*/ 573881 h 614362"/>
                <a:gd name="connsiteX15" fmla="*/ 433387 w 735806"/>
                <a:gd name="connsiteY15" fmla="*/ 533400 h 614362"/>
                <a:gd name="connsiteX16" fmla="*/ 447675 w 735806"/>
                <a:gd name="connsiteY16" fmla="*/ 504825 h 614362"/>
                <a:gd name="connsiteX17" fmla="*/ 473869 w 735806"/>
                <a:gd name="connsiteY17" fmla="*/ 542925 h 614362"/>
                <a:gd name="connsiteX18" fmla="*/ 495300 w 735806"/>
                <a:gd name="connsiteY18" fmla="*/ 561975 h 614362"/>
                <a:gd name="connsiteX19" fmla="*/ 516731 w 735806"/>
                <a:gd name="connsiteY19" fmla="*/ 578644 h 614362"/>
                <a:gd name="connsiteX20" fmla="*/ 550069 w 735806"/>
                <a:gd name="connsiteY20" fmla="*/ 566738 h 614362"/>
                <a:gd name="connsiteX21" fmla="*/ 557212 w 735806"/>
                <a:gd name="connsiteY21" fmla="*/ 547688 h 614362"/>
                <a:gd name="connsiteX22" fmla="*/ 557212 w 735806"/>
                <a:gd name="connsiteY22" fmla="*/ 535781 h 614362"/>
                <a:gd name="connsiteX23" fmla="*/ 531019 w 735806"/>
                <a:gd name="connsiteY23" fmla="*/ 511969 h 614362"/>
                <a:gd name="connsiteX24" fmla="*/ 514350 w 735806"/>
                <a:gd name="connsiteY24" fmla="*/ 421481 h 614362"/>
                <a:gd name="connsiteX25" fmla="*/ 514350 w 735806"/>
                <a:gd name="connsiteY25" fmla="*/ 421481 h 614362"/>
                <a:gd name="connsiteX26" fmla="*/ 464344 w 735806"/>
                <a:gd name="connsiteY26" fmla="*/ 445294 h 614362"/>
                <a:gd name="connsiteX27" fmla="*/ 438150 w 735806"/>
                <a:gd name="connsiteY27" fmla="*/ 431006 h 614362"/>
                <a:gd name="connsiteX28" fmla="*/ 426244 w 735806"/>
                <a:gd name="connsiteY28" fmla="*/ 385763 h 614362"/>
                <a:gd name="connsiteX29" fmla="*/ 411956 w 735806"/>
                <a:gd name="connsiteY29" fmla="*/ 381000 h 614362"/>
                <a:gd name="connsiteX30" fmla="*/ 388144 w 735806"/>
                <a:gd name="connsiteY30" fmla="*/ 350044 h 614362"/>
                <a:gd name="connsiteX31" fmla="*/ 409575 w 735806"/>
                <a:gd name="connsiteY31" fmla="*/ 314325 h 614362"/>
                <a:gd name="connsiteX32" fmla="*/ 507206 w 735806"/>
                <a:gd name="connsiteY32" fmla="*/ 338138 h 614362"/>
                <a:gd name="connsiteX33" fmla="*/ 528637 w 735806"/>
                <a:gd name="connsiteY33" fmla="*/ 311944 h 614362"/>
                <a:gd name="connsiteX34" fmla="*/ 626269 w 735806"/>
                <a:gd name="connsiteY34" fmla="*/ 290513 h 614362"/>
                <a:gd name="connsiteX35" fmla="*/ 631031 w 735806"/>
                <a:gd name="connsiteY35" fmla="*/ 240506 h 614362"/>
                <a:gd name="connsiteX36" fmla="*/ 714375 w 735806"/>
                <a:gd name="connsiteY36" fmla="*/ 166688 h 614362"/>
                <a:gd name="connsiteX37" fmla="*/ 735806 w 735806"/>
                <a:gd name="connsiteY37" fmla="*/ 71438 h 614362"/>
                <a:gd name="connsiteX38" fmla="*/ 707231 w 735806"/>
                <a:gd name="connsiteY38" fmla="*/ 0 h 614362"/>
                <a:gd name="connsiteX39" fmla="*/ 614362 w 735806"/>
                <a:gd name="connsiteY39" fmla="*/ 47625 h 614362"/>
                <a:gd name="connsiteX40" fmla="*/ 614362 w 735806"/>
                <a:gd name="connsiteY40" fmla="*/ 66675 h 614362"/>
                <a:gd name="connsiteX41" fmla="*/ 597694 w 735806"/>
                <a:gd name="connsiteY41" fmla="*/ 135731 h 614362"/>
                <a:gd name="connsiteX42" fmla="*/ 566737 w 735806"/>
                <a:gd name="connsiteY42" fmla="*/ 130969 h 614362"/>
                <a:gd name="connsiteX43" fmla="*/ 514350 w 735806"/>
                <a:gd name="connsiteY43" fmla="*/ 164306 h 614362"/>
                <a:gd name="connsiteX44" fmla="*/ 433387 w 735806"/>
                <a:gd name="connsiteY44" fmla="*/ 123825 h 614362"/>
                <a:gd name="connsiteX45" fmla="*/ 402431 w 735806"/>
                <a:gd name="connsiteY45" fmla="*/ 128588 h 614362"/>
                <a:gd name="connsiteX46" fmla="*/ 359569 w 735806"/>
                <a:gd name="connsiteY46" fmla="*/ 154781 h 614362"/>
                <a:gd name="connsiteX47" fmla="*/ 307181 w 735806"/>
                <a:gd name="connsiteY47" fmla="*/ 154781 h 614362"/>
                <a:gd name="connsiteX48" fmla="*/ 280987 w 735806"/>
                <a:gd name="connsiteY48" fmla="*/ 188119 h 614362"/>
                <a:gd name="connsiteX49" fmla="*/ 209550 w 735806"/>
                <a:gd name="connsiteY49" fmla="*/ 171450 h 614362"/>
                <a:gd name="connsiteX50" fmla="*/ 154781 w 735806"/>
                <a:gd name="connsiteY50" fmla="*/ 197644 h 614362"/>
                <a:gd name="connsiteX51" fmla="*/ 126206 w 735806"/>
                <a:gd name="connsiteY51" fmla="*/ 176213 h 614362"/>
                <a:gd name="connsiteX52" fmla="*/ 111919 w 735806"/>
                <a:gd name="connsiteY52" fmla="*/ 176213 h 614362"/>
                <a:gd name="connsiteX53" fmla="*/ 107156 w 735806"/>
                <a:gd name="connsiteY53" fmla="*/ 164306 h 614362"/>
                <a:gd name="connsiteX54" fmla="*/ 9525 w 735806"/>
                <a:gd name="connsiteY54" fmla="*/ 159544 h 614362"/>
                <a:gd name="connsiteX55" fmla="*/ 0 w 735806"/>
                <a:gd name="connsiteY55" fmla="*/ 190500 h 614362"/>
                <a:gd name="connsiteX56" fmla="*/ 2381 w 735806"/>
                <a:gd name="connsiteY56" fmla="*/ 261938 h 614362"/>
                <a:gd name="connsiteX57" fmla="*/ 30956 w 735806"/>
                <a:gd name="connsiteY57" fmla="*/ 278606 h 614362"/>
                <a:gd name="connsiteX58" fmla="*/ 47625 w 735806"/>
                <a:gd name="connsiteY58" fmla="*/ 285750 h 614362"/>
                <a:gd name="connsiteX59" fmla="*/ 69056 w 735806"/>
                <a:gd name="connsiteY59" fmla="*/ 292894 h 614362"/>
                <a:gd name="connsiteX60" fmla="*/ 80962 w 735806"/>
                <a:gd name="connsiteY60" fmla="*/ 319088 h 614362"/>
                <a:gd name="connsiteX61" fmla="*/ 109537 w 735806"/>
                <a:gd name="connsiteY61" fmla="*/ 340519 h 614362"/>
                <a:gd name="connsiteX62" fmla="*/ 111919 w 735806"/>
                <a:gd name="connsiteY62" fmla="*/ 390525 h 614362"/>
                <a:gd name="connsiteX63" fmla="*/ 128587 w 735806"/>
                <a:gd name="connsiteY63" fmla="*/ 428625 h 614362"/>
                <a:gd name="connsiteX64" fmla="*/ 104775 w 735806"/>
                <a:gd name="connsiteY64" fmla="*/ 445294 h 614362"/>
                <a:gd name="connsiteX65" fmla="*/ 123825 w 735806"/>
                <a:gd name="connsiteY65" fmla="*/ 504825 h 614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735806" h="614362">
                  <a:moveTo>
                    <a:pt x="123825" y="504825"/>
                  </a:moveTo>
                  <a:lnTo>
                    <a:pt x="207169" y="528638"/>
                  </a:lnTo>
                  <a:lnTo>
                    <a:pt x="235744" y="535781"/>
                  </a:lnTo>
                  <a:lnTo>
                    <a:pt x="257175" y="531019"/>
                  </a:lnTo>
                  <a:lnTo>
                    <a:pt x="259556" y="547688"/>
                  </a:lnTo>
                  <a:lnTo>
                    <a:pt x="259556" y="592932"/>
                  </a:lnTo>
                  <a:lnTo>
                    <a:pt x="276225" y="611981"/>
                  </a:lnTo>
                  <a:lnTo>
                    <a:pt x="276225" y="611981"/>
                  </a:lnTo>
                  <a:lnTo>
                    <a:pt x="311944" y="614362"/>
                  </a:lnTo>
                  <a:lnTo>
                    <a:pt x="323850" y="566738"/>
                  </a:lnTo>
                  <a:lnTo>
                    <a:pt x="340519" y="561975"/>
                  </a:lnTo>
                  <a:lnTo>
                    <a:pt x="364331" y="585788"/>
                  </a:lnTo>
                  <a:lnTo>
                    <a:pt x="381000" y="600075"/>
                  </a:lnTo>
                  <a:lnTo>
                    <a:pt x="400050" y="607219"/>
                  </a:lnTo>
                  <a:lnTo>
                    <a:pt x="426244" y="573881"/>
                  </a:lnTo>
                  <a:lnTo>
                    <a:pt x="433387" y="533400"/>
                  </a:lnTo>
                  <a:lnTo>
                    <a:pt x="447675" y="504825"/>
                  </a:lnTo>
                  <a:lnTo>
                    <a:pt x="473869" y="542925"/>
                  </a:lnTo>
                  <a:lnTo>
                    <a:pt x="495300" y="561975"/>
                  </a:lnTo>
                  <a:lnTo>
                    <a:pt x="516731" y="578644"/>
                  </a:lnTo>
                  <a:lnTo>
                    <a:pt x="550069" y="566738"/>
                  </a:lnTo>
                  <a:lnTo>
                    <a:pt x="557212" y="547688"/>
                  </a:lnTo>
                  <a:lnTo>
                    <a:pt x="557212" y="535781"/>
                  </a:lnTo>
                  <a:lnTo>
                    <a:pt x="531019" y="511969"/>
                  </a:lnTo>
                  <a:lnTo>
                    <a:pt x="514350" y="421481"/>
                  </a:lnTo>
                  <a:lnTo>
                    <a:pt x="514350" y="421481"/>
                  </a:lnTo>
                  <a:lnTo>
                    <a:pt x="464344" y="445294"/>
                  </a:lnTo>
                  <a:lnTo>
                    <a:pt x="438150" y="431006"/>
                  </a:lnTo>
                  <a:lnTo>
                    <a:pt x="426244" y="385763"/>
                  </a:lnTo>
                  <a:lnTo>
                    <a:pt x="411956" y="381000"/>
                  </a:lnTo>
                  <a:lnTo>
                    <a:pt x="388144" y="350044"/>
                  </a:lnTo>
                  <a:lnTo>
                    <a:pt x="409575" y="314325"/>
                  </a:lnTo>
                  <a:lnTo>
                    <a:pt x="507206" y="338138"/>
                  </a:lnTo>
                  <a:lnTo>
                    <a:pt x="528637" y="311944"/>
                  </a:lnTo>
                  <a:lnTo>
                    <a:pt x="626269" y="290513"/>
                  </a:lnTo>
                  <a:lnTo>
                    <a:pt x="631031" y="240506"/>
                  </a:lnTo>
                  <a:lnTo>
                    <a:pt x="714375" y="166688"/>
                  </a:lnTo>
                  <a:lnTo>
                    <a:pt x="735806" y="71438"/>
                  </a:lnTo>
                  <a:lnTo>
                    <a:pt x="707231" y="0"/>
                  </a:lnTo>
                  <a:lnTo>
                    <a:pt x="614362" y="47625"/>
                  </a:lnTo>
                  <a:lnTo>
                    <a:pt x="614362" y="66675"/>
                  </a:lnTo>
                  <a:lnTo>
                    <a:pt x="597694" y="135731"/>
                  </a:lnTo>
                  <a:lnTo>
                    <a:pt x="566737" y="130969"/>
                  </a:lnTo>
                  <a:lnTo>
                    <a:pt x="514350" y="164306"/>
                  </a:lnTo>
                  <a:lnTo>
                    <a:pt x="433387" y="123825"/>
                  </a:lnTo>
                  <a:lnTo>
                    <a:pt x="402431" y="128588"/>
                  </a:lnTo>
                  <a:lnTo>
                    <a:pt x="359569" y="154781"/>
                  </a:lnTo>
                  <a:lnTo>
                    <a:pt x="307181" y="154781"/>
                  </a:lnTo>
                  <a:lnTo>
                    <a:pt x="280987" y="188119"/>
                  </a:lnTo>
                  <a:lnTo>
                    <a:pt x="209550" y="171450"/>
                  </a:lnTo>
                  <a:lnTo>
                    <a:pt x="154781" y="197644"/>
                  </a:lnTo>
                  <a:lnTo>
                    <a:pt x="126206" y="176213"/>
                  </a:lnTo>
                  <a:lnTo>
                    <a:pt x="111919" y="176213"/>
                  </a:lnTo>
                  <a:lnTo>
                    <a:pt x="107156" y="164306"/>
                  </a:lnTo>
                  <a:lnTo>
                    <a:pt x="9525" y="159544"/>
                  </a:lnTo>
                  <a:lnTo>
                    <a:pt x="0" y="190500"/>
                  </a:lnTo>
                  <a:cubicBezTo>
                    <a:pt x="794" y="214313"/>
                    <a:pt x="1587" y="238125"/>
                    <a:pt x="2381" y="261938"/>
                  </a:cubicBezTo>
                  <a:lnTo>
                    <a:pt x="30956" y="278606"/>
                  </a:lnTo>
                  <a:lnTo>
                    <a:pt x="47625" y="285750"/>
                  </a:lnTo>
                  <a:lnTo>
                    <a:pt x="69056" y="292894"/>
                  </a:lnTo>
                  <a:lnTo>
                    <a:pt x="80962" y="319088"/>
                  </a:lnTo>
                  <a:lnTo>
                    <a:pt x="109537" y="340519"/>
                  </a:lnTo>
                  <a:lnTo>
                    <a:pt x="111919" y="390525"/>
                  </a:lnTo>
                  <a:lnTo>
                    <a:pt x="128587" y="428625"/>
                  </a:lnTo>
                  <a:lnTo>
                    <a:pt x="104775" y="445294"/>
                  </a:lnTo>
                  <a:lnTo>
                    <a:pt x="123825" y="504825"/>
                  </a:lnTo>
                  <a:close/>
                </a:path>
              </a:pathLst>
            </a:custGeom>
            <a:solidFill>
              <a:schemeClr val="bg1"/>
            </a:solidFill>
            <a:ln w="317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a:lstStyle/>
            <a:p>
              <a:pPr>
                <a:defRPr/>
              </a:pPr>
              <a:endParaRPr lang="en-GB" dirty="0"/>
            </a:p>
          </p:txBody>
        </p:sp>
        <p:sp>
          <p:nvSpPr>
            <p:cNvPr id="58" name="Freeform 57"/>
            <p:cNvSpPr/>
            <p:nvPr/>
          </p:nvSpPr>
          <p:spPr>
            <a:xfrm>
              <a:off x="6728222" y="3127921"/>
              <a:ext cx="207963" cy="295275"/>
            </a:xfrm>
            <a:custGeom>
              <a:avLst/>
              <a:gdLst>
                <a:gd name="connsiteX0" fmla="*/ 195262 w 207168"/>
                <a:gd name="connsiteY0" fmla="*/ 0 h 295275"/>
                <a:gd name="connsiteX1" fmla="*/ 64293 w 207168"/>
                <a:gd name="connsiteY1" fmla="*/ 45244 h 295275"/>
                <a:gd name="connsiteX2" fmla="*/ 9525 w 207168"/>
                <a:gd name="connsiteY2" fmla="*/ 90488 h 295275"/>
                <a:gd name="connsiteX3" fmla="*/ 2381 w 207168"/>
                <a:gd name="connsiteY3" fmla="*/ 152400 h 295275"/>
                <a:gd name="connsiteX4" fmla="*/ 0 w 207168"/>
                <a:gd name="connsiteY4" fmla="*/ 197644 h 295275"/>
                <a:gd name="connsiteX5" fmla="*/ 7143 w 207168"/>
                <a:gd name="connsiteY5" fmla="*/ 204788 h 295275"/>
                <a:gd name="connsiteX6" fmla="*/ 4762 w 207168"/>
                <a:gd name="connsiteY6" fmla="*/ 228600 h 295275"/>
                <a:gd name="connsiteX7" fmla="*/ 30956 w 207168"/>
                <a:gd name="connsiteY7" fmla="*/ 252413 h 295275"/>
                <a:gd name="connsiteX8" fmla="*/ 52387 w 207168"/>
                <a:gd name="connsiteY8" fmla="*/ 295275 h 295275"/>
                <a:gd name="connsiteX9" fmla="*/ 69056 w 207168"/>
                <a:gd name="connsiteY9" fmla="*/ 288131 h 295275"/>
                <a:gd name="connsiteX10" fmla="*/ 69056 w 207168"/>
                <a:gd name="connsiteY10" fmla="*/ 259556 h 295275"/>
                <a:gd name="connsiteX11" fmla="*/ 88106 w 207168"/>
                <a:gd name="connsiteY11" fmla="*/ 233363 h 295275"/>
                <a:gd name="connsiteX12" fmla="*/ 104775 w 207168"/>
                <a:gd name="connsiteY12" fmla="*/ 228600 h 295275"/>
                <a:gd name="connsiteX13" fmla="*/ 176212 w 207168"/>
                <a:gd name="connsiteY13" fmla="*/ 161925 h 295275"/>
                <a:gd name="connsiteX14" fmla="*/ 180975 w 207168"/>
                <a:gd name="connsiteY14" fmla="*/ 128588 h 295275"/>
                <a:gd name="connsiteX15" fmla="*/ 185737 w 207168"/>
                <a:gd name="connsiteY15" fmla="*/ 97631 h 295275"/>
                <a:gd name="connsiteX16" fmla="*/ 185737 w 207168"/>
                <a:gd name="connsiteY16" fmla="*/ 88106 h 295275"/>
                <a:gd name="connsiteX17" fmla="*/ 207168 w 207168"/>
                <a:gd name="connsiteY17" fmla="*/ 59531 h 295275"/>
                <a:gd name="connsiteX18" fmla="*/ 195262 w 207168"/>
                <a:gd name="connsiteY18"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7168" h="295275">
                  <a:moveTo>
                    <a:pt x="195262" y="0"/>
                  </a:moveTo>
                  <a:lnTo>
                    <a:pt x="64293" y="45244"/>
                  </a:lnTo>
                  <a:lnTo>
                    <a:pt x="9525" y="90488"/>
                  </a:lnTo>
                  <a:lnTo>
                    <a:pt x="2381" y="152400"/>
                  </a:lnTo>
                  <a:lnTo>
                    <a:pt x="0" y="197644"/>
                  </a:lnTo>
                  <a:lnTo>
                    <a:pt x="7143" y="204788"/>
                  </a:lnTo>
                  <a:lnTo>
                    <a:pt x="4762" y="228600"/>
                  </a:lnTo>
                  <a:lnTo>
                    <a:pt x="30956" y="252413"/>
                  </a:lnTo>
                  <a:lnTo>
                    <a:pt x="52387" y="295275"/>
                  </a:lnTo>
                  <a:lnTo>
                    <a:pt x="69056" y="288131"/>
                  </a:lnTo>
                  <a:lnTo>
                    <a:pt x="69056" y="259556"/>
                  </a:lnTo>
                  <a:lnTo>
                    <a:pt x="88106" y="233363"/>
                  </a:lnTo>
                  <a:lnTo>
                    <a:pt x="104775" y="228600"/>
                  </a:lnTo>
                  <a:lnTo>
                    <a:pt x="176212" y="161925"/>
                  </a:lnTo>
                  <a:lnTo>
                    <a:pt x="180975" y="128588"/>
                  </a:lnTo>
                  <a:lnTo>
                    <a:pt x="185737" y="97631"/>
                  </a:lnTo>
                  <a:lnTo>
                    <a:pt x="185737" y="88106"/>
                  </a:lnTo>
                  <a:lnTo>
                    <a:pt x="207168" y="59531"/>
                  </a:lnTo>
                  <a:lnTo>
                    <a:pt x="195262" y="0"/>
                  </a:lnTo>
                  <a:close/>
                </a:path>
              </a:pathLst>
            </a:custGeom>
            <a:solidFill>
              <a:schemeClr val="bg1"/>
            </a:solidFill>
            <a:ln w="317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a:lstStyle/>
            <a:p>
              <a:pPr>
                <a:defRPr/>
              </a:pPr>
              <a:endParaRPr lang="en-GB"/>
            </a:p>
          </p:txBody>
        </p:sp>
        <p:sp>
          <p:nvSpPr>
            <p:cNvPr id="59" name="Freeform 58"/>
            <p:cNvSpPr/>
            <p:nvPr/>
          </p:nvSpPr>
          <p:spPr>
            <a:xfrm>
              <a:off x="6899672" y="3112046"/>
              <a:ext cx="217488" cy="414338"/>
            </a:xfrm>
            <a:custGeom>
              <a:avLst/>
              <a:gdLst>
                <a:gd name="connsiteX0" fmla="*/ 0 w 216693"/>
                <a:gd name="connsiteY0" fmla="*/ 183356 h 411956"/>
                <a:gd name="connsiteX1" fmla="*/ 40481 w 216693"/>
                <a:gd name="connsiteY1" fmla="*/ 254793 h 411956"/>
                <a:gd name="connsiteX2" fmla="*/ 59531 w 216693"/>
                <a:gd name="connsiteY2" fmla="*/ 276225 h 411956"/>
                <a:gd name="connsiteX3" fmla="*/ 71437 w 216693"/>
                <a:gd name="connsiteY3" fmla="*/ 309562 h 411956"/>
                <a:gd name="connsiteX4" fmla="*/ 73818 w 216693"/>
                <a:gd name="connsiteY4" fmla="*/ 342900 h 411956"/>
                <a:gd name="connsiteX5" fmla="*/ 111918 w 216693"/>
                <a:gd name="connsiteY5" fmla="*/ 392906 h 411956"/>
                <a:gd name="connsiteX6" fmla="*/ 130968 w 216693"/>
                <a:gd name="connsiteY6" fmla="*/ 388143 h 411956"/>
                <a:gd name="connsiteX7" fmla="*/ 157162 w 216693"/>
                <a:gd name="connsiteY7" fmla="*/ 411956 h 411956"/>
                <a:gd name="connsiteX8" fmla="*/ 192881 w 216693"/>
                <a:gd name="connsiteY8" fmla="*/ 402431 h 411956"/>
                <a:gd name="connsiteX9" fmla="*/ 185737 w 216693"/>
                <a:gd name="connsiteY9" fmla="*/ 309562 h 411956"/>
                <a:gd name="connsiteX10" fmla="*/ 216693 w 216693"/>
                <a:gd name="connsiteY10" fmla="*/ 257175 h 411956"/>
                <a:gd name="connsiteX11" fmla="*/ 216693 w 216693"/>
                <a:gd name="connsiteY11" fmla="*/ 128587 h 411956"/>
                <a:gd name="connsiteX12" fmla="*/ 211931 w 216693"/>
                <a:gd name="connsiteY12" fmla="*/ 80962 h 411956"/>
                <a:gd name="connsiteX13" fmla="*/ 142875 w 216693"/>
                <a:gd name="connsiteY13" fmla="*/ 28575 h 411956"/>
                <a:gd name="connsiteX14" fmla="*/ 116681 w 216693"/>
                <a:gd name="connsiteY14" fmla="*/ 7143 h 411956"/>
                <a:gd name="connsiteX15" fmla="*/ 78581 w 216693"/>
                <a:gd name="connsiteY15" fmla="*/ 4762 h 411956"/>
                <a:gd name="connsiteX16" fmla="*/ 42862 w 216693"/>
                <a:gd name="connsiteY16" fmla="*/ 0 h 411956"/>
                <a:gd name="connsiteX17" fmla="*/ 35718 w 216693"/>
                <a:gd name="connsiteY17" fmla="*/ 19050 h 411956"/>
                <a:gd name="connsiteX18" fmla="*/ 35718 w 216693"/>
                <a:gd name="connsiteY18" fmla="*/ 19050 h 411956"/>
                <a:gd name="connsiteX19" fmla="*/ 38100 w 216693"/>
                <a:gd name="connsiteY19" fmla="*/ 88106 h 411956"/>
                <a:gd name="connsiteX20" fmla="*/ 11906 w 216693"/>
                <a:gd name="connsiteY20" fmla="*/ 114300 h 411956"/>
                <a:gd name="connsiteX21" fmla="*/ 0 w 216693"/>
                <a:gd name="connsiteY21" fmla="*/ 183356 h 411956"/>
                <a:gd name="connsiteX0" fmla="*/ 0 w 216693"/>
                <a:gd name="connsiteY0" fmla="*/ 183356 h 411956"/>
                <a:gd name="connsiteX1" fmla="*/ 40481 w 216693"/>
                <a:gd name="connsiteY1" fmla="*/ 254793 h 411956"/>
                <a:gd name="connsiteX2" fmla="*/ 59531 w 216693"/>
                <a:gd name="connsiteY2" fmla="*/ 276225 h 411956"/>
                <a:gd name="connsiteX3" fmla="*/ 71437 w 216693"/>
                <a:gd name="connsiteY3" fmla="*/ 309562 h 411956"/>
                <a:gd name="connsiteX4" fmla="*/ 73818 w 216693"/>
                <a:gd name="connsiteY4" fmla="*/ 342900 h 411956"/>
                <a:gd name="connsiteX5" fmla="*/ 111918 w 216693"/>
                <a:gd name="connsiteY5" fmla="*/ 392906 h 411956"/>
                <a:gd name="connsiteX6" fmla="*/ 130968 w 216693"/>
                <a:gd name="connsiteY6" fmla="*/ 388143 h 411956"/>
                <a:gd name="connsiteX7" fmla="*/ 157162 w 216693"/>
                <a:gd name="connsiteY7" fmla="*/ 411956 h 411956"/>
                <a:gd name="connsiteX8" fmla="*/ 192881 w 216693"/>
                <a:gd name="connsiteY8" fmla="*/ 402431 h 411956"/>
                <a:gd name="connsiteX9" fmla="*/ 185737 w 216693"/>
                <a:gd name="connsiteY9" fmla="*/ 309562 h 411956"/>
                <a:gd name="connsiteX10" fmla="*/ 216693 w 216693"/>
                <a:gd name="connsiteY10" fmla="*/ 257175 h 411956"/>
                <a:gd name="connsiteX11" fmla="*/ 216693 w 216693"/>
                <a:gd name="connsiteY11" fmla="*/ 128587 h 411956"/>
                <a:gd name="connsiteX12" fmla="*/ 211931 w 216693"/>
                <a:gd name="connsiteY12" fmla="*/ 80962 h 411956"/>
                <a:gd name="connsiteX13" fmla="*/ 142875 w 216693"/>
                <a:gd name="connsiteY13" fmla="*/ 28575 h 411956"/>
                <a:gd name="connsiteX14" fmla="*/ 116681 w 216693"/>
                <a:gd name="connsiteY14" fmla="*/ 7143 h 411956"/>
                <a:gd name="connsiteX15" fmla="*/ 78581 w 216693"/>
                <a:gd name="connsiteY15" fmla="*/ 4762 h 411956"/>
                <a:gd name="connsiteX16" fmla="*/ 42862 w 216693"/>
                <a:gd name="connsiteY16" fmla="*/ 0 h 411956"/>
                <a:gd name="connsiteX17" fmla="*/ 35718 w 216693"/>
                <a:gd name="connsiteY17" fmla="*/ 19050 h 411956"/>
                <a:gd name="connsiteX18" fmla="*/ 26193 w 216693"/>
                <a:gd name="connsiteY18" fmla="*/ 26194 h 411956"/>
                <a:gd name="connsiteX19" fmla="*/ 38100 w 216693"/>
                <a:gd name="connsiteY19" fmla="*/ 88106 h 411956"/>
                <a:gd name="connsiteX20" fmla="*/ 11906 w 216693"/>
                <a:gd name="connsiteY20" fmla="*/ 114300 h 411956"/>
                <a:gd name="connsiteX21" fmla="*/ 0 w 216693"/>
                <a:gd name="connsiteY21" fmla="*/ 183356 h 411956"/>
                <a:gd name="connsiteX0" fmla="*/ 0 w 216693"/>
                <a:gd name="connsiteY0" fmla="*/ 185737 h 414337"/>
                <a:gd name="connsiteX1" fmla="*/ 40481 w 216693"/>
                <a:gd name="connsiteY1" fmla="*/ 257174 h 414337"/>
                <a:gd name="connsiteX2" fmla="*/ 59531 w 216693"/>
                <a:gd name="connsiteY2" fmla="*/ 278606 h 414337"/>
                <a:gd name="connsiteX3" fmla="*/ 71437 w 216693"/>
                <a:gd name="connsiteY3" fmla="*/ 311943 h 414337"/>
                <a:gd name="connsiteX4" fmla="*/ 73818 w 216693"/>
                <a:gd name="connsiteY4" fmla="*/ 345281 h 414337"/>
                <a:gd name="connsiteX5" fmla="*/ 111918 w 216693"/>
                <a:gd name="connsiteY5" fmla="*/ 395287 h 414337"/>
                <a:gd name="connsiteX6" fmla="*/ 130968 w 216693"/>
                <a:gd name="connsiteY6" fmla="*/ 390524 h 414337"/>
                <a:gd name="connsiteX7" fmla="*/ 157162 w 216693"/>
                <a:gd name="connsiteY7" fmla="*/ 414337 h 414337"/>
                <a:gd name="connsiteX8" fmla="*/ 192881 w 216693"/>
                <a:gd name="connsiteY8" fmla="*/ 404812 h 414337"/>
                <a:gd name="connsiteX9" fmla="*/ 185737 w 216693"/>
                <a:gd name="connsiteY9" fmla="*/ 311943 h 414337"/>
                <a:gd name="connsiteX10" fmla="*/ 216693 w 216693"/>
                <a:gd name="connsiteY10" fmla="*/ 259556 h 414337"/>
                <a:gd name="connsiteX11" fmla="*/ 216693 w 216693"/>
                <a:gd name="connsiteY11" fmla="*/ 130968 h 414337"/>
                <a:gd name="connsiteX12" fmla="*/ 211931 w 216693"/>
                <a:gd name="connsiteY12" fmla="*/ 83343 h 414337"/>
                <a:gd name="connsiteX13" fmla="*/ 142875 w 216693"/>
                <a:gd name="connsiteY13" fmla="*/ 30956 h 414337"/>
                <a:gd name="connsiteX14" fmla="*/ 116681 w 216693"/>
                <a:gd name="connsiteY14" fmla="*/ 9524 h 414337"/>
                <a:gd name="connsiteX15" fmla="*/ 78581 w 216693"/>
                <a:gd name="connsiteY15" fmla="*/ 7143 h 414337"/>
                <a:gd name="connsiteX16" fmla="*/ 30956 w 216693"/>
                <a:gd name="connsiteY16" fmla="*/ 0 h 414337"/>
                <a:gd name="connsiteX17" fmla="*/ 35718 w 216693"/>
                <a:gd name="connsiteY17" fmla="*/ 21431 h 414337"/>
                <a:gd name="connsiteX18" fmla="*/ 26193 w 216693"/>
                <a:gd name="connsiteY18" fmla="*/ 28575 h 414337"/>
                <a:gd name="connsiteX19" fmla="*/ 38100 w 216693"/>
                <a:gd name="connsiteY19" fmla="*/ 90487 h 414337"/>
                <a:gd name="connsiteX20" fmla="*/ 11906 w 216693"/>
                <a:gd name="connsiteY20" fmla="*/ 116681 h 414337"/>
                <a:gd name="connsiteX21" fmla="*/ 0 w 216693"/>
                <a:gd name="connsiteY21" fmla="*/ 185737 h 414337"/>
                <a:gd name="connsiteX0" fmla="*/ 0 w 216693"/>
                <a:gd name="connsiteY0" fmla="*/ 185737 h 414337"/>
                <a:gd name="connsiteX1" fmla="*/ 40481 w 216693"/>
                <a:gd name="connsiteY1" fmla="*/ 257174 h 414337"/>
                <a:gd name="connsiteX2" fmla="*/ 59531 w 216693"/>
                <a:gd name="connsiteY2" fmla="*/ 278606 h 414337"/>
                <a:gd name="connsiteX3" fmla="*/ 71437 w 216693"/>
                <a:gd name="connsiteY3" fmla="*/ 311943 h 414337"/>
                <a:gd name="connsiteX4" fmla="*/ 73818 w 216693"/>
                <a:gd name="connsiteY4" fmla="*/ 345281 h 414337"/>
                <a:gd name="connsiteX5" fmla="*/ 111918 w 216693"/>
                <a:gd name="connsiteY5" fmla="*/ 395287 h 414337"/>
                <a:gd name="connsiteX6" fmla="*/ 130968 w 216693"/>
                <a:gd name="connsiteY6" fmla="*/ 390524 h 414337"/>
                <a:gd name="connsiteX7" fmla="*/ 157162 w 216693"/>
                <a:gd name="connsiteY7" fmla="*/ 414337 h 414337"/>
                <a:gd name="connsiteX8" fmla="*/ 192881 w 216693"/>
                <a:gd name="connsiteY8" fmla="*/ 404812 h 414337"/>
                <a:gd name="connsiteX9" fmla="*/ 185737 w 216693"/>
                <a:gd name="connsiteY9" fmla="*/ 311943 h 414337"/>
                <a:gd name="connsiteX10" fmla="*/ 216693 w 216693"/>
                <a:gd name="connsiteY10" fmla="*/ 259556 h 414337"/>
                <a:gd name="connsiteX11" fmla="*/ 216693 w 216693"/>
                <a:gd name="connsiteY11" fmla="*/ 130968 h 414337"/>
                <a:gd name="connsiteX12" fmla="*/ 211931 w 216693"/>
                <a:gd name="connsiteY12" fmla="*/ 83343 h 414337"/>
                <a:gd name="connsiteX13" fmla="*/ 142875 w 216693"/>
                <a:gd name="connsiteY13" fmla="*/ 30956 h 414337"/>
                <a:gd name="connsiteX14" fmla="*/ 116681 w 216693"/>
                <a:gd name="connsiteY14" fmla="*/ 9524 h 414337"/>
                <a:gd name="connsiteX15" fmla="*/ 78581 w 216693"/>
                <a:gd name="connsiteY15" fmla="*/ 7143 h 414337"/>
                <a:gd name="connsiteX16" fmla="*/ 30956 w 216693"/>
                <a:gd name="connsiteY16" fmla="*/ 0 h 414337"/>
                <a:gd name="connsiteX17" fmla="*/ 23812 w 216693"/>
                <a:gd name="connsiteY17" fmla="*/ 19050 h 414337"/>
                <a:gd name="connsiteX18" fmla="*/ 26193 w 216693"/>
                <a:gd name="connsiteY18" fmla="*/ 28575 h 414337"/>
                <a:gd name="connsiteX19" fmla="*/ 38100 w 216693"/>
                <a:gd name="connsiteY19" fmla="*/ 90487 h 414337"/>
                <a:gd name="connsiteX20" fmla="*/ 11906 w 216693"/>
                <a:gd name="connsiteY20" fmla="*/ 116681 h 414337"/>
                <a:gd name="connsiteX21" fmla="*/ 0 w 216693"/>
                <a:gd name="connsiteY21" fmla="*/ 185737 h 414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16693" h="414337">
                  <a:moveTo>
                    <a:pt x="0" y="185737"/>
                  </a:moveTo>
                  <a:lnTo>
                    <a:pt x="40481" y="257174"/>
                  </a:lnTo>
                  <a:lnTo>
                    <a:pt x="59531" y="278606"/>
                  </a:lnTo>
                  <a:lnTo>
                    <a:pt x="71437" y="311943"/>
                  </a:lnTo>
                  <a:lnTo>
                    <a:pt x="73818" y="345281"/>
                  </a:lnTo>
                  <a:lnTo>
                    <a:pt x="111918" y="395287"/>
                  </a:lnTo>
                  <a:lnTo>
                    <a:pt x="130968" y="390524"/>
                  </a:lnTo>
                  <a:lnTo>
                    <a:pt x="157162" y="414337"/>
                  </a:lnTo>
                  <a:lnTo>
                    <a:pt x="192881" y="404812"/>
                  </a:lnTo>
                  <a:lnTo>
                    <a:pt x="185737" y="311943"/>
                  </a:lnTo>
                  <a:lnTo>
                    <a:pt x="216693" y="259556"/>
                  </a:lnTo>
                  <a:lnTo>
                    <a:pt x="216693" y="130968"/>
                  </a:lnTo>
                  <a:lnTo>
                    <a:pt x="211931" y="83343"/>
                  </a:lnTo>
                  <a:lnTo>
                    <a:pt x="142875" y="30956"/>
                  </a:lnTo>
                  <a:lnTo>
                    <a:pt x="116681" y="9524"/>
                  </a:lnTo>
                  <a:lnTo>
                    <a:pt x="78581" y="7143"/>
                  </a:lnTo>
                  <a:lnTo>
                    <a:pt x="30956" y="0"/>
                  </a:lnTo>
                  <a:cubicBezTo>
                    <a:pt x="28575" y="6350"/>
                    <a:pt x="24606" y="14288"/>
                    <a:pt x="23812" y="19050"/>
                  </a:cubicBezTo>
                  <a:cubicBezTo>
                    <a:pt x="23018" y="23812"/>
                    <a:pt x="23812" y="16669"/>
                    <a:pt x="26193" y="28575"/>
                  </a:cubicBezTo>
                  <a:cubicBezTo>
                    <a:pt x="28574" y="40481"/>
                    <a:pt x="34131" y="69850"/>
                    <a:pt x="38100" y="90487"/>
                  </a:cubicBezTo>
                  <a:lnTo>
                    <a:pt x="11906" y="116681"/>
                  </a:lnTo>
                  <a:cubicBezTo>
                    <a:pt x="11112" y="139700"/>
                    <a:pt x="10319" y="162718"/>
                    <a:pt x="0" y="185737"/>
                  </a:cubicBezTo>
                  <a:close/>
                </a:path>
              </a:pathLst>
            </a:custGeom>
            <a:solidFill>
              <a:schemeClr val="bg1"/>
            </a:solidFill>
            <a:ln w="317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a:lstStyle/>
            <a:p>
              <a:pPr>
                <a:defRPr/>
              </a:pPr>
              <a:endParaRPr lang="en-GB"/>
            </a:p>
          </p:txBody>
        </p:sp>
        <p:sp>
          <p:nvSpPr>
            <p:cNvPr id="60" name="Freeform 59"/>
            <p:cNvSpPr/>
            <p:nvPr/>
          </p:nvSpPr>
          <p:spPr>
            <a:xfrm>
              <a:off x="7012385" y="2892971"/>
              <a:ext cx="334962" cy="301625"/>
            </a:xfrm>
            <a:custGeom>
              <a:avLst/>
              <a:gdLst>
                <a:gd name="connsiteX0" fmla="*/ 104775 w 335757"/>
                <a:gd name="connsiteY0" fmla="*/ 302419 h 302419"/>
                <a:gd name="connsiteX1" fmla="*/ 247650 w 335757"/>
                <a:gd name="connsiteY1" fmla="*/ 276225 h 302419"/>
                <a:gd name="connsiteX2" fmla="*/ 280988 w 335757"/>
                <a:gd name="connsiteY2" fmla="*/ 209550 h 302419"/>
                <a:gd name="connsiteX3" fmla="*/ 302419 w 335757"/>
                <a:gd name="connsiteY3" fmla="*/ 173832 h 302419"/>
                <a:gd name="connsiteX4" fmla="*/ 316707 w 335757"/>
                <a:gd name="connsiteY4" fmla="*/ 138113 h 302419"/>
                <a:gd name="connsiteX5" fmla="*/ 335757 w 335757"/>
                <a:gd name="connsiteY5" fmla="*/ 114300 h 302419"/>
                <a:gd name="connsiteX6" fmla="*/ 314325 w 335757"/>
                <a:gd name="connsiteY6" fmla="*/ 66675 h 302419"/>
                <a:gd name="connsiteX7" fmla="*/ 309563 w 335757"/>
                <a:gd name="connsiteY7" fmla="*/ 30957 h 302419"/>
                <a:gd name="connsiteX8" fmla="*/ 252413 w 335757"/>
                <a:gd name="connsiteY8" fmla="*/ 7144 h 302419"/>
                <a:gd name="connsiteX9" fmla="*/ 216694 w 335757"/>
                <a:gd name="connsiteY9" fmla="*/ 0 h 302419"/>
                <a:gd name="connsiteX10" fmla="*/ 169069 w 335757"/>
                <a:gd name="connsiteY10" fmla="*/ 16669 h 302419"/>
                <a:gd name="connsiteX11" fmla="*/ 135732 w 335757"/>
                <a:gd name="connsiteY11" fmla="*/ 40482 h 302419"/>
                <a:gd name="connsiteX12" fmla="*/ 66675 w 335757"/>
                <a:gd name="connsiteY12" fmla="*/ 102394 h 302419"/>
                <a:gd name="connsiteX13" fmla="*/ 76200 w 335757"/>
                <a:gd name="connsiteY13" fmla="*/ 176213 h 302419"/>
                <a:gd name="connsiteX14" fmla="*/ 0 w 335757"/>
                <a:gd name="connsiteY14" fmla="*/ 221457 h 302419"/>
                <a:gd name="connsiteX15" fmla="*/ 104775 w 335757"/>
                <a:gd name="connsiteY15" fmla="*/ 302419 h 302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35757" h="302419">
                  <a:moveTo>
                    <a:pt x="104775" y="302419"/>
                  </a:moveTo>
                  <a:lnTo>
                    <a:pt x="247650" y="276225"/>
                  </a:lnTo>
                  <a:lnTo>
                    <a:pt x="280988" y="209550"/>
                  </a:lnTo>
                  <a:lnTo>
                    <a:pt x="302419" y="173832"/>
                  </a:lnTo>
                  <a:lnTo>
                    <a:pt x="316707" y="138113"/>
                  </a:lnTo>
                  <a:lnTo>
                    <a:pt x="335757" y="114300"/>
                  </a:lnTo>
                  <a:lnTo>
                    <a:pt x="314325" y="66675"/>
                  </a:lnTo>
                  <a:lnTo>
                    <a:pt x="309563" y="30957"/>
                  </a:lnTo>
                  <a:lnTo>
                    <a:pt x="252413" y="7144"/>
                  </a:lnTo>
                  <a:lnTo>
                    <a:pt x="216694" y="0"/>
                  </a:lnTo>
                  <a:lnTo>
                    <a:pt x="169069" y="16669"/>
                  </a:lnTo>
                  <a:lnTo>
                    <a:pt x="135732" y="40482"/>
                  </a:lnTo>
                  <a:lnTo>
                    <a:pt x="66675" y="102394"/>
                  </a:lnTo>
                  <a:lnTo>
                    <a:pt x="76200" y="176213"/>
                  </a:lnTo>
                  <a:lnTo>
                    <a:pt x="0" y="221457"/>
                  </a:lnTo>
                  <a:lnTo>
                    <a:pt x="104775" y="302419"/>
                  </a:lnTo>
                  <a:close/>
                </a:path>
              </a:pathLst>
            </a:custGeom>
            <a:solidFill>
              <a:schemeClr val="bg1"/>
            </a:solidFill>
            <a:ln w="317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a:lstStyle/>
            <a:p>
              <a:pPr>
                <a:defRPr/>
              </a:pPr>
              <a:endParaRPr lang="en-GB"/>
            </a:p>
          </p:txBody>
        </p:sp>
        <p:sp>
          <p:nvSpPr>
            <p:cNvPr id="61" name="Freeform 60"/>
            <p:cNvSpPr/>
            <p:nvPr/>
          </p:nvSpPr>
          <p:spPr>
            <a:xfrm>
              <a:off x="6412310" y="2384971"/>
              <a:ext cx="1119187" cy="736600"/>
            </a:xfrm>
            <a:custGeom>
              <a:avLst/>
              <a:gdLst>
                <a:gd name="connsiteX0" fmla="*/ 723900 w 1119188"/>
                <a:gd name="connsiteY0" fmla="*/ 554831 h 735806"/>
                <a:gd name="connsiteX1" fmla="*/ 716757 w 1119188"/>
                <a:gd name="connsiteY1" fmla="*/ 497681 h 735806"/>
                <a:gd name="connsiteX2" fmla="*/ 702469 w 1119188"/>
                <a:gd name="connsiteY2" fmla="*/ 473869 h 735806"/>
                <a:gd name="connsiteX3" fmla="*/ 716757 w 1119188"/>
                <a:gd name="connsiteY3" fmla="*/ 459581 h 735806"/>
                <a:gd name="connsiteX4" fmla="*/ 766763 w 1119188"/>
                <a:gd name="connsiteY4" fmla="*/ 461963 h 735806"/>
                <a:gd name="connsiteX5" fmla="*/ 764382 w 1119188"/>
                <a:gd name="connsiteY5" fmla="*/ 426244 h 735806"/>
                <a:gd name="connsiteX6" fmla="*/ 773907 w 1119188"/>
                <a:gd name="connsiteY6" fmla="*/ 407194 h 735806"/>
                <a:gd name="connsiteX7" fmla="*/ 819150 w 1119188"/>
                <a:gd name="connsiteY7" fmla="*/ 376238 h 735806"/>
                <a:gd name="connsiteX8" fmla="*/ 816769 w 1119188"/>
                <a:gd name="connsiteY8" fmla="*/ 283369 h 735806"/>
                <a:gd name="connsiteX9" fmla="*/ 840582 w 1119188"/>
                <a:gd name="connsiteY9" fmla="*/ 273844 h 735806"/>
                <a:gd name="connsiteX10" fmla="*/ 881063 w 1119188"/>
                <a:gd name="connsiteY10" fmla="*/ 321469 h 735806"/>
                <a:gd name="connsiteX11" fmla="*/ 909638 w 1119188"/>
                <a:gd name="connsiteY11" fmla="*/ 307181 h 735806"/>
                <a:gd name="connsiteX12" fmla="*/ 919163 w 1119188"/>
                <a:gd name="connsiteY12" fmla="*/ 264319 h 735806"/>
                <a:gd name="connsiteX13" fmla="*/ 952500 w 1119188"/>
                <a:gd name="connsiteY13" fmla="*/ 259556 h 735806"/>
                <a:gd name="connsiteX14" fmla="*/ 1004888 w 1119188"/>
                <a:gd name="connsiteY14" fmla="*/ 204788 h 735806"/>
                <a:gd name="connsiteX15" fmla="*/ 1035844 w 1119188"/>
                <a:gd name="connsiteY15" fmla="*/ 180975 h 735806"/>
                <a:gd name="connsiteX16" fmla="*/ 1104900 w 1119188"/>
                <a:gd name="connsiteY16" fmla="*/ 157163 h 735806"/>
                <a:gd name="connsiteX17" fmla="*/ 1116807 w 1119188"/>
                <a:gd name="connsiteY17" fmla="*/ 83344 h 735806"/>
                <a:gd name="connsiteX18" fmla="*/ 1116807 w 1119188"/>
                <a:gd name="connsiteY18" fmla="*/ 57150 h 735806"/>
                <a:gd name="connsiteX19" fmla="*/ 1119188 w 1119188"/>
                <a:gd name="connsiteY19" fmla="*/ 35719 h 735806"/>
                <a:gd name="connsiteX20" fmla="*/ 1104900 w 1119188"/>
                <a:gd name="connsiteY20" fmla="*/ 0 h 735806"/>
                <a:gd name="connsiteX21" fmla="*/ 1069182 w 1119188"/>
                <a:gd name="connsiteY21" fmla="*/ 7144 h 735806"/>
                <a:gd name="connsiteX22" fmla="*/ 992982 w 1119188"/>
                <a:gd name="connsiteY22" fmla="*/ 9525 h 735806"/>
                <a:gd name="connsiteX23" fmla="*/ 954882 w 1119188"/>
                <a:gd name="connsiteY23" fmla="*/ 38100 h 735806"/>
                <a:gd name="connsiteX24" fmla="*/ 931069 w 1119188"/>
                <a:gd name="connsiteY24" fmla="*/ 42863 h 735806"/>
                <a:gd name="connsiteX25" fmla="*/ 904875 w 1119188"/>
                <a:gd name="connsiteY25" fmla="*/ 42863 h 735806"/>
                <a:gd name="connsiteX26" fmla="*/ 831057 w 1119188"/>
                <a:gd name="connsiteY26" fmla="*/ 85725 h 735806"/>
                <a:gd name="connsiteX27" fmla="*/ 776288 w 1119188"/>
                <a:gd name="connsiteY27" fmla="*/ 104775 h 735806"/>
                <a:gd name="connsiteX28" fmla="*/ 707232 w 1119188"/>
                <a:gd name="connsiteY28" fmla="*/ 180975 h 735806"/>
                <a:gd name="connsiteX29" fmla="*/ 692944 w 1119188"/>
                <a:gd name="connsiteY29" fmla="*/ 195263 h 735806"/>
                <a:gd name="connsiteX30" fmla="*/ 626269 w 1119188"/>
                <a:gd name="connsiteY30" fmla="*/ 192881 h 735806"/>
                <a:gd name="connsiteX31" fmla="*/ 619125 w 1119188"/>
                <a:gd name="connsiteY31" fmla="*/ 207169 h 735806"/>
                <a:gd name="connsiteX32" fmla="*/ 519113 w 1119188"/>
                <a:gd name="connsiteY32" fmla="*/ 211931 h 735806"/>
                <a:gd name="connsiteX33" fmla="*/ 492919 w 1119188"/>
                <a:gd name="connsiteY33" fmla="*/ 230981 h 735806"/>
                <a:gd name="connsiteX34" fmla="*/ 459582 w 1119188"/>
                <a:gd name="connsiteY34" fmla="*/ 245269 h 735806"/>
                <a:gd name="connsiteX35" fmla="*/ 433388 w 1119188"/>
                <a:gd name="connsiteY35" fmla="*/ 271463 h 735806"/>
                <a:gd name="connsiteX36" fmla="*/ 416719 w 1119188"/>
                <a:gd name="connsiteY36" fmla="*/ 278606 h 735806"/>
                <a:gd name="connsiteX37" fmla="*/ 378619 w 1119188"/>
                <a:gd name="connsiteY37" fmla="*/ 278606 h 735806"/>
                <a:gd name="connsiteX38" fmla="*/ 335757 w 1119188"/>
                <a:gd name="connsiteY38" fmla="*/ 250031 h 735806"/>
                <a:gd name="connsiteX39" fmla="*/ 250032 w 1119188"/>
                <a:gd name="connsiteY39" fmla="*/ 250031 h 735806"/>
                <a:gd name="connsiteX40" fmla="*/ 211932 w 1119188"/>
                <a:gd name="connsiteY40" fmla="*/ 240506 h 735806"/>
                <a:gd name="connsiteX41" fmla="*/ 188119 w 1119188"/>
                <a:gd name="connsiteY41" fmla="*/ 221456 h 735806"/>
                <a:gd name="connsiteX42" fmla="*/ 171450 w 1119188"/>
                <a:gd name="connsiteY42" fmla="*/ 207169 h 735806"/>
                <a:gd name="connsiteX43" fmla="*/ 150019 w 1119188"/>
                <a:gd name="connsiteY43" fmla="*/ 202406 h 735806"/>
                <a:gd name="connsiteX44" fmla="*/ 126207 w 1119188"/>
                <a:gd name="connsiteY44" fmla="*/ 209550 h 735806"/>
                <a:gd name="connsiteX45" fmla="*/ 85725 w 1119188"/>
                <a:gd name="connsiteY45" fmla="*/ 226219 h 735806"/>
                <a:gd name="connsiteX46" fmla="*/ 54769 w 1119188"/>
                <a:gd name="connsiteY46" fmla="*/ 245269 h 735806"/>
                <a:gd name="connsiteX47" fmla="*/ 16669 w 1119188"/>
                <a:gd name="connsiteY47" fmla="*/ 254794 h 735806"/>
                <a:gd name="connsiteX48" fmla="*/ 0 w 1119188"/>
                <a:gd name="connsiteY48" fmla="*/ 261938 h 735806"/>
                <a:gd name="connsiteX49" fmla="*/ 28575 w 1119188"/>
                <a:gd name="connsiteY49" fmla="*/ 278606 h 735806"/>
                <a:gd name="connsiteX50" fmla="*/ 59532 w 1119188"/>
                <a:gd name="connsiteY50" fmla="*/ 278606 h 735806"/>
                <a:gd name="connsiteX51" fmla="*/ 80963 w 1119188"/>
                <a:gd name="connsiteY51" fmla="*/ 278606 h 735806"/>
                <a:gd name="connsiteX52" fmla="*/ 88107 w 1119188"/>
                <a:gd name="connsiteY52" fmla="*/ 276225 h 735806"/>
                <a:gd name="connsiteX53" fmla="*/ 100013 w 1119188"/>
                <a:gd name="connsiteY53" fmla="*/ 261938 h 735806"/>
                <a:gd name="connsiteX54" fmla="*/ 119063 w 1119188"/>
                <a:gd name="connsiteY54" fmla="*/ 259556 h 735806"/>
                <a:gd name="connsiteX55" fmla="*/ 142875 w 1119188"/>
                <a:gd name="connsiteY55" fmla="*/ 257175 h 735806"/>
                <a:gd name="connsiteX56" fmla="*/ 154782 w 1119188"/>
                <a:gd name="connsiteY56" fmla="*/ 271463 h 735806"/>
                <a:gd name="connsiteX57" fmla="*/ 145257 w 1119188"/>
                <a:gd name="connsiteY57" fmla="*/ 292894 h 735806"/>
                <a:gd name="connsiteX58" fmla="*/ 114300 w 1119188"/>
                <a:gd name="connsiteY58" fmla="*/ 304800 h 735806"/>
                <a:gd name="connsiteX59" fmla="*/ 78582 w 1119188"/>
                <a:gd name="connsiteY59" fmla="*/ 397669 h 735806"/>
                <a:gd name="connsiteX60" fmla="*/ 97632 w 1119188"/>
                <a:gd name="connsiteY60" fmla="*/ 421481 h 735806"/>
                <a:gd name="connsiteX61" fmla="*/ 102394 w 1119188"/>
                <a:gd name="connsiteY61" fmla="*/ 464344 h 735806"/>
                <a:gd name="connsiteX62" fmla="*/ 107157 w 1119188"/>
                <a:gd name="connsiteY62" fmla="*/ 481013 h 735806"/>
                <a:gd name="connsiteX63" fmla="*/ 142875 w 1119188"/>
                <a:gd name="connsiteY63" fmla="*/ 471488 h 735806"/>
                <a:gd name="connsiteX64" fmla="*/ 178594 w 1119188"/>
                <a:gd name="connsiteY64" fmla="*/ 459581 h 735806"/>
                <a:gd name="connsiteX65" fmla="*/ 228600 w 1119188"/>
                <a:gd name="connsiteY65" fmla="*/ 471488 h 735806"/>
                <a:gd name="connsiteX66" fmla="*/ 266700 w 1119188"/>
                <a:gd name="connsiteY66" fmla="*/ 481013 h 735806"/>
                <a:gd name="connsiteX67" fmla="*/ 319088 w 1119188"/>
                <a:gd name="connsiteY67" fmla="*/ 478631 h 735806"/>
                <a:gd name="connsiteX68" fmla="*/ 359569 w 1119188"/>
                <a:gd name="connsiteY68" fmla="*/ 461963 h 735806"/>
                <a:gd name="connsiteX69" fmla="*/ 395288 w 1119188"/>
                <a:gd name="connsiteY69" fmla="*/ 442913 h 735806"/>
                <a:gd name="connsiteX70" fmla="*/ 433388 w 1119188"/>
                <a:gd name="connsiteY70" fmla="*/ 450056 h 735806"/>
                <a:gd name="connsiteX71" fmla="*/ 473869 w 1119188"/>
                <a:gd name="connsiteY71" fmla="*/ 469106 h 735806"/>
                <a:gd name="connsiteX72" fmla="*/ 519113 w 1119188"/>
                <a:gd name="connsiteY72" fmla="*/ 495300 h 735806"/>
                <a:gd name="connsiteX73" fmla="*/ 550069 w 1119188"/>
                <a:gd name="connsiteY73" fmla="*/ 521494 h 735806"/>
                <a:gd name="connsiteX74" fmla="*/ 554832 w 1119188"/>
                <a:gd name="connsiteY74" fmla="*/ 559594 h 735806"/>
                <a:gd name="connsiteX75" fmla="*/ 550069 w 1119188"/>
                <a:gd name="connsiteY75" fmla="*/ 614363 h 735806"/>
                <a:gd name="connsiteX76" fmla="*/ 545307 w 1119188"/>
                <a:gd name="connsiteY76" fmla="*/ 645319 h 735806"/>
                <a:gd name="connsiteX77" fmla="*/ 519113 w 1119188"/>
                <a:gd name="connsiteY77" fmla="*/ 657225 h 735806"/>
                <a:gd name="connsiteX78" fmla="*/ 502444 w 1119188"/>
                <a:gd name="connsiteY78" fmla="*/ 673894 h 735806"/>
                <a:gd name="connsiteX79" fmla="*/ 504825 w 1119188"/>
                <a:gd name="connsiteY79" fmla="*/ 707231 h 735806"/>
                <a:gd name="connsiteX80" fmla="*/ 523875 w 1119188"/>
                <a:gd name="connsiteY80" fmla="*/ 731044 h 735806"/>
                <a:gd name="connsiteX81" fmla="*/ 604838 w 1119188"/>
                <a:gd name="connsiteY81" fmla="*/ 735806 h 735806"/>
                <a:gd name="connsiteX82" fmla="*/ 671513 w 1119188"/>
                <a:gd name="connsiteY82" fmla="*/ 685800 h 735806"/>
                <a:gd name="connsiteX83" fmla="*/ 671513 w 1119188"/>
                <a:gd name="connsiteY83" fmla="*/ 604838 h 735806"/>
                <a:gd name="connsiteX84" fmla="*/ 723900 w 1119188"/>
                <a:gd name="connsiteY84" fmla="*/ 554831 h 735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119188" h="735806">
                  <a:moveTo>
                    <a:pt x="723900" y="554831"/>
                  </a:moveTo>
                  <a:lnTo>
                    <a:pt x="716757" y="497681"/>
                  </a:lnTo>
                  <a:lnTo>
                    <a:pt x="702469" y="473869"/>
                  </a:lnTo>
                  <a:lnTo>
                    <a:pt x="716757" y="459581"/>
                  </a:lnTo>
                  <a:lnTo>
                    <a:pt x="766763" y="461963"/>
                  </a:lnTo>
                  <a:lnTo>
                    <a:pt x="764382" y="426244"/>
                  </a:lnTo>
                  <a:lnTo>
                    <a:pt x="773907" y="407194"/>
                  </a:lnTo>
                  <a:lnTo>
                    <a:pt x="819150" y="376238"/>
                  </a:lnTo>
                  <a:cubicBezTo>
                    <a:pt x="818356" y="345282"/>
                    <a:pt x="817563" y="314325"/>
                    <a:pt x="816769" y="283369"/>
                  </a:cubicBezTo>
                  <a:lnTo>
                    <a:pt x="840582" y="273844"/>
                  </a:lnTo>
                  <a:lnTo>
                    <a:pt x="881063" y="321469"/>
                  </a:lnTo>
                  <a:lnTo>
                    <a:pt x="909638" y="307181"/>
                  </a:lnTo>
                  <a:lnTo>
                    <a:pt x="919163" y="264319"/>
                  </a:lnTo>
                  <a:lnTo>
                    <a:pt x="952500" y="259556"/>
                  </a:lnTo>
                  <a:lnTo>
                    <a:pt x="1004888" y="204788"/>
                  </a:lnTo>
                  <a:lnTo>
                    <a:pt x="1035844" y="180975"/>
                  </a:lnTo>
                  <a:lnTo>
                    <a:pt x="1104900" y="157163"/>
                  </a:lnTo>
                  <a:lnTo>
                    <a:pt x="1116807" y="83344"/>
                  </a:lnTo>
                  <a:lnTo>
                    <a:pt x="1116807" y="57150"/>
                  </a:lnTo>
                  <a:lnTo>
                    <a:pt x="1119188" y="35719"/>
                  </a:lnTo>
                  <a:lnTo>
                    <a:pt x="1104900" y="0"/>
                  </a:lnTo>
                  <a:lnTo>
                    <a:pt x="1069182" y="7144"/>
                  </a:lnTo>
                  <a:lnTo>
                    <a:pt x="992982" y="9525"/>
                  </a:lnTo>
                  <a:lnTo>
                    <a:pt x="954882" y="38100"/>
                  </a:lnTo>
                  <a:lnTo>
                    <a:pt x="931069" y="42863"/>
                  </a:lnTo>
                  <a:lnTo>
                    <a:pt x="904875" y="42863"/>
                  </a:lnTo>
                  <a:lnTo>
                    <a:pt x="831057" y="85725"/>
                  </a:lnTo>
                  <a:lnTo>
                    <a:pt x="776288" y="104775"/>
                  </a:lnTo>
                  <a:lnTo>
                    <a:pt x="707232" y="180975"/>
                  </a:lnTo>
                  <a:lnTo>
                    <a:pt x="692944" y="195263"/>
                  </a:lnTo>
                  <a:lnTo>
                    <a:pt x="626269" y="192881"/>
                  </a:lnTo>
                  <a:lnTo>
                    <a:pt x="619125" y="207169"/>
                  </a:lnTo>
                  <a:lnTo>
                    <a:pt x="519113" y="211931"/>
                  </a:lnTo>
                  <a:lnTo>
                    <a:pt x="492919" y="230981"/>
                  </a:lnTo>
                  <a:lnTo>
                    <a:pt x="459582" y="245269"/>
                  </a:lnTo>
                  <a:lnTo>
                    <a:pt x="433388" y="271463"/>
                  </a:lnTo>
                  <a:lnTo>
                    <a:pt x="416719" y="278606"/>
                  </a:lnTo>
                  <a:lnTo>
                    <a:pt x="378619" y="278606"/>
                  </a:lnTo>
                  <a:lnTo>
                    <a:pt x="335757" y="250031"/>
                  </a:lnTo>
                  <a:lnTo>
                    <a:pt x="250032" y="250031"/>
                  </a:lnTo>
                  <a:lnTo>
                    <a:pt x="211932" y="240506"/>
                  </a:lnTo>
                  <a:lnTo>
                    <a:pt x="188119" y="221456"/>
                  </a:lnTo>
                  <a:lnTo>
                    <a:pt x="171450" y="207169"/>
                  </a:lnTo>
                  <a:lnTo>
                    <a:pt x="150019" y="202406"/>
                  </a:lnTo>
                  <a:lnTo>
                    <a:pt x="126207" y="209550"/>
                  </a:lnTo>
                  <a:lnTo>
                    <a:pt x="85725" y="226219"/>
                  </a:lnTo>
                  <a:lnTo>
                    <a:pt x="54769" y="245269"/>
                  </a:lnTo>
                  <a:lnTo>
                    <a:pt x="16669" y="254794"/>
                  </a:lnTo>
                  <a:lnTo>
                    <a:pt x="0" y="261938"/>
                  </a:lnTo>
                  <a:lnTo>
                    <a:pt x="28575" y="278606"/>
                  </a:lnTo>
                  <a:lnTo>
                    <a:pt x="59532" y="278606"/>
                  </a:lnTo>
                  <a:lnTo>
                    <a:pt x="80963" y="278606"/>
                  </a:lnTo>
                  <a:lnTo>
                    <a:pt x="88107" y="276225"/>
                  </a:lnTo>
                  <a:lnTo>
                    <a:pt x="100013" y="261938"/>
                  </a:lnTo>
                  <a:lnTo>
                    <a:pt x="119063" y="259556"/>
                  </a:lnTo>
                  <a:lnTo>
                    <a:pt x="142875" y="257175"/>
                  </a:lnTo>
                  <a:lnTo>
                    <a:pt x="154782" y="271463"/>
                  </a:lnTo>
                  <a:lnTo>
                    <a:pt x="145257" y="292894"/>
                  </a:lnTo>
                  <a:lnTo>
                    <a:pt x="114300" y="304800"/>
                  </a:lnTo>
                  <a:lnTo>
                    <a:pt x="78582" y="397669"/>
                  </a:lnTo>
                  <a:lnTo>
                    <a:pt x="97632" y="421481"/>
                  </a:lnTo>
                  <a:lnTo>
                    <a:pt x="102394" y="464344"/>
                  </a:lnTo>
                  <a:lnTo>
                    <a:pt x="107157" y="481013"/>
                  </a:lnTo>
                  <a:lnTo>
                    <a:pt x="142875" y="471488"/>
                  </a:lnTo>
                  <a:lnTo>
                    <a:pt x="178594" y="459581"/>
                  </a:lnTo>
                  <a:lnTo>
                    <a:pt x="228600" y="471488"/>
                  </a:lnTo>
                  <a:lnTo>
                    <a:pt x="266700" y="481013"/>
                  </a:lnTo>
                  <a:lnTo>
                    <a:pt x="319088" y="478631"/>
                  </a:lnTo>
                  <a:lnTo>
                    <a:pt x="359569" y="461963"/>
                  </a:lnTo>
                  <a:lnTo>
                    <a:pt x="395288" y="442913"/>
                  </a:lnTo>
                  <a:lnTo>
                    <a:pt x="433388" y="450056"/>
                  </a:lnTo>
                  <a:lnTo>
                    <a:pt x="473869" y="469106"/>
                  </a:lnTo>
                  <a:lnTo>
                    <a:pt x="519113" y="495300"/>
                  </a:lnTo>
                  <a:lnTo>
                    <a:pt x="550069" y="521494"/>
                  </a:lnTo>
                  <a:lnTo>
                    <a:pt x="554832" y="559594"/>
                  </a:lnTo>
                  <a:lnTo>
                    <a:pt x="550069" y="614363"/>
                  </a:lnTo>
                  <a:lnTo>
                    <a:pt x="545307" y="645319"/>
                  </a:lnTo>
                  <a:lnTo>
                    <a:pt x="519113" y="657225"/>
                  </a:lnTo>
                  <a:lnTo>
                    <a:pt x="502444" y="673894"/>
                  </a:lnTo>
                  <a:lnTo>
                    <a:pt x="504825" y="707231"/>
                  </a:lnTo>
                  <a:lnTo>
                    <a:pt x="523875" y="731044"/>
                  </a:lnTo>
                  <a:lnTo>
                    <a:pt x="604838" y="735806"/>
                  </a:lnTo>
                  <a:lnTo>
                    <a:pt x="671513" y="685800"/>
                  </a:lnTo>
                  <a:lnTo>
                    <a:pt x="671513" y="604838"/>
                  </a:lnTo>
                  <a:lnTo>
                    <a:pt x="723900" y="554831"/>
                  </a:lnTo>
                  <a:close/>
                </a:path>
              </a:pathLst>
            </a:custGeom>
            <a:solidFill>
              <a:schemeClr val="bg1"/>
            </a:solidFill>
            <a:ln w="317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a:lstStyle/>
            <a:p>
              <a:pPr>
                <a:defRPr/>
              </a:pPr>
              <a:endParaRPr lang="en-GB"/>
            </a:p>
          </p:txBody>
        </p:sp>
        <p:sp>
          <p:nvSpPr>
            <p:cNvPr id="62" name="Freeform 61"/>
            <p:cNvSpPr/>
            <p:nvPr/>
          </p:nvSpPr>
          <p:spPr>
            <a:xfrm>
              <a:off x="6509147" y="2827884"/>
              <a:ext cx="460375" cy="212725"/>
            </a:xfrm>
            <a:custGeom>
              <a:avLst/>
              <a:gdLst>
                <a:gd name="connsiteX0" fmla="*/ 0 w 459581"/>
                <a:gd name="connsiteY0" fmla="*/ 42862 h 211931"/>
                <a:gd name="connsiteX1" fmla="*/ 7143 w 459581"/>
                <a:gd name="connsiteY1" fmla="*/ 104775 h 211931"/>
                <a:gd name="connsiteX2" fmla="*/ 30956 w 459581"/>
                <a:gd name="connsiteY2" fmla="*/ 119062 h 211931"/>
                <a:gd name="connsiteX3" fmla="*/ 33337 w 459581"/>
                <a:gd name="connsiteY3" fmla="*/ 171450 h 211931"/>
                <a:gd name="connsiteX4" fmla="*/ 38100 w 459581"/>
                <a:gd name="connsiteY4" fmla="*/ 188118 h 211931"/>
                <a:gd name="connsiteX5" fmla="*/ 88106 w 459581"/>
                <a:gd name="connsiteY5" fmla="*/ 204787 h 211931"/>
                <a:gd name="connsiteX6" fmla="*/ 88106 w 459581"/>
                <a:gd name="connsiteY6" fmla="*/ 204787 h 211931"/>
                <a:gd name="connsiteX7" fmla="*/ 147637 w 459581"/>
                <a:gd name="connsiteY7" fmla="*/ 211931 h 211931"/>
                <a:gd name="connsiteX8" fmla="*/ 180975 w 459581"/>
                <a:gd name="connsiteY8" fmla="*/ 197643 h 211931"/>
                <a:gd name="connsiteX9" fmla="*/ 214312 w 459581"/>
                <a:gd name="connsiteY9" fmla="*/ 192881 h 211931"/>
                <a:gd name="connsiteX10" fmla="*/ 242887 w 459581"/>
                <a:gd name="connsiteY10" fmla="*/ 204787 h 211931"/>
                <a:gd name="connsiteX11" fmla="*/ 261937 w 459581"/>
                <a:gd name="connsiteY11" fmla="*/ 204787 h 211931"/>
                <a:gd name="connsiteX12" fmla="*/ 321468 w 459581"/>
                <a:gd name="connsiteY12" fmla="*/ 178593 h 211931"/>
                <a:gd name="connsiteX13" fmla="*/ 350043 w 459581"/>
                <a:gd name="connsiteY13" fmla="*/ 180975 h 211931"/>
                <a:gd name="connsiteX14" fmla="*/ 402431 w 459581"/>
                <a:gd name="connsiteY14" fmla="*/ 161925 h 211931"/>
                <a:gd name="connsiteX15" fmla="*/ 457200 w 459581"/>
                <a:gd name="connsiteY15" fmla="*/ 173831 h 211931"/>
                <a:gd name="connsiteX16" fmla="*/ 459581 w 459581"/>
                <a:gd name="connsiteY16" fmla="*/ 128587 h 211931"/>
                <a:gd name="connsiteX17" fmla="*/ 450056 w 459581"/>
                <a:gd name="connsiteY17" fmla="*/ 83343 h 211931"/>
                <a:gd name="connsiteX18" fmla="*/ 423862 w 459581"/>
                <a:gd name="connsiteY18" fmla="*/ 52387 h 211931"/>
                <a:gd name="connsiteX19" fmla="*/ 357187 w 459581"/>
                <a:gd name="connsiteY19" fmla="*/ 19050 h 211931"/>
                <a:gd name="connsiteX20" fmla="*/ 319087 w 459581"/>
                <a:gd name="connsiteY20" fmla="*/ 0 h 211931"/>
                <a:gd name="connsiteX21" fmla="*/ 295275 w 459581"/>
                <a:gd name="connsiteY21" fmla="*/ 0 h 211931"/>
                <a:gd name="connsiteX22" fmla="*/ 240506 w 459581"/>
                <a:gd name="connsiteY22" fmla="*/ 33337 h 211931"/>
                <a:gd name="connsiteX23" fmla="*/ 176212 w 459581"/>
                <a:gd name="connsiteY23" fmla="*/ 45243 h 211931"/>
                <a:gd name="connsiteX24" fmla="*/ 95250 w 459581"/>
                <a:gd name="connsiteY24" fmla="*/ 19050 h 211931"/>
                <a:gd name="connsiteX25" fmla="*/ 78581 w 459581"/>
                <a:gd name="connsiteY25" fmla="*/ 16668 h 211931"/>
                <a:gd name="connsiteX26" fmla="*/ 0 w 459581"/>
                <a:gd name="connsiteY26" fmla="*/ 42862 h 211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59581" h="211931">
                  <a:moveTo>
                    <a:pt x="0" y="42862"/>
                  </a:moveTo>
                  <a:lnTo>
                    <a:pt x="7143" y="104775"/>
                  </a:lnTo>
                  <a:lnTo>
                    <a:pt x="30956" y="119062"/>
                  </a:lnTo>
                  <a:lnTo>
                    <a:pt x="33337" y="171450"/>
                  </a:lnTo>
                  <a:lnTo>
                    <a:pt x="38100" y="188118"/>
                  </a:lnTo>
                  <a:lnTo>
                    <a:pt x="88106" y="204787"/>
                  </a:lnTo>
                  <a:lnTo>
                    <a:pt x="88106" y="204787"/>
                  </a:lnTo>
                  <a:lnTo>
                    <a:pt x="147637" y="211931"/>
                  </a:lnTo>
                  <a:lnTo>
                    <a:pt x="180975" y="197643"/>
                  </a:lnTo>
                  <a:lnTo>
                    <a:pt x="214312" y="192881"/>
                  </a:lnTo>
                  <a:lnTo>
                    <a:pt x="242887" y="204787"/>
                  </a:lnTo>
                  <a:lnTo>
                    <a:pt x="261937" y="204787"/>
                  </a:lnTo>
                  <a:lnTo>
                    <a:pt x="321468" y="178593"/>
                  </a:lnTo>
                  <a:lnTo>
                    <a:pt x="350043" y="180975"/>
                  </a:lnTo>
                  <a:lnTo>
                    <a:pt x="402431" y="161925"/>
                  </a:lnTo>
                  <a:lnTo>
                    <a:pt x="457200" y="173831"/>
                  </a:lnTo>
                  <a:lnTo>
                    <a:pt x="459581" y="128587"/>
                  </a:lnTo>
                  <a:lnTo>
                    <a:pt x="450056" y="83343"/>
                  </a:lnTo>
                  <a:lnTo>
                    <a:pt x="423862" y="52387"/>
                  </a:lnTo>
                  <a:lnTo>
                    <a:pt x="357187" y="19050"/>
                  </a:lnTo>
                  <a:lnTo>
                    <a:pt x="319087" y="0"/>
                  </a:lnTo>
                  <a:lnTo>
                    <a:pt x="295275" y="0"/>
                  </a:lnTo>
                  <a:lnTo>
                    <a:pt x="240506" y="33337"/>
                  </a:lnTo>
                  <a:lnTo>
                    <a:pt x="176212" y="45243"/>
                  </a:lnTo>
                  <a:lnTo>
                    <a:pt x="95250" y="19050"/>
                  </a:lnTo>
                  <a:lnTo>
                    <a:pt x="78581" y="16668"/>
                  </a:lnTo>
                  <a:lnTo>
                    <a:pt x="0" y="42862"/>
                  </a:lnTo>
                  <a:close/>
                </a:path>
              </a:pathLst>
            </a:custGeom>
            <a:solidFill>
              <a:schemeClr val="bg1"/>
            </a:solidFill>
            <a:ln w="317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a:lstStyle/>
            <a:p>
              <a:pPr>
                <a:defRPr/>
              </a:pPr>
              <a:endParaRPr lang="en-GB"/>
            </a:p>
          </p:txBody>
        </p:sp>
        <p:sp>
          <p:nvSpPr>
            <p:cNvPr id="63" name="Freeform 62"/>
            <p:cNvSpPr/>
            <p:nvPr/>
          </p:nvSpPr>
          <p:spPr>
            <a:xfrm>
              <a:off x="6747272" y="2102396"/>
              <a:ext cx="1060450" cy="563563"/>
            </a:xfrm>
            <a:custGeom>
              <a:avLst/>
              <a:gdLst>
                <a:gd name="connsiteX0" fmla="*/ 697706 w 1059656"/>
                <a:gd name="connsiteY0" fmla="*/ 531019 h 531019"/>
                <a:gd name="connsiteX1" fmla="*/ 778668 w 1059656"/>
                <a:gd name="connsiteY1" fmla="*/ 459581 h 531019"/>
                <a:gd name="connsiteX2" fmla="*/ 816768 w 1059656"/>
                <a:gd name="connsiteY2" fmla="*/ 440531 h 531019"/>
                <a:gd name="connsiteX3" fmla="*/ 852487 w 1059656"/>
                <a:gd name="connsiteY3" fmla="*/ 438150 h 531019"/>
                <a:gd name="connsiteX4" fmla="*/ 916781 w 1059656"/>
                <a:gd name="connsiteY4" fmla="*/ 423862 h 531019"/>
                <a:gd name="connsiteX5" fmla="*/ 950118 w 1059656"/>
                <a:gd name="connsiteY5" fmla="*/ 426244 h 531019"/>
                <a:gd name="connsiteX6" fmla="*/ 988218 w 1059656"/>
                <a:gd name="connsiteY6" fmla="*/ 442912 h 531019"/>
                <a:gd name="connsiteX7" fmla="*/ 1019175 w 1059656"/>
                <a:gd name="connsiteY7" fmla="*/ 411956 h 531019"/>
                <a:gd name="connsiteX8" fmla="*/ 992981 w 1059656"/>
                <a:gd name="connsiteY8" fmla="*/ 381000 h 531019"/>
                <a:gd name="connsiteX9" fmla="*/ 988218 w 1059656"/>
                <a:gd name="connsiteY9" fmla="*/ 350044 h 531019"/>
                <a:gd name="connsiteX10" fmla="*/ 995362 w 1059656"/>
                <a:gd name="connsiteY10" fmla="*/ 311944 h 531019"/>
                <a:gd name="connsiteX11" fmla="*/ 1023937 w 1059656"/>
                <a:gd name="connsiteY11" fmla="*/ 271462 h 531019"/>
                <a:gd name="connsiteX12" fmla="*/ 1052512 w 1059656"/>
                <a:gd name="connsiteY12" fmla="*/ 261937 h 531019"/>
                <a:gd name="connsiteX13" fmla="*/ 1059656 w 1059656"/>
                <a:gd name="connsiteY13" fmla="*/ 233362 h 531019"/>
                <a:gd name="connsiteX14" fmla="*/ 1047750 w 1059656"/>
                <a:gd name="connsiteY14" fmla="*/ 204787 h 531019"/>
                <a:gd name="connsiteX15" fmla="*/ 1019175 w 1059656"/>
                <a:gd name="connsiteY15" fmla="*/ 195262 h 531019"/>
                <a:gd name="connsiteX16" fmla="*/ 992981 w 1059656"/>
                <a:gd name="connsiteY16" fmla="*/ 202406 h 531019"/>
                <a:gd name="connsiteX17" fmla="*/ 935831 w 1059656"/>
                <a:gd name="connsiteY17" fmla="*/ 221456 h 531019"/>
                <a:gd name="connsiteX18" fmla="*/ 900112 w 1059656"/>
                <a:gd name="connsiteY18" fmla="*/ 226219 h 531019"/>
                <a:gd name="connsiteX19" fmla="*/ 878681 w 1059656"/>
                <a:gd name="connsiteY19" fmla="*/ 209550 h 531019"/>
                <a:gd name="connsiteX20" fmla="*/ 873918 w 1059656"/>
                <a:gd name="connsiteY20" fmla="*/ 195262 h 531019"/>
                <a:gd name="connsiteX21" fmla="*/ 881062 w 1059656"/>
                <a:gd name="connsiteY21" fmla="*/ 152400 h 531019"/>
                <a:gd name="connsiteX22" fmla="*/ 888206 w 1059656"/>
                <a:gd name="connsiteY22" fmla="*/ 116681 h 531019"/>
                <a:gd name="connsiteX23" fmla="*/ 871537 w 1059656"/>
                <a:gd name="connsiteY23" fmla="*/ 78581 h 531019"/>
                <a:gd name="connsiteX24" fmla="*/ 840581 w 1059656"/>
                <a:gd name="connsiteY24" fmla="*/ 61912 h 531019"/>
                <a:gd name="connsiteX25" fmla="*/ 862012 w 1059656"/>
                <a:gd name="connsiteY25" fmla="*/ 14287 h 531019"/>
                <a:gd name="connsiteX26" fmla="*/ 809625 w 1059656"/>
                <a:gd name="connsiteY26" fmla="*/ 0 h 531019"/>
                <a:gd name="connsiteX27" fmla="*/ 797718 w 1059656"/>
                <a:gd name="connsiteY27" fmla="*/ 16669 h 531019"/>
                <a:gd name="connsiteX28" fmla="*/ 757237 w 1059656"/>
                <a:gd name="connsiteY28" fmla="*/ 11906 h 531019"/>
                <a:gd name="connsiteX29" fmla="*/ 735806 w 1059656"/>
                <a:gd name="connsiteY29" fmla="*/ 16669 h 531019"/>
                <a:gd name="connsiteX30" fmla="*/ 719137 w 1059656"/>
                <a:gd name="connsiteY30" fmla="*/ 45244 h 531019"/>
                <a:gd name="connsiteX31" fmla="*/ 723900 w 1059656"/>
                <a:gd name="connsiteY31" fmla="*/ 64294 h 531019"/>
                <a:gd name="connsiteX32" fmla="*/ 707231 w 1059656"/>
                <a:gd name="connsiteY32" fmla="*/ 78581 h 531019"/>
                <a:gd name="connsiteX33" fmla="*/ 631031 w 1059656"/>
                <a:gd name="connsiteY33" fmla="*/ 80962 h 531019"/>
                <a:gd name="connsiteX34" fmla="*/ 597693 w 1059656"/>
                <a:gd name="connsiteY34" fmla="*/ 66675 h 531019"/>
                <a:gd name="connsiteX35" fmla="*/ 569118 w 1059656"/>
                <a:gd name="connsiteY35" fmla="*/ 38100 h 531019"/>
                <a:gd name="connsiteX36" fmla="*/ 531018 w 1059656"/>
                <a:gd name="connsiteY36" fmla="*/ 33337 h 531019"/>
                <a:gd name="connsiteX37" fmla="*/ 497681 w 1059656"/>
                <a:gd name="connsiteY37" fmla="*/ 57150 h 531019"/>
                <a:gd name="connsiteX38" fmla="*/ 481012 w 1059656"/>
                <a:gd name="connsiteY38" fmla="*/ 76200 h 531019"/>
                <a:gd name="connsiteX39" fmla="*/ 466725 w 1059656"/>
                <a:gd name="connsiteY39" fmla="*/ 92869 h 531019"/>
                <a:gd name="connsiteX40" fmla="*/ 450056 w 1059656"/>
                <a:gd name="connsiteY40" fmla="*/ 111919 h 531019"/>
                <a:gd name="connsiteX41" fmla="*/ 454818 w 1059656"/>
                <a:gd name="connsiteY41" fmla="*/ 138112 h 531019"/>
                <a:gd name="connsiteX42" fmla="*/ 423862 w 1059656"/>
                <a:gd name="connsiteY42" fmla="*/ 161925 h 531019"/>
                <a:gd name="connsiteX43" fmla="*/ 371475 w 1059656"/>
                <a:gd name="connsiteY43" fmla="*/ 171450 h 531019"/>
                <a:gd name="connsiteX44" fmla="*/ 330993 w 1059656"/>
                <a:gd name="connsiteY44" fmla="*/ 190500 h 531019"/>
                <a:gd name="connsiteX45" fmla="*/ 321468 w 1059656"/>
                <a:gd name="connsiteY45" fmla="*/ 228600 h 531019"/>
                <a:gd name="connsiteX46" fmla="*/ 319087 w 1059656"/>
                <a:gd name="connsiteY46" fmla="*/ 235744 h 531019"/>
                <a:gd name="connsiteX47" fmla="*/ 266700 w 1059656"/>
                <a:gd name="connsiteY47" fmla="*/ 252412 h 531019"/>
                <a:gd name="connsiteX48" fmla="*/ 180975 w 1059656"/>
                <a:gd name="connsiteY48" fmla="*/ 283369 h 531019"/>
                <a:gd name="connsiteX49" fmla="*/ 157162 w 1059656"/>
                <a:gd name="connsiteY49" fmla="*/ 276225 h 531019"/>
                <a:gd name="connsiteX50" fmla="*/ 128587 w 1059656"/>
                <a:gd name="connsiteY50" fmla="*/ 266700 h 531019"/>
                <a:gd name="connsiteX51" fmla="*/ 130968 w 1059656"/>
                <a:gd name="connsiteY51" fmla="*/ 326231 h 531019"/>
                <a:gd name="connsiteX52" fmla="*/ 169068 w 1059656"/>
                <a:gd name="connsiteY52" fmla="*/ 354806 h 531019"/>
                <a:gd name="connsiteX53" fmla="*/ 185737 w 1059656"/>
                <a:gd name="connsiteY53" fmla="*/ 378619 h 531019"/>
                <a:gd name="connsiteX54" fmla="*/ 180975 w 1059656"/>
                <a:gd name="connsiteY54" fmla="*/ 409575 h 531019"/>
                <a:gd name="connsiteX55" fmla="*/ 173831 w 1059656"/>
                <a:gd name="connsiteY55" fmla="*/ 438150 h 531019"/>
                <a:gd name="connsiteX56" fmla="*/ 130968 w 1059656"/>
                <a:gd name="connsiteY56" fmla="*/ 440531 h 531019"/>
                <a:gd name="connsiteX57" fmla="*/ 95250 w 1059656"/>
                <a:gd name="connsiteY57" fmla="*/ 454819 h 531019"/>
                <a:gd name="connsiteX58" fmla="*/ 71437 w 1059656"/>
                <a:gd name="connsiteY58" fmla="*/ 459581 h 531019"/>
                <a:gd name="connsiteX59" fmla="*/ 50006 w 1059656"/>
                <a:gd name="connsiteY59" fmla="*/ 471487 h 531019"/>
                <a:gd name="connsiteX60" fmla="*/ 30956 w 1059656"/>
                <a:gd name="connsiteY60" fmla="*/ 488156 h 531019"/>
                <a:gd name="connsiteX61" fmla="*/ 7143 w 1059656"/>
                <a:gd name="connsiteY61" fmla="*/ 495300 h 531019"/>
                <a:gd name="connsiteX62" fmla="*/ 0 w 1059656"/>
                <a:gd name="connsiteY62" fmla="*/ 500062 h 531019"/>
                <a:gd name="connsiteX63" fmla="*/ 38100 w 1059656"/>
                <a:gd name="connsiteY63" fmla="*/ 528637 h 531019"/>
                <a:gd name="connsiteX64" fmla="*/ 80962 w 1059656"/>
                <a:gd name="connsiteY64" fmla="*/ 526256 h 531019"/>
                <a:gd name="connsiteX65" fmla="*/ 116681 w 1059656"/>
                <a:gd name="connsiteY65" fmla="*/ 492919 h 531019"/>
                <a:gd name="connsiteX66" fmla="*/ 171450 w 1059656"/>
                <a:gd name="connsiteY66" fmla="*/ 466725 h 531019"/>
                <a:gd name="connsiteX67" fmla="*/ 278606 w 1059656"/>
                <a:gd name="connsiteY67" fmla="*/ 459581 h 531019"/>
                <a:gd name="connsiteX68" fmla="*/ 292893 w 1059656"/>
                <a:gd name="connsiteY68" fmla="*/ 447675 h 531019"/>
                <a:gd name="connsiteX69" fmla="*/ 357187 w 1059656"/>
                <a:gd name="connsiteY69" fmla="*/ 447675 h 531019"/>
                <a:gd name="connsiteX70" fmla="*/ 433387 w 1059656"/>
                <a:gd name="connsiteY70" fmla="*/ 354806 h 531019"/>
                <a:gd name="connsiteX71" fmla="*/ 559593 w 1059656"/>
                <a:gd name="connsiteY71" fmla="*/ 295275 h 531019"/>
                <a:gd name="connsiteX72" fmla="*/ 619125 w 1059656"/>
                <a:gd name="connsiteY72" fmla="*/ 288131 h 531019"/>
                <a:gd name="connsiteX73" fmla="*/ 654843 w 1059656"/>
                <a:gd name="connsiteY73" fmla="*/ 261937 h 531019"/>
                <a:gd name="connsiteX74" fmla="*/ 716756 w 1059656"/>
                <a:gd name="connsiteY74" fmla="*/ 259556 h 531019"/>
                <a:gd name="connsiteX75" fmla="*/ 771525 w 1059656"/>
                <a:gd name="connsiteY75" fmla="*/ 252412 h 531019"/>
                <a:gd name="connsiteX76" fmla="*/ 781050 w 1059656"/>
                <a:gd name="connsiteY76" fmla="*/ 290512 h 531019"/>
                <a:gd name="connsiteX77" fmla="*/ 773906 w 1059656"/>
                <a:gd name="connsiteY77" fmla="*/ 411956 h 531019"/>
                <a:gd name="connsiteX78" fmla="*/ 707231 w 1059656"/>
                <a:gd name="connsiteY78" fmla="*/ 428625 h 531019"/>
                <a:gd name="connsiteX79" fmla="*/ 652462 w 1059656"/>
                <a:gd name="connsiteY79" fmla="*/ 481012 h 531019"/>
                <a:gd name="connsiteX80" fmla="*/ 697706 w 1059656"/>
                <a:gd name="connsiteY80" fmla="*/ 531019 h 531019"/>
                <a:gd name="connsiteX0" fmla="*/ 697706 w 1059656"/>
                <a:gd name="connsiteY0" fmla="*/ 531019 h 531019"/>
                <a:gd name="connsiteX1" fmla="*/ 778668 w 1059656"/>
                <a:gd name="connsiteY1" fmla="*/ 459581 h 531019"/>
                <a:gd name="connsiteX2" fmla="*/ 816768 w 1059656"/>
                <a:gd name="connsiteY2" fmla="*/ 440531 h 531019"/>
                <a:gd name="connsiteX3" fmla="*/ 852487 w 1059656"/>
                <a:gd name="connsiteY3" fmla="*/ 438150 h 531019"/>
                <a:gd name="connsiteX4" fmla="*/ 916781 w 1059656"/>
                <a:gd name="connsiteY4" fmla="*/ 423862 h 531019"/>
                <a:gd name="connsiteX5" fmla="*/ 950118 w 1059656"/>
                <a:gd name="connsiteY5" fmla="*/ 426244 h 531019"/>
                <a:gd name="connsiteX6" fmla="*/ 988218 w 1059656"/>
                <a:gd name="connsiteY6" fmla="*/ 442912 h 531019"/>
                <a:gd name="connsiteX7" fmla="*/ 1019175 w 1059656"/>
                <a:gd name="connsiteY7" fmla="*/ 411956 h 531019"/>
                <a:gd name="connsiteX8" fmla="*/ 992981 w 1059656"/>
                <a:gd name="connsiteY8" fmla="*/ 381000 h 531019"/>
                <a:gd name="connsiteX9" fmla="*/ 988218 w 1059656"/>
                <a:gd name="connsiteY9" fmla="*/ 350044 h 531019"/>
                <a:gd name="connsiteX10" fmla="*/ 995362 w 1059656"/>
                <a:gd name="connsiteY10" fmla="*/ 311944 h 531019"/>
                <a:gd name="connsiteX11" fmla="*/ 1023937 w 1059656"/>
                <a:gd name="connsiteY11" fmla="*/ 271462 h 531019"/>
                <a:gd name="connsiteX12" fmla="*/ 1052512 w 1059656"/>
                <a:gd name="connsiteY12" fmla="*/ 261937 h 531019"/>
                <a:gd name="connsiteX13" fmla="*/ 1059656 w 1059656"/>
                <a:gd name="connsiteY13" fmla="*/ 233362 h 531019"/>
                <a:gd name="connsiteX14" fmla="*/ 1047750 w 1059656"/>
                <a:gd name="connsiteY14" fmla="*/ 204787 h 531019"/>
                <a:gd name="connsiteX15" fmla="*/ 1019175 w 1059656"/>
                <a:gd name="connsiteY15" fmla="*/ 195262 h 531019"/>
                <a:gd name="connsiteX16" fmla="*/ 992981 w 1059656"/>
                <a:gd name="connsiteY16" fmla="*/ 202406 h 531019"/>
                <a:gd name="connsiteX17" fmla="*/ 935831 w 1059656"/>
                <a:gd name="connsiteY17" fmla="*/ 221456 h 531019"/>
                <a:gd name="connsiteX18" fmla="*/ 900112 w 1059656"/>
                <a:gd name="connsiteY18" fmla="*/ 226219 h 531019"/>
                <a:gd name="connsiteX19" fmla="*/ 878681 w 1059656"/>
                <a:gd name="connsiteY19" fmla="*/ 209550 h 531019"/>
                <a:gd name="connsiteX20" fmla="*/ 873918 w 1059656"/>
                <a:gd name="connsiteY20" fmla="*/ 195262 h 531019"/>
                <a:gd name="connsiteX21" fmla="*/ 881062 w 1059656"/>
                <a:gd name="connsiteY21" fmla="*/ 152400 h 531019"/>
                <a:gd name="connsiteX22" fmla="*/ 888206 w 1059656"/>
                <a:gd name="connsiteY22" fmla="*/ 116681 h 531019"/>
                <a:gd name="connsiteX23" fmla="*/ 871537 w 1059656"/>
                <a:gd name="connsiteY23" fmla="*/ 78581 h 531019"/>
                <a:gd name="connsiteX24" fmla="*/ 840581 w 1059656"/>
                <a:gd name="connsiteY24" fmla="*/ 61912 h 531019"/>
                <a:gd name="connsiteX25" fmla="*/ 862012 w 1059656"/>
                <a:gd name="connsiteY25" fmla="*/ 14287 h 531019"/>
                <a:gd name="connsiteX26" fmla="*/ 809625 w 1059656"/>
                <a:gd name="connsiteY26" fmla="*/ 0 h 531019"/>
                <a:gd name="connsiteX27" fmla="*/ 797718 w 1059656"/>
                <a:gd name="connsiteY27" fmla="*/ 16669 h 531019"/>
                <a:gd name="connsiteX28" fmla="*/ 757237 w 1059656"/>
                <a:gd name="connsiteY28" fmla="*/ 11906 h 531019"/>
                <a:gd name="connsiteX29" fmla="*/ 735806 w 1059656"/>
                <a:gd name="connsiteY29" fmla="*/ 16669 h 531019"/>
                <a:gd name="connsiteX30" fmla="*/ 719137 w 1059656"/>
                <a:gd name="connsiteY30" fmla="*/ 45244 h 531019"/>
                <a:gd name="connsiteX31" fmla="*/ 723900 w 1059656"/>
                <a:gd name="connsiteY31" fmla="*/ 64294 h 531019"/>
                <a:gd name="connsiteX32" fmla="*/ 707231 w 1059656"/>
                <a:gd name="connsiteY32" fmla="*/ 78581 h 531019"/>
                <a:gd name="connsiteX33" fmla="*/ 631031 w 1059656"/>
                <a:gd name="connsiteY33" fmla="*/ 80962 h 531019"/>
                <a:gd name="connsiteX34" fmla="*/ 597693 w 1059656"/>
                <a:gd name="connsiteY34" fmla="*/ 66675 h 531019"/>
                <a:gd name="connsiteX35" fmla="*/ 569118 w 1059656"/>
                <a:gd name="connsiteY35" fmla="*/ 38100 h 531019"/>
                <a:gd name="connsiteX36" fmla="*/ 531018 w 1059656"/>
                <a:gd name="connsiteY36" fmla="*/ 33337 h 531019"/>
                <a:gd name="connsiteX37" fmla="*/ 497681 w 1059656"/>
                <a:gd name="connsiteY37" fmla="*/ 57150 h 531019"/>
                <a:gd name="connsiteX38" fmla="*/ 481012 w 1059656"/>
                <a:gd name="connsiteY38" fmla="*/ 76200 h 531019"/>
                <a:gd name="connsiteX39" fmla="*/ 466725 w 1059656"/>
                <a:gd name="connsiteY39" fmla="*/ 92869 h 531019"/>
                <a:gd name="connsiteX40" fmla="*/ 450056 w 1059656"/>
                <a:gd name="connsiteY40" fmla="*/ 111919 h 531019"/>
                <a:gd name="connsiteX41" fmla="*/ 454818 w 1059656"/>
                <a:gd name="connsiteY41" fmla="*/ 138112 h 531019"/>
                <a:gd name="connsiteX42" fmla="*/ 423862 w 1059656"/>
                <a:gd name="connsiteY42" fmla="*/ 161925 h 531019"/>
                <a:gd name="connsiteX43" fmla="*/ 371475 w 1059656"/>
                <a:gd name="connsiteY43" fmla="*/ 171450 h 531019"/>
                <a:gd name="connsiteX44" fmla="*/ 330993 w 1059656"/>
                <a:gd name="connsiteY44" fmla="*/ 190500 h 531019"/>
                <a:gd name="connsiteX45" fmla="*/ 321468 w 1059656"/>
                <a:gd name="connsiteY45" fmla="*/ 228600 h 531019"/>
                <a:gd name="connsiteX46" fmla="*/ 319087 w 1059656"/>
                <a:gd name="connsiteY46" fmla="*/ 235744 h 531019"/>
                <a:gd name="connsiteX47" fmla="*/ 266700 w 1059656"/>
                <a:gd name="connsiteY47" fmla="*/ 252412 h 531019"/>
                <a:gd name="connsiteX48" fmla="*/ 180975 w 1059656"/>
                <a:gd name="connsiteY48" fmla="*/ 283369 h 531019"/>
                <a:gd name="connsiteX49" fmla="*/ 157162 w 1059656"/>
                <a:gd name="connsiteY49" fmla="*/ 276225 h 531019"/>
                <a:gd name="connsiteX50" fmla="*/ 128587 w 1059656"/>
                <a:gd name="connsiteY50" fmla="*/ 266700 h 531019"/>
                <a:gd name="connsiteX51" fmla="*/ 130968 w 1059656"/>
                <a:gd name="connsiteY51" fmla="*/ 326231 h 531019"/>
                <a:gd name="connsiteX52" fmla="*/ 169068 w 1059656"/>
                <a:gd name="connsiteY52" fmla="*/ 354806 h 531019"/>
                <a:gd name="connsiteX53" fmla="*/ 185737 w 1059656"/>
                <a:gd name="connsiteY53" fmla="*/ 378619 h 531019"/>
                <a:gd name="connsiteX54" fmla="*/ 180975 w 1059656"/>
                <a:gd name="connsiteY54" fmla="*/ 409575 h 531019"/>
                <a:gd name="connsiteX55" fmla="*/ 173831 w 1059656"/>
                <a:gd name="connsiteY55" fmla="*/ 438150 h 531019"/>
                <a:gd name="connsiteX56" fmla="*/ 130968 w 1059656"/>
                <a:gd name="connsiteY56" fmla="*/ 440531 h 531019"/>
                <a:gd name="connsiteX57" fmla="*/ 95250 w 1059656"/>
                <a:gd name="connsiteY57" fmla="*/ 454819 h 531019"/>
                <a:gd name="connsiteX58" fmla="*/ 71437 w 1059656"/>
                <a:gd name="connsiteY58" fmla="*/ 459581 h 531019"/>
                <a:gd name="connsiteX59" fmla="*/ 50006 w 1059656"/>
                <a:gd name="connsiteY59" fmla="*/ 471487 h 531019"/>
                <a:gd name="connsiteX60" fmla="*/ 30956 w 1059656"/>
                <a:gd name="connsiteY60" fmla="*/ 488156 h 531019"/>
                <a:gd name="connsiteX61" fmla="*/ 7143 w 1059656"/>
                <a:gd name="connsiteY61" fmla="*/ 495300 h 531019"/>
                <a:gd name="connsiteX62" fmla="*/ 0 w 1059656"/>
                <a:gd name="connsiteY62" fmla="*/ 500062 h 531019"/>
                <a:gd name="connsiteX63" fmla="*/ 38100 w 1059656"/>
                <a:gd name="connsiteY63" fmla="*/ 528637 h 531019"/>
                <a:gd name="connsiteX64" fmla="*/ 80962 w 1059656"/>
                <a:gd name="connsiteY64" fmla="*/ 526256 h 531019"/>
                <a:gd name="connsiteX65" fmla="*/ 116681 w 1059656"/>
                <a:gd name="connsiteY65" fmla="*/ 492919 h 531019"/>
                <a:gd name="connsiteX66" fmla="*/ 171450 w 1059656"/>
                <a:gd name="connsiteY66" fmla="*/ 466725 h 531019"/>
                <a:gd name="connsiteX67" fmla="*/ 278606 w 1059656"/>
                <a:gd name="connsiteY67" fmla="*/ 459581 h 531019"/>
                <a:gd name="connsiteX68" fmla="*/ 292893 w 1059656"/>
                <a:gd name="connsiteY68" fmla="*/ 447675 h 531019"/>
                <a:gd name="connsiteX69" fmla="*/ 357187 w 1059656"/>
                <a:gd name="connsiteY69" fmla="*/ 447675 h 531019"/>
                <a:gd name="connsiteX70" fmla="*/ 433387 w 1059656"/>
                <a:gd name="connsiteY70" fmla="*/ 354806 h 531019"/>
                <a:gd name="connsiteX71" fmla="*/ 559593 w 1059656"/>
                <a:gd name="connsiteY71" fmla="*/ 295275 h 531019"/>
                <a:gd name="connsiteX72" fmla="*/ 619125 w 1059656"/>
                <a:gd name="connsiteY72" fmla="*/ 288131 h 531019"/>
                <a:gd name="connsiteX73" fmla="*/ 654843 w 1059656"/>
                <a:gd name="connsiteY73" fmla="*/ 261937 h 531019"/>
                <a:gd name="connsiteX74" fmla="*/ 716756 w 1059656"/>
                <a:gd name="connsiteY74" fmla="*/ 259556 h 531019"/>
                <a:gd name="connsiteX75" fmla="*/ 771525 w 1059656"/>
                <a:gd name="connsiteY75" fmla="*/ 252412 h 531019"/>
                <a:gd name="connsiteX76" fmla="*/ 781050 w 1059656"/>
                <a:gd name="connsiteY76" fmla="*/ 290512 h 531019"/>
                <a:gd name="connsiteX77" fmla="*/ 773906 w 1059656"/>
                <a:gd name="connsiteY77" fmla="*/ 411956 h 531019"/>
                <a:gd name="connsiteX78" fmla="*/ 707231 w 1059656"/>
                <a:gd name="connsiteY78" fmla="*/ 428625 h 531019"/>
                <a:gd name="connsiteX79" fmla="*/ 652462 w 1059656"/>
                <a:gd name="connsiteY79" fmla="*/ 481012 h 531019"/>
                <a:gd name="connsiteX80" fmla="*/ 676275 w 1059656"/>
                <a:gd name="connsiteY80" fmla="*/ 500062 h 531019"/>
                <a:gd name="connsiteX81" fmla="*/ 697706 w 1059656"/>
                <a:gd name="connsiteY81" fmla="*/ 531019 h 531019"/>
                <a:gd name="connsiteX0" fmla="*/ 697706 w 1059656"/>
                <a:gd name="connsiteY0" fmla="*/ 531019 h 531019"/>
                <a:gd name="connsiteX1" fmla="*/ 778668 w 1059656"/>
                <a:gd name="connsiteY1" fmla="*/ 459581 h 531019"/>
                <a:gd name="connsiteX2" fmla="*/ 816768 w 1059656"/>
                <a:gd name="connsiteY2" fmla="*/ 440531 h 531019"/>
                <a:gd name="connsiteX3" fmla="*/ 852487 w 1059656"/>
                <a:gd name="connsiteY3" fmla="*/ 438150 h 531019"/>
                <a:gd name="connsiteX4" fmla="*/ 916781 w 1059656"/>
                <a:gd name="connsiteY4" fmla="*/ 423862 h 531019"/>
                <a:gd name="connsiteX5" fmla="*/ 950118 w 1059656"/>
                <a:gd name="connsiteY5" fmla="*/ 426244 h 531019"/>
                <a:gd name="connsiteX6" fmla="*/ 988218 w 1059656"/>
                <a:gd name="connsiteY6" fmla="*/ 442912 h 531019"/>
                <a:gd name="connsiteX7" fmla="*/ 1019175 w 1059656"/>
                <a:gd name="connsiteY7" fmla="*/ 411956 h 531019"/>
                <a:gd name="connsiteX8" fmla="*/ 992981 w 1059656"/>
                <a:gd name="connsiteY8" fmla="*/ 381000 h 531019"/>
                <a:gd name="connsiteX9" fmla="*/ 988218 w 1059656"/>
                <a:gd name="connsiteY9" fmla="*/ 350044 h 531019"/>
                <a:gd name="connsiteX10" fmla="*/ 995362 w 1059656"/>
                <a:gd name="connsiteY10" fmla="*/ 311944 h 531019"/>
                <a:gd name="connsiteX11" fmla="*/ 1023937 w 1059656"/>
                <a:gd name="connsiteY11" fmla="*/ 271462 h 531019"/>
                <a:gd name="connsiteX12" fmla="*/ 1052512 w 1059656"/>
                <a:gd name="connsiteY12" fmla="*/ 261937 h 531019"/>
                <a:gd name="connsiteX13" fmla="*/ 1059656 w 1059656"/>
                <a:gd name="connsiteY13" fmla="*/ 233362 h 531019"/>
                <a:gd name="connsiteX14" fmla="*/ 1047750 w 1059656"/>
                <a:gd name="connsiteY14" fmla="*/ 204787 h 531019"/>
                <a:gd name="connsiteX15" fmla="*/ 1019175 w 1059656"/>
                <a:gd name="connsiteY15" fmla="*/ 195262 h 531019"/>
                <a:gd name="connsiteX16" fmla="*/ 992981 w 1059656"/>
                <a:gd name="connsiteY16" fmla="*/ 202406 h 531019"/>
                <a:gd name="connsiteX17" fmla="*/ 935831 w 1059656"/>
                <a:gd name="connsiteY17" fmla="*/ 221456 h 531019"/>
                <a:gd name="connsiteX18" fmla="*/ 900112 w 1059656"/>
                <a:gd name="connsiteY18" fmla="*/ 226219 h 531019"/>
                <a:gd name="connsiteX19" fmla="*/ 878681 w 1059656"/>
                <a:gd name="connsiteY19" fmla="*/ 209550 h 531019"/>
                <a:gd name="connsiteX20" fmla="*/ 873918 w 1059656"/>
                <a:gd name="connsiteY20" fmla="*/ 195262 h 531019"/>
                <a:gd name="connsiteX21" fmla="*/ 881062 w 1059656"/>
                <a:gd name="connsiteY21" fmla="*/ 152400 h 531019"/>
                <a:gd name="connsiteX22" fmla="*/ 888206 w 1059656"/>
                <a:gd name="connsiteY22" fmla="*/ 116681 h 531019"/>
                <a:gd name="connsiteX23" fmla="*/ 871537 w 1059656"/>
                <a:gd name="connsiteY23" fmla="*/ 78581 h 531019"/>
                <a:gd name="connsiteX24" fmla="*/ 840581 w 1059656"/>
                <a:gd name="connsiteY24" fmla="*/ 61912 h 531019"/>
                <a:gd name="connsiteX25" fmla="*/ 862012 w 1059656"/>
                <a:gd name="connsiteY25" fmla="*/ 14287 h 531019"/>
                <a:gd name="connsiteX26" fmla="*/ 809625 w 1059656"/>
                <a:gd name="connsiteY26" fmla="*/ 0 h 531019"/>
                <a:gd name="connsiteX27" fmla="*/ 797718 w 1059656"/>
                <a:gd name="connsiteY27" fmla="*/ 16669 h 531019"/>
                <a:gd name="connsiteX28" fmla="*/ 757237 w 1059656"/>
                <a:gd name="connsiteY28" fmla="*/ 11906 h 531019"/>
                <a:gd name="connsiteX29" fmla="*/ 735806 w 1059656"/>
                <a:gd name="connsiteY29" fmla="*/ 16669 h 531019"/>
                <a:gd name="connsiteX30" fmla="*/ 719137 w 1059656"/>
                <a:gd name="connsiteY30" fmla="*/ 45244 h 531019"/>
                <a:gd name="connsiteX31" fmla="*/ 723900 w 1059656"/>
                <a:gd name="connsiteY31" fmla="*/ 64294 h 531019"/>
                <a:gd name="connsiteX32" fmla="*/ 707231 w 1059656"/>
                <a:gd name="connsiteY32" fmla="*/ 78581 h 531019"/>
                <a:gd name="connsiteX33" fmla="*/ 631031 w 1059656"/>
                <a:gd name="connsiteY33" fmla="*/ 80962 h 531019"/>
                <a:gd name="connsiteX34" fmla="*/ 597693 w 1059656"/>
                <a:gd name="connsiteY34" fmla="*/ 66675 h 531019"/>
                <a:gd name="connsiteX35" fmla="*/ 569118 w 1059656"/>
                <a:gd name="connsiteY35" fmla="*/ 38100 h 531019"/>
                <a:gd name="connsiteX36" fmla="*/ 531018 w 1059656"/>
                <a:gd name="connsiteY36" fmla="*/ 33337 h 531019"/>
                <a:gd name="connsiteX37" fmla="*/ 497681 w 1059656"/>
                <a:gd name="connsiteY37" fmla="*/ 57150 h 531019"/>
                <a:gd name="connsiteX38" fmla="*/ 481012 w 1059656"/>
                <a:gd name="connsiteY38" fmla="*/ 76200 h 531019"/>
                <a:gd name="connsiteX39" fmla="*/ 466725 w 1059656"/>
                <a:gd name="connsiteY39" fmla="*/ 92869 h 531019"/>
                <a:gd name="connsiteX40" fmla="*/ 450056 w 1059656"/>
                <a:gd name="connsiteY40" fmla="*/ 111919 h 531019"/>
                <a:gd name="connsiteX41" fmla="*/ 454818 w 1059656"/>
                <a:gd name="connsiteY41" fmla="*/ 138112 h 531019"/>
                <a:gd name="connsiteX42" fmla="*/ 423862 w 1059656"/>
                <a:gd name="connsiteY42" fmla="*/ 161925 h 531019"/>
                <a:gd name="connsiteX43" fmla="*/ 371475 w 1059656"/>
                <a:gd name="connsiteY43" fmla="*/ 171450 h 531019"/>
                <a:gd name="connsiteX44" fmla="*/ 330993 w 1059656"/>
                <a:gd name="connsiteY44" fmla="*/ 190500 h 531019"/>
                <a:gd name="connsiteX45" fmla="*/ 321468 w 1059656"/>
                <a:gd name="connsiteY45" fmla="*/ 228600 h 531019"/>
                <a:gd name="connsiteX46" fmla="*/ 319087 w 1059656"/>
                <a:gd name="connsiteY46" fmla="*/ 235744 h 531019"/>
                <a:gd name="connsiteX47" fmla="*/ 266700 w 1059656"/>
                <a:gd name="connsiteY47" fmla="*/ 252412 h 531019"/>
                <a:gd name="connsiteX48" fmla="*/ 180975 w 1059656"/>
                <a:gd name="connsiteY48" fmla="*/ 283369 h 531019"/>
                <a:gd name="connsiteX49" fmla="*/ 157162 w 1059656"/>
                <a:gd name="connsiteY49" fmla="*/ 276225 h 531019"/>
                <a:gd name="connsiteX50" fmla="*/ 128587 w 1059656"/>
                <a:gd name="connsiteY50" fmla="*/ 266700 h 531019"/>
                <a:gd name="connsiteX51" fmla="*/ 130968 w 1059656"/>
                <a:gd name="connsiteY51" fmla="*/ 326231 h 531019"/>
                <a:gd name="connsiteX52" fmla="*/ 169068 w 1059656"/>
                <a:gd name="connsiteY52" fmla="*/ 354806 h 531019"/>
                <a:gd name="connsiteX53" fmla="*/ 185737 w 1059656"/>
                <a:gd name="connsiteY53" fmla="*/ 378619 h 531019"/>
                <a:gd name="connsiteX54" fmla="*/ 180975 w 1059656"/>
                <a:gd name="connsiteY54" fmla="*/ 409575 h 531019"/>
                <a:gd name="connsiteX55" fmla="*/ 173831 w 1059656"/>
                <a:gd name="connsiteY55" fmla="*/ 438150 h 531019"/>
                <a:gd name="connsiteX56" fmla="*/ 130968 w 1059656"/>
                <a:gd name="connsiteY56" fmla="*/ 440531 h 531019"/>
                <a:gd name="connsiteX57" fmla="*/ 95250 w 1059656"/>
                <a:gd name="connsiteY57" fmla="*/ 454819 h 531019"/>
                <a:gd name="connsiteX58" fmla="*/ 71437 w 1059656"/>
                <a:gd name="connsiteY58" fmla="*/ 459581 h 531019"/>
                <a:gd name="connsiteX59" fmla="*/ 50006 w 1059656"/>
                <a:gd name="connsiteY59" fmla="*/ 471487 h 531019"/>
                <a:gd name="connsiteX60" fmla="*/ 30956 w 1059656"/>
                <a:gd name="connsiteY60" fmla="*/ 488156 h 531019"/>
                <a:gd name="connsiteX61" fmla="*/ 7143 w 1059656"/>
                <a:gd name="connsiteY61" fmla="*/ 495300 h 531019"/>
                <a:gd name="connsiteX62" fmla="*/ 0 w 1059656"/>
                <a:gd name="connsiteY62" fmla="*/ 500062 h 531019"/>
                <a:gd name="connsiteX63" fmla="*/ 38100 w 1059656"/>
                <a:gd name="connsiteY63" fmla="*/ 528637 h 531019"/>
                <a:gd name="connsiteX64" fmla="*/ 80962 w 1059656"/>
                <a:gd name="connsiteY64" fmla="*/ 526256 h 531019"/>
                <a:gd name="connsiteX65" fmla="*/ 116681 w 1059656"/>
                <a:gd name="connsiteY65" fmla="*/ 492919 h 531019"/>
                <a:gd name="connsiteX66" fmla="*/ 171450 w 1059656"/>
                <a:gd name="connsiteY66" fmla="*/ 466725 h 531019"/>
                <a:gd name="connsiteX67" fmla="*/ 278606 w 1059656"/>
                <a:gd name="connsiteY67" fmla="*/ 459581 h 531019"/>
                <a:gd name="connsiteX68" fmla="*/ 292893 w 1059656"/>
                <a:gd name="connsiteY68" fmla="*/ 447675 h 531019"/>
                <a:gd name="connsiteX69" fmla="*/ 357187 w 1059656"/>
                <a:gd name="connsiteY69" fmla="*/ 447675 h 531019"/>
                <a:gd name="connsiteX70" fmla="*/ 433387 w 1059656"/>
                <a:gd name="connsiteY70" fmla="*/ 354806 h 531019"/>
                <a:gd name="connsiteX71" fmla="*/ 559593 w 1059656"/>
                <a:gd name="connsiteY71" fmla="*/ 295275 h 531019"/>
                <a:gd name="connsiteX72" fmla="*/ 619125 w 1059656"/>
                <a:gd name="connsiteY72" fmla="*/ 288131 h 531019"/>
                <a:gd name="connsiteX73" fmla="*/ 654843 w 1059656"/>
                <a:gd name="connsiteY73" fmla="*/ 261937 h 531019"/>
                <a:gd name="connsiteX74" fmla="*/ 716756 w 1059656"/>
                <a:gd name="connsiteY74" fmla="*/ 259556 h 531019"/>
                <a:gd name="connsiteX75" fmla="*/ 771525 w 1059656"/>
                <a:gd name="connsiteY75" fmla="*/ 252412 h 531019"/>
                <a:gd name="connsiteX76" fmla="*/ 781050 w 1059656"/>
                <a:gd name="connsiteY76" fmla="*/ 290512 h 531019"/>
                <a:gd name="connsiteX77" fmla="*/ 773906 w 1059656"/>
                <a:gd name="connsiteY77" fmla="*/ 411956 h 531019"/>
                <a:gd name="connsiteX78" fmla="*/ 707231 w 1059656"/>
                <a:gd name="connsiteY78" fmla="*/ 428625 h 531019"/>
                <a:gd name="connsiteX79" fmla="*/ 659605 w 1059656"/>
                <a:gd name="connsiteY79" fmla="*/ 471487 h 531019"/>
                <a:gd name="connsiteX80" fmla="*/ 676275 w 1059656"/>
                <a:gd name="connsiteY80" fmla="*/ 500062 h 531019"/>
                <a:gd name="connsiteX81" fmla="*/ 697706 w 1059656"/>
                <a:gd name="connsiteY81" fmla="*/ 531019 h 531019"/>
                <a:gd name="connsiteX0" fmla="*/ 697706 w 1059656"/>
                <a:gd name="connsiteY0" fmla="*/ 531019 h 531019"/>
                <a:gd name="connsiteX1" fmla="*/ 778668 w 1059656"/>
                <a:gd name="connsiteY1" fmla="*/ 459581 h 531019"/>
                <a:gd name="connsiteX2" fmla="*/ 816768 w 1059656"/>
                <a:gd name="connsiteY2" fmla="*/ 440531 h 531019"/>
                <a:gd name="connsiteX3" fmla="*/ 852487 w 1059656"/>
                <a:gd name="connsiteY3" fmla="*/ 438150 h 531019"/>
                <a:gd name="connsiteX4" fmla="*/ 916781 w 1059656"/>
                <a:gd name="connsiteY4" fmla="*/ 423862 h 531019"/>
                <a:gd name="connsiteX5" fmla="*/ 950118 w 1059656"/>
                <a:gd name="connsiteY5" fmla="*/ 426244 h 531019"/>
                <a:gd name="connsiteX6" fmla="*/ 988218 w 1059656"/>
                <a:gd name="connsiteY6" fmla="*/ 442912 h 531019"/>
                <a:gd name="connsiteX7" fmla="*/ 1019175 w 1059656"/>
                <a:gd name="connsiteY7" fmla="*/ 411956 h 531019"/>
                <a:gd name="connsiteX8" fmla="*/ 992981 w 1059656"/>
                <a:gd name="connsiteY8" fmla="*/ 381000 h 531019"/>
                <a:gd name="connsiteX9" fmla="*/ 988218 w 1059656"/>
                <a:gd name="connsiteY9" fmla="*/ 350044 h 531019"/>
                <a:gd name="connsiteX10" fmla="*/ 995362 w 1059656"/>
                <a:gd name="connsiteY10" fmla="*/ 311944 h 531019"/>
                <a:gd name="connsiteX11" fmla="*/ 1023937 w 1059656"/>
                <a:gd name="connsiteY11" fmla="*/ 271462 h 531019"/>
                <a:gd name="connsiteX12" fmla="*/ 1052512 w 1059656"/>
                <a:gd name="connsiteY12" fmla="*/ 261937 h 531019"/>
                <a:gd name="connsiteX13" fmla="*/ 1059656 w 1059656"/>
                <a:gd name="connsiteY13" fmla="*/ 233362 h 531019"/>
                <a:gd name="connsiteX14" fmla="*/ 1047750 w 1059656"/>
                <a:gd name="connsiteY14" fmla="*/ 204787 h 531019"/>
                <a:gd name="connsiteX15" fmla="*/ 1019175 w 1059656"/>
                <a:gd name="connsiteY15" fmla="*/ 195262 h 531019"/>
                <a:gd name="connsiteX16" fmla="*/ 992981 w 1059656"/>
                <a:gd name="connsiteY16" fmla="*/ 202406 h 531019"/>
                <a:gd name="connsiteX17" fmla="*/ 935831 w 1059656"/>
                <a:gd name="connsiteY17" fmla="*/ 221456 h 531019"/>
                <a:gd name="connsiteX18" fmla="*/ 900112 w 1059656"/>
                <a:gd name="connsiteY18" fmla="*/ 226219 h 531019"/>
                <a:gd name="connsiteX19" fmla="*/ 878681 w 1059656"/>
                <a:gd name="connsiteY19" fmla="*/ 209550 h 531019"/>
                <a:gd name="connsiteX20" fmla="*/ 873918 w 1059656"/>
                <a:gd name="connsiteY20" fmla="*/ 195262 h 531019"/>
                <a:gd name="connsiteX21" fmla="*/ 881062 w 1059656"/>
                <a:gd name="connsiteY21" fmla="*/ 152400 h 531019"/>
                <a:gd name="connsiteX22" fmla="*/ 888206 w 1059656"/>
                <a:gd name="connsiteY22" fmla="*/ 116681 h 531019"/>
                <a:gd name="connsiteX23" fmla="*/ 871537 w 1059656"/>
                <a:gd name="connsiteY23" fmla="*/ 78581 h 531019"/>
                <a:gd name="connsiteX24" fmla="*/ 840581 w 1059656"/>
                <a:gd name="connsiteY24" fmla="*/ 61912 h 531019"/>
                <a:gd name="connsiteX25" fmla="*/ 862012 w 1059656"/>
                <a:gd name="connsiteY25" fmla="*/ 14287 h 531019"/>
                <a:gd name="connsiteX26" fmla="*/ 809625 w 1059656"/>
                <a:gd name="connsiteY26" fmla="*/ 0 h 531019"/>
                <a:gd name="connsiteX27" fmla="*/ 797718 w 1059656"/>
                <a:gd name="connsiteY27" fmla="*/ 16669 h 531019"/>
                <a:gd name="connsiteX28" fmla="*/ 757237 w 1059656"/>
                <a:gd name="connsiteY28" fmla="*/ 11906 h 531019"/>
                <a:gd name="connsiteX29" fmla="*/ 735806 w 1059656"/>
                <a:gd name="connsiteY29" fmla="*/ 16669 h 531019"/>
                <a:gd name="connsiteX30" fmla="*/ 719137 w 1059656"/>
                <a:gd name="connsiteY30" fmla="*/ 45244 h 531019"/>
                <a:gd name="connsiteX31" fmla="*/ 723900 w 1059656"/>
                <a:gd name="connsiteY31" fmla="*/ 64294 h 531019"/>
                <a:gd name="connsiteX32" fmla="*/ 707231 w 1059656"/>
                <a:gd name="connsiteY32" fmla="*/ 78581 h 531019"/>
                <a:gd name="connsiteX33" fmla="*/ 631031 w 1059656"/>
                <a:gd name="connsiteY33" fmla="*/ 80962 h 531019"/>
                <a:gd name="connsiteX34" fmla="*/ 597693 w 1059656"/>
                <a:gd name="connsiteY34" fmla="*/ 66675 h 531019"/>
                <a:gd name="connsiteX35" fmla="*/ 569118 w 1059656"/>
                <a:gd name="connsiteY35" fmla="*/ 38100 h 531019"/>
                <a:gd name="connsiteX36" fmla="*/ 531018 w 1059656"/>
                <a:gd name="connsiteY36" fmla="*/ 33337 h 531019"/>
                <a:gd name="connsiteX37" fmla="*/ 497681 w 1059656"/>
                <a:gd name="connsiteY37" fmla="*/ 57150 h 531019"/>
                <a:gd name="connsiteX38" fmla="*/ 481012 w 1059656"/>
                <a:gd name="connsiteY38" fmla="*/ 76200 h 531019"/>
                <a:gd name="connsiteX39" fmla="*/ 466725 w 1059656"/>
                <a:gd name="connsiteY39" fmla="*/ 92869 h 531019"/>
                <a:gd name="connsiteX40" fmla="*/ 450056 w 1059656"/>
                <a:gd name="connsiteY40" fmla="*/ 111919 h 531019"/>
                <a:gd name="connsiteX41" fmla="*/ 454818 w 1059656"/>
                <a:gd name="connsiteY41" fmla="*/ 138112 h 531019"/>
                <a:gd name="connsiteX42" fmla="*/ 423862 w 1059656"/>
                <a:gd name="connsiteY42" fmla="*/ 161925 h 531019"/>
                <a:gd name="connsiteX43" fmla="*/ 371475 w 1059656"/>
                <a:gd name="connsiteY43" fmla="*/ 171450 h 531019"/>
                <a:gd name="connsiteX44" fmla="*/ 330993 w 1059656"/>
                <a:gd name="connsiteY44" fmla="*/ 190500 h 531019"/>
                <a:gd name="connsiteX45" fmla="*/ 321468 w 1059656"/>
                <a:gd name="connsiteY45" fmla="*/ 228600 h 531019"/>
                <a:gd name="connsiteX46" fmla="*/ 319087 w 1059656"/>
                <a:gd name="connsiteY46" fmla="*/ 235744 h 531019"/>
                <a:gd name="connsiteX47" fmla="*/ 266700 w 1059656"/>
                <a:gd name="connsiteY47" fmla="*/ 252412 h 531019"/>
                <a:gd name="connsiteX48" fmla="*/ 180975 w 1059656"/>
                <a:gd name="connsiteY48" fmla="*/ 283369 h 531019"/>
                <a:gd name="connsiteX49" fmla="*/ 157162 w 1059656"/>
                <a:gd name="connsiteY49" fmla="*/ 276225 h 531019"/>
                <a:gd name="connsiteX50" fmla="*/ 128587 w 1059656"/>
                <a:gd name="connsiteY50" fmla="*/ 266700 h 531019"/>
                <a:gd name="connsiteX51" fmla="*/ 130968 w 1059656"/>
                <a:gd name="connsiteY51" fmla="*/ 326231 h 531019"/>
                <a:gd name="connsiteX52" fmla="*/ 169068 w 1059656"/>
                <a:gd name="connsiteY52" fmla="*/ 354806 h 531019"/>
                <a:gd name="connsiteX53" fmla="*/ 185737 w 1059656"/>
                <a:gd name="connsiteY53" fmla="*/ 378619 h 531019"/>
                <a:gd name="connsiteX54" fmla="*/ 180975 w 1059656"/>
                <a:gd name="connsiteY54" fmla="*/ 409575 h 531019"/>
                <a:gd name="connsiteX55" fmla="*/ 173831 w 1059656"/>
                <a:gd name="connsiteY55" fmla="*/ 438150 h 531019"/>
                <a:gd name="connsiteX56" fmla="*/ 130968 w 1059656"/>
                <a:gd name="connsiteY56" fmla="*/ 440531 h 531019"/>
                <a:gd name="connsiteX57" fmla="*/ 95250 w 1059656"/>
                <a:gd name="connsiteY57" fmla="*/ 454819 h 531019"/>
                <a:gd name="connsiteX58" fmla="*/ 71437 w 1059656"/>
                <a:gd name="connsiteY58" fmla="*/ 459581 h 531019"/>
                <a:gd name="connsiteX59" fmla="*/ 50006 w 1059656"/>
                <a:gd name="connsiteY59" fmla="*/ 471487 h 531019"/>
                <a:gd name="connsiteX60" fmla="*/ 30956 w 1059656"/>
                <a:gd name="connsiteY60" fmla="*/ 488156 h 531019"/>
                <a:gd name="connsiteX61" fmla="*/ 7143 w 1059656"/>
                <a:gd name="connsiteY61" fmla="*/ 495300 h 531019"/>
                <a:gd name="connsiteX62" fmla="*/ 0 w 1059656"/>
                <a:gd name="connsiteY62" fmla="*/ 500062 h 531019"/>
                <a:gd name="connsiteX63" fmla="*/ 38100 w 1059656"/>
                <a:gd name="connsiteY63" fmla="*/ 528637 h 531019"/>
                <a:gd name="connsiteX64" fmla="*/ 80962 w 1059656"/>
                <a:gd name="connsiteY64" fmla="*/ 526256 h 531019"/>
                <a:gd name="connsiteX65" fmla="*/ 116681 w 1059656"/>
                <a:gd name="connsiteY65" fmla="*/ 492919 h 531019"/>
                <a:gd name="connsiteX66" fmla="*/ 171450 w 1059656"/>
                <a:gd name="connsiteY66" fmla="*/ 466725 h 531019"/>
                <a:gd name="connsiteX67" fmla="*/ 278606 w 1059656"/>
                <a:gd name="connsiteY67" fmla="*/ 459581 h 531019"/>
                <a:gd name="connsiteX68" fmla="*/ 292893 w 1059656"/>
                <a:gd name="connsiteY68" fmla="*/ 447675 h 531019"/>
                <a:gd name="connsiteX69" fmla="*/ 357187 w 1059656"/>
                <a:gd name="connsiteY69" fmla="*/ 447675 h 531019"/>
                <a:gd name="connsiteX70" fmla="*/ 433387 w 1059656"/>
                <a:gd name="connsiteY70" fmla="*/ 354806 h 531019"/>
                <a:gd name="connsiteX71" fmla="*/ 559593 w 1059656"/>
                <a:gd name="connsiteY71" fmla="*/ 295275 h 531019"/>
                <a:gd name="connsiteX72" fmla="*/ 619125 w 1059656"/>
                <a:gd name="connsiteY72" fmla="*/ 288131 h 531019"/>
                <a:gd name="connsiteX73" fmla="*/ 654843 w 1059656"/>
                <a:gd name="connsiteY73" fmla="*/ 261937 h 531019"/>
                <a:gd name="connsiteX74" fmla="*/ 716756 w 1059656"/>
                <a:gd name="connsiteY74" fmla="*/ 259556 h 531019"/>
                <a:gd name="connsiteX75" fmla="*/ 771525 w 1059656"/>
                <a:gd name="connsiteY75" fmla="*/ 252412 h 531019"/>
                <a:gd name="connsiteX76" fmla="*/ 781050 w 1059656"/>
                <a:gd name="connsiteY76" fmla="*/ 290512 h 531019"/>
                <a:gd name="connsiteX77" fmla="*/ 773906 w 1059656"/>
                <a:gd name="connsiteY77" fmla="*/ 411956 h 531019"/>
                <a:gd name="connsiteX78" fmla="*/ 707231 w 1059656"/>
                <a:gd name="connsiteY78" fmla="*/ 428625 h 531019"/>
                <a:gd name="connsiteX79" fmla="*/ 657224 w 1059656"/>
                <a:gd name="connsiteY79" fmla="*/ 483393 h 531019"/>
                <a:gd name="connsiteX80" fmla="*/ 676275 w 1059656"/>
                <a:gd name="connsiteY80" fmla="*/ 500062 h 531019"/>
                <a:gd name="connsiteX81" fmla="*/ 697706 w 1059656"/>
                <a:gd name="connsiteY81" fmla="*/ 531019 h 531019"/>
                <a:gd name="connsiteX0" fmla="*/ 697706 w 1059656"/>
                <a:gd name="connsiteY0" fmla="*/ 531019 h 531019"/>
                <a:gd name="connsiteX1" fmla="*/ 778668 w 1059656"/>
                <a:gd name="connsiteY1" fmla="*/ 459581 h 531019"/>
                <a:gd name="connsiteX2" fmla="*/ 816768 w 1059656"/>
                <a:gd name="connsiteY2" fmla="*/ 440531 h 531019"/>
                <a:gd name="connsiteX3" fmla="*/ 852487 w 1059656"/>
                <a:gd name="connsiteY3" fmla="*/ 438150 h 531019"/>
                <a:gd name="connsiteX4" fmla="*/ 916781 w 1059656"/>
                <a:gd name="connsiteY4" fmla="*/ 423862 h 531019"/>
                <a:gd name="connsiteX5" fmla="*/ 950118 w 1059656"/>
                <a:gd name="connsiteY5" fmla="*/ 426244 h 531019"/>
                <a:gd name="connsiteX6" fmla="*/ 988218 w 1059656"/>
                <a:gd name="connsiteY6" fmla="*/ 442912 h 531019"/>
                <a:gd name="connsiteX7" fmla="*/ 1019175 w 1059656"/>
                <a:gd name="connsiteY7" fmla="*/ 411956 h 531019"/>
                <a:gd name="connsiteX8" fmla="*/ 992981 w 1059656"/>
                <a:gd name="connsiteY8" fmla="*/ 381000 h 531019"/>
                <a:gd name="connsiteX9" fmla="*/ 988218 w 1059656"/>
                <a:gd name="connsiteY9" fmla="*/ 350044 h 531019"/>
                <a:gd name="connsiteX10" fmla="*/ 995362 w 1059656"/>
                <a:gd name="connsiteY10" fmla="*/ 311944 h 531019"/>
                <a:gd name="connsiteX11" fmla="*/ 1023937 w 1059656"/>
                <a:gd name="connsiteY11" fmla="*/ 271462 h 531019"/>
                <a:gd name="connsiteX12" fmla="*/ 1052512 w 1059656"/>
                <a:gd name="connsiteY12" fmla="*/ 261937 h 531019"/>
                <a:gd name="connsiteX13" fmla="*/ 1059656 w 1059656"/>
                <a:gd name="connsiteY13" fmla="*/ 233362 h 531019"/>
                <a:gd name="connsiteX14" fmla="*/ 1047750 w 1059656"/>
                <a:gd name="connsiteY14" fmla="*/ 204787 h 531019"/>
                <a:gd name="connsiteX15" fmla="*/ 1019175 w 1059656"/>
                <a:gd name="connsiteY15" fmla="*/ 195262 h 531019"/>
                <a:gd name="connsiteX16" fmla="*/ 992981 w 1059656"/>
                <a:gd name="connsiteY16" fmla="*/ 202406 h 531019"/>
                <a:gd name="connsiteX17" fmla="*/ 935831 w 1059656"/>
                <a:gd name="connsiteY17" fmla="*/ 221456 h 531019"/>
                <a:gd name="connsiteX18" fmla="*/ 900112 w 1059656"/>
                <a:gd name="connsiteY18" fmla="*/ 226219 h 531019"/>
                <a:gd name="connsiteX19" fmla="*/ 878681 w 1059656"/>
                <a:gd name="connsiteY19" fmla="*/ 209550 h 531019"/>
                <a:gd name="connsiteX20" fmla="*/ 873918 w 1059656"/>
                <a:gd name="connsiteY20" fmla="*/ 195262 h 531019"/>
                <a:gd name="connsiteX21" fmla="*/ 881062 w 1059656"/>
                <a:gd name="connsiteY21" fmla="*/ 152400 h 531019"/>
                <a:gd name="connsiteX22" fmla="*/ 888206 w 1059656"/>
                <a:gd name="connsiteY22" fmla="*/ 116681 h 531019"/>
                <a:gd name="connsiteX23" fmla="*/ 871537 w 1059656"/>
                <a:gd name="connsiteY23" fmla="*/ 78581 h 531019"/>
                <a:gd name="connsiteX24" fmla="*/ 840581 w 1059656"/>
                <a:gd name="connsiteY24" fmla="*/ 61912 h 531019"/>
                <a:gd name="connsiteX25" fmla="*/ 862012 w 1059656"/>
                <a:gd name="connsiteY25" fmla="*/ 14287 h 531019"/>
                <a:gd name="connsiteX26" fmla="*/ 809625 w 1059656"/>
                <a:gd name="connsiteY26" fmla="*/ 0 h 531019"/>
                <a:gd name="connsiteX27" fmla="*/ 797718 w 1059656"/>
                <a:gd name="connsiteY27" fmla="*/ 16669 h 531019"/>
                <a:gd name="connsiteX28" fmla="*/ 757237 w 1059656"/>
                <a:gd name="connsiteY28" fmla="*/ 11906 h 531019"/>
                <a:gd name="connsiteX29" fmla="*/ 735806 w 1059656"/>
                <a:gd name="connsiteY29" fmla="*/ 16669 h 531019"/>
                <a:gd name="connsiteX30" fmla="*/ 719137 w 1059656"/>
                <a:gd name="connsiteY30" fmla="*/ 45244 h 531019"/>
                <a:gd name="connsiteX31" fmla="*/ 723900 w 1059656"/>
                <a:gd name="connsiteY31" fmla="*/ 64294 h 531019"/>
                <a:gd name="connsiteX32" fmla="*/ 707231 w 1059656"/>
                <a:gd name="connsiteY32" fmla="*/ 78581 h 531019"/>
                <a:gd name="connsiteX33" fmla="*/ 631031 w 1059656"/>
                <a:gd name="connsiteY33" fmla="*/ 80962 h 531019"/>
                <a:gd name="connsiteX34" fmla="*/ 597693 w 1059656"/>
                <a:gd name="connsiteY34" fmla="*/ 66675 h 531019"/>
                <a:gd name="connsiteX35" fmla="*/ 569118 w 1059656"/>
                <a:gd name="connsiteY35" fmla="*/ 38100 h 531019"/>
                <a:gd name="connsiteX36" fmla="*/ 531018 w 1059656"/>
                <a:gd name="connsiteY36" fmla="*/ 33337 h 531019"/>
                <a:gd name="connsiteX37" fmla="*/ 497681 w 1059656"/>
                <a:gd name="connsiteY37" fmla="*/ 57150 h 531019"/>
                <a:gd name="connsiteX38" fmla="*/ 481012 w 1059656"/>
                <a:gd name="connsiteY38" fmla="*/ 76200 h 531019"/>
                <a:gd name="connsiteX39" fmla="*/ 466725 w 1059656"/>
                <a:gd name="connsiteY39" fmla="*/ 92869 h 531019"/>
                <a:gd name="connsiteX40" fmla="*/ 450056 w 1059656"/>
                <a:gd name="connsiteY40" fmla="*/ 111919 h 531019"/>
                <a:gd name="connsiteX41" fmla="*/ 454818 w 1059656"/>
                <a:gd name="connsiteY41" fmla="*/ 138112 h 531019"/>
                <a:gd name="connsiteX42" fmla="*/ 423862 w 1059656"/>
                <a:gd name="connsiteY42" fmla="*/ 161925 h 531019"/>
                <a:gd name="connsiteX43" fmla="*/ 371475 w 1059656"/>
                <a:gd name="connsiteY43" fmla="*/ 171450 h 531019"/>
                <a:gd name="connsiteX44" fmla="*/ 330993 w 1059656"/>
                <a:gd name="connsiteY44" fmla="*/ 190500 h 531019"/>
                <a:gd name="connsiteX45" fmla="*/ 321468 w 1059656"/>
                <a:gd name="connsiteY45" fmla="*/ 228600 h 531019"/>
                <a:gd name="connsiteX46" fmla="*/ 319087 w 1059656"/>
                <a:gd name="connsiteY46" fmla="*/ 235744 h 531019"/>
                <a:gd name="connsiteX47" fmla="*/ 266700 w 1059656"/>
                <a:gd name="connsiteY47" fmla="*/ 252412 h 531019"/>
                <a:gd name="connsiteX48" fmla="*/ 180975 w 1059656"/>
                <a:gd name="connsiteY48" fmla="*/ 283369 h 531019"/>
                <a:gd name="connsiteX49" fmla="*/ 157162 w 1059656"/>
                <a:gd name="connsiteY49" fmla="*/ 276225 h 531019"/>
                <a:gd name="connsiteX50" fmla="*/ 128587 w 1059656"/>
                <a:gd name="connsiteY50" fmla="*/ 266700 h 531019"/>
                <a:gd name="connsiteX51" fmla="*/ 130968 w 1059656"/>
                <a:gd name="connsiteY51" fmla="*/ 326231 h 531019"/>
                <a:gd name="connsiteX52" fmla="*/ 169068 w 1059656"/>
                <a:gd name="connsiteY52" fmla="*/ 354806 h 531019"/>
                <a:gd name="connsiteX53" fmla="*/ 185737 w 1059656"/>
                <a:gd name="connsiteY53" fmla="*/ 378619 h 531019"/>
                <a:gd name="connsiteX54" fmla="*/ 180975 w 1059656"/>
                <a:gd name="connsiteY54" fmla="*/ 409575 h 531019"/>
                <a:gd name="connsiteX55" fmla="*/ 173831 w 1059656"/>
                <a:gd name="connsiteY55" fmla="*/ 438150 h 531019"/>
                <a:gd name="connsiteX56" fmla="*/ 130968 w 1059656"/>
                <a:gd name="connsiteY56" fmla="*/ 440531 h 531019"/>
                <a:gd name="connsiteX57" fmla="*/ 95250 w 1059656"/>
                <a:gd name="connsiteY57" fmla="*/ 454819 h 531019"/>
                <a:gd name="connsiteX58" fmla="*/ 71437 w 1059656"/>
                <a:gd name="connsiteY58" fmla="*/ 459581 h 531019"/>
                <a:gd name="connsiteX59" fmla="*/ 50006 w 1059656"/>
                <a:gd name="connsiteY59" fmla="*/ 471487 h 531019"/>
                <a:gd name="connsiteX60" fmla="*/ 30956 w 1059656"/>
                <a:gd name="connsiteY60" fmla="*/ 488156 h 531019"/>
                <a:gd name="connsiteX61" fmla="*/ 7143 w 1059656"/>
                <a:gd name="connsiteY61" fmla="*/ 495300 h 531019"/>
                <a:gd name="connsiteX62" fmla="*/ 0 w 1059656"/>
                <a:gd name="connsiteY62" fmla="*/ 500062 h 531019"/>
                <a:gd name="connsiteX63" fmla="*/ 38100 w 1059656"/>
                <a:gd name="connsiteY63" fmla="*/ 528637 h 531019"/>
                <a:gd name="connsiteX64" fmla="*/ 80962 w 1059656"/>
                <a:gd name="connsiteY64" fmla="*/ 526256 h 531019"/>
                <a:gd name="connsiteX65" fmla="*/ 116681 w 1059656"/>
                <a:gd name="connsiteY65" fmla="*/ 492919 h 531019"/>
                <a:gd name="connsiteX66" fmla="*/ 171450 w 1059656"/>
                <a:gd name="connsiteY66" fmla="*/ 466725 h 531019"/>
                <a:gd name="connsiteX67" fmla="*/ 278606 w 1059656"/>
                <a:gd name="connsiteY67" fmla="*/ 459581 h 531019"/>
                <a:gd name="connsiteX68" fmla="*/ 292893 w 1059656"/>
                <a:gd name="connsiteY68" fmla="*/ 447675 h 531019"/>
                <a:gd name="connsiteX69" fmla="*/ 357187 w 1059656"/>
                <a:gd name="connsiteY69" fmla="*/ 447675 h 531019"/>
                <a:gd name="connsiteX70" fmla="*/ 433387 w 1059656"/>
                <a:gd name="connsiteY70" fmla="*/ 354806 h 531019"/>
                <a:gd name="connsiteX71" fmla="*/ 559593 w 1059656"/>
                <a:gd name="connsiteY71" fmla="*/ 295275 h 531019"/>
                <a:gd name="connsiteX72" fmla="*/ 619125 w 1059656"/>
                <a:gd name="connsiteY72" fmla="*/ 288131 h 531019"/>
                <a:gd name="connsiteX73" fmla="*/ 654843 w 1059656"/>
                <a:gd name="connsiteY73" fmla="*/ 261937 h 531019"/>
                <a:gd name="connsiteX74" fmla="*/ 716756 w 1059656"/>
                <a:gd name="connsiteY74" fmla="*/ 259556 h 531019"/>
                <a:gd name="connsiteX75" fmla="*/ 771525 w 1059656"/>
                <a:gd name="connsiteY75" fmla="*/ 252412 h 531019"/>
                <a:gd name="connsiteX76" fmla="*/ 781050 w 1059656"/>
                <a:gd name="connsiteY76" fmla="*/ 290512 h 531019"/>
                <a:gd name="connsiteX77" fmla="*/ 773906 w 1059656"/>
                <a:gd name="connsiteY77" fmla="*/ 411956 h 531019"/>
                <a:gd name="connsiteX78" fmla="*/ 707231 w 1059656"/>
                <a:gd name="connsiteY78" fmla="*/ 428625 h 531019"/>
                <a:gd name="connsiteX79" fmla="*/ 657224 w 1059656"/>
                <a:gd name="connsiteY79" fmla="*/ 483393 h 531019"/>
                <a:gd name="connsiteX80" fmla="*/ 654844 w 1059656"/>
                <a:gd name="connsiteY80" fmla="*/ 495300 h 531019"/>
                <a:gd name="connsiteX81" fmla="*/ 697706 w 1059656"/>
                <a:gd name="connsiteY81" fmla="*/ 531019 h 531019"/>
                <a:gd name="connsiteX0" fmla="*/ 697706 w 1059656"/>
                <a:gd name="connsiteY0" fmla="*/ 531019 h 531019"/>
                <a:gd name="connsiteX1" fmla="*/ 778668 w 1059656"/>
                <a:gd name="connsiteY1" fmla="*/ 459581 h 531019"/>
                <a:gd name="connsiteX2" fmla="*/ 816768 w 1059656"/>
                <a:gd name="connsiteY2" fmla="*/ 440531 h 531019"/>
                <a:gd name="connsiteX3" fmla="*/ 852487 w 1059656"/>
                <a:gd name="connsiteY3" fmla="*/ 438150 h 531019"/>
                <a:gd name="connsiteX4" fmla="*/ 916781 w 1059656"/>
                <a:gd name="connsiteY4" fmla="*/ 423862 h 531019"/>
                <a:gd name="connsiteX5" fmla="*/ 950118 w 1059656"/>
                <a:gd name="connsiteY5" fmla="*/ 426244 h 531019"/>
                <a:gd name="connsiteX6" fmla="*/ 988218 w 1059656"/>
                <a:gd name="connsiteY6" fmla="*/ 442912 h 531019"/>
                <a:gd name="connsiteX7" fmla="*/ 1019175 w 1059656"/>
                <a:gd name="connsiteY7" fmla="*/ 411956 h 531019"/>
                <a:gd name="connsiteX8" fmla="*/ 992981 w 1059656"/>
                <a:gd name="connsiteY8" fmla="*/ 381000 h 531019"/>
                <a:gd name="connsiteX9" fmla="*/ 988218 w 1059656"/>
                <a:gd name="connsiteY9" fmla="*/ 350044 h 531019"/>
                <a:gd name="connsiteX10" fmla="*/ 995362 w 1059656"/>
                <a:gd name="connsiteY10" fmla="*/ 311944 h 531019"/>
                <a:gd name="connsiteX11" fmla="*/ 1023937 w 1059656"/>
                <a:gd name="connsiteY11" fmla="*/ 271462 h 531019"/>
                <a:gd name="connsiteX12" fmla="*/ 1052512 w 1059656"/>
                <a:gd name="connsiteY12" fmla="*/ 261937 h 531019"/>
                <a:gd name="connsiteX13" fmla="*/ 1059656 w 1059656"/>
                <a:gd name="connsiteY13" fmla="*/ 233362 h 531019"/>
                <a:gd name="connsiteX14" fmla="*/ 1047750 w 1059656"/>
                <a:gd name="connsiteY14" fmla="*/ 204787 h 531019"/>
                <a:gd name="connsiteX15" fmla="*/ 1019175 w 1059656"/>
                <a:gd name="connsiteY15" fmla="*/ 195262 h 531019"/>
                <a:gd name="connsiteX16" fmla="*/ 992981 w 1059656"/>
                <a:gd name="connsiteY16" fmla="*/ 202406 h 531019"/>
                <a:gd name="connsiteX17" fmla="*/ 935831 w 1059656"/>
                <a:gd name="connsiteY17" fmla="*/ 221456 h 531019"/>
                <a:gd name="connsiteX18" fmla="*/ 900112 w 1059656"/>
                <a:gd name="connsiteY18" fmla="*/ 226219 h 531019"/>
                <a:gd name="connsiteX19" fmla="*/ 878681 w 1059656"/>
                <a:gd name="connsiteY19" fmla="*/ 209550 h 531019"/>
                <a:gd name="connsiteX20" fmla="*/ 873918 w 1059656"/>
                <a:gd name="connsiteY20" fmla="*/ 195262 h 531019"/>
                <a:gd name="connsiteX21" fmla="*/ 881062 w 1059656"/>
                <a:gd name="connsiteY21" fmla="*/ 152400 h 531019"/>
                <a:gd name="connsiteX22" fmla="*/ 888206 w 1059656"/>
                <a:gd name="connsiteY22" fmla="*/ 116681 h 531019"/>
                <a:gd name="connsiteX23" fmla="*/ 871537 w 1059656"/>
                <a:gd name="connsiteY23" fmla="*/ 78581 h 531019"/>
                <a:gd name="connsiteX24" fmla="*/ 840581 w 1059656"/>
                <a:gd name="connsiteY24" fmla="*/ 61912 h 531019"/>
                <a:gd name="connsiteX25" fmla="*/ 862012 w 1059656"/>
                <a:gd name="connsiteY25" fmla="*/ 14287 h 531019"/>
                <a:gd name="connsiteX26" fmla="*/ 809625 w 1059656"/>
                <a:gd name="connsiteY26" fmla="*/ 0 h 531019"/>
                <a:gd name="connsiteX27" fmla="*/ 797718 w 1059656"/>
                <a:gd name="connsiteY27" fmla="*/ 16669 h 531019"/>
                <a:gd name="connsiteX28" fmla="*/ 757237 w 1059656"/>
                <a:gd name="connsiteY28" fmla="*/ 11906 h 531019"/>
                <a:gd name="connsiteX29" fmla="*/ 735806 w 1059656"/>
                <a:gd name="connsiteY29" fmla="*/ 16669 h 531019"/>
                <a:gd name="connsiteX30" fmla="*/ 719137 w 1059656"/>
                <a:gd name="connsiteY30" fmla="*/ 45244 h 531019"/>
                <a:gd name="connsiteX31" fmla="*/ 723900 w 1059656"/>
                <a:gd name="connsiteY31" fmla="*/ 64294 h 531019"/>
                <a:gd name="connsiteX32" fmla="*/ 707231 w 1059656"/>
                <a:gd name="connsiteY32" fmla="*/ 78581 h 531019"/>
                <a:gd name="connsiteX33" fmla="*/ 631031 w 1059656"/>
                <a:gd name="connsiteY33" fmla="*/ 80962 h 531019"/>
                <a:gd name="connsiteX34" fmla="*/ 597693 w 1059656"/>
                <a:gd name="connsiteY34" fmla="*/ 66675 h 531019"/>
                <a:gd name="connsiteX35" fmla="*/ 569118 w 1059656"/>
                <a:gd name="connsiteY35" fmla="*/ 38100 h 531019"/>
                <a:gd name="connsiteX36" fmla="*/ 531018 w 1059656"/>
                <a:gd name="connsiteY36" fmla="*/ 33337 h 531019"/>
                <a:gd name="connsiteX37" fmla="*/ 497681 w 1059656"/>
                <a:gd name="connsiteY37" fmla="*/ 57150 h 531019"/>
                <a:gd name="connsiteX38" fmla="*/ 481012 w 1059656"/>
                <a:gd name="connsiteY38" fmla="*/ 76200 h 531019"/>
                <a:gd name="connsiteX39" fmla="*/ 466725 w 1059656"/>
                <a:gd name="connsiteY39" fmla="*/ 92869 h 531019"/>
                <a:gd name="connsiteX40" fmla="*/ 450056 w 1059656"/>
                <a:gd name="connsiteY40" fmla="*/ 111919 h 531019"/>
                <a:gd name="connsiteX41" fmla="*/ 454818 w 1059656"/>
                <a:gd name="connsiteY41" fmla="*/ 138112 h 531019"/>
                <a:gd name="connsiteX42" fmla="*/ 423862 w 1059656"/>
                <a:gd name="connsiteY42" fmla="*/ 161925 h 531019"/>
                <a:gd name="connsiteX43" fmla="*/ 371475 w 1059656"/>
                <a:gd name="connsiteY43" fmla="*/ 171450 h 531019"/>
                <a:gd name="connsiteX44" fmla="*/ 330993 w 1059656"/>
                <a:gd name="connsiteY44" fmla="*/ 190500 h 531019"/>
                <a:gd name="connsiteX45" fmla="*/ 321468 w 1059656"/>
                <a:gd name="connsiteY45" fmla="*/ 228600 h 531019"/>
                <a:gd name="connsiteX46" fmla="*/ 319087 w 1059656"/>
                <a:gd name="connsiteY46" fmla="*/ 235744 h 531019"/>
                <a:gd name="connsiteX47" fmla="*/ 266700 w 1059656"/>
                <a:gd name="connsiteY47" fmla="*/ 252412 h 531019"/>
                <a:gd name="connsiteX48" fmla="*/ 180975 w 1059656"/>
                <a:gd name="connsiteY48" fmla="*/ 283369 h 531019"/>
                <a:gd name="connsiteX49" fmla="*/ 157162 w 1059656"/>
                <a:gd name="connsiteY49" fmla="*/ 276225 h 531019"/>
                <a:gd name="connsiteX50" fmla="*/ 128587 w 1059656"/>
                <a:gd name="connsiteY50" fmla="*/ 266700 h 531019"/>
                <a:gd name="connsiteX51" fmla="*/ 130968 w 1059656"/>
                <a:gd name="connsiteY51" fmla="*/ 326231 h 531019"/>
                <a:gd name="connsiteX52" fmla="*/ 169068 w 1059656"/>
                <a:gd name="connsiteY52" fmla="*/ 354806 h 531019"/>
                <a:gd name="connsiteX53" fmla="*/ 185737 w 1059656"/>
                <a:gd name="connsiteY53" fmla="*/ 378619 h 531019"/>
                <a:gd name="connsiteX54" fmla="*/ 180975 w 1059656"/>
                <a:gd name="connsiteY54" fmla="*/ 409575 h 531019"/>
                <a:gd name="connsiteX55" fmla="*/ 173831 w 1059656"/>
                <a:gd name="connsiteY55" fmla="*/ 438150 h 531019"/>
                <a:gd name="connsiteX56" fmla="*/ 130968 w 1059656"/>
                <a:gd name="connsiteY56" fmla="*/ 440531 h 531019"/>
                <a:gd name="connsiteX57" fmla="*/ 95250 w 1059656"/>
                <a:gd name="connsiteY57" fmla="*/ 454819 h 531019"/>
                <a:gd name="connsiteX58" fmla="*/ 71437 w 1059656"/>
                <a:gd name="connsiteY58" fmla="*/ 459581 h 531019"/>
                <a:gd name="connsiteX59" fmla="*/ 50006 w 1059656"/>
                <a:gd name="connsiteY59" fmla="*/ 471487 h 531019"/>
                <a:gd name="connsiteX60" fmla="*/ 30956 w 1059656"/>
                <a:gd name="connsiteY60" fmla="*/ 488156 h 531019"/>
                <a:gd name="connsiteX61" fmla="*/ 7143 w 1059656"/>
                <a:gd name="connsiteY61" fmla="*/ 495300 h 531019"/>
                <a:gd name="connsiteX62" fmla="*/ 0 w 1059656"/>
                <a:gd name="connsiteY62" fmla="*/ 500062 h 531019"/>
                <a:gd name="connsiteX63" fmla="*/ 38100 w 1059656"/>
                <a:gd name="connsiteY63" fmla="*/ 528637 h 531019"/>
                <a:gd name="connsiteX64" fmla="*/ 80962 w 1059656"/>
                <a:gd name="connsiteY64" fmla="*/ 526256 h 531019"/>
                <a:gd name="connsiteX65" fmla="*/ 116681 w 1059656"/>
                <a:gd name="connsiteY65" fmla="*/ 492919 h 531019"/>
                <a:gd name="connsiteX66" fmla="*/ 171450 w 1059656"/>
                <a:gd name="connsiteY66" fmla="*/ 466725 h 531019"/>
                <a:gd name="connsiteX67" fmla="*/ 278606 w 1059656"/>
                <a:gd name="connsiteY67" fmla="*/ 459581 h 531019"/>
                <a:gd name="connsiteX68" fmla="*/ 292893 w 1059656"/>
                <a:gd name="connsiteY68" fmla="*/ 447675 h 531019"/>
                <a:gd name="connsiteX69" fmla="*/ 357187 w 1059656"/>
                <a:gd name="connsiteY69" fmla="*/ 447675 h 531019"/>
                <a:gd name="connsiteX70" fmla="*/ 433387 w 1059656"/>
                <a:gd name="connsiteY70" fmla="*/ 354806 h 531019"/>
                <a:gd name="connsiteX71" fmla="*/ 559593 w 1059656"/>
                <a:gd name="connsiteY71" fmla="*/ 295275 h 531019"/>
                <a:gd name="connsiteX72" fmla="*/ 619125 w 1059656"/>
                <a:gd name="connsiteY72" fmla="*/ 288131 h 531019"/>
                <a:gd name="connsiteX73" fmla="*/ 654843 w 1059656"/>
                <a:gd name="connsiteY73" fmla="*/ 261937 h 531019"/>
                <a:gd name="connsiteX74" fmla="*/ 716756 w 1059656"/>
                <a:gd name="connsiteY74" fmla="*/ 259556 h 531019"/>
                <a:gd name="connsiteX75" fmla="*/ 771525 w 1059656"/>
                <a:gd name="connsiteY75" fmla="*/ 252412 h 531019"/>
                <a:gd name="connsiteX76" fmla="*/ 781050 w 1059656"/>
                <a:gd name="connsiteY76" fmla="*/ 290512 h 531019"/>
                <a:gd name="connsiteX77" fmla="*/ 773906 w 1059656"/>
                <a:gd name="connsiteY77" fmla="*/ 411956 h 531019"/>
                <a:gd name="connsiteX78" fmla="*/ 707231 w 1059656"/>
                <a:gd name="connsiteY78" fmla="*/ 428625 h 531019"/>
                <a:gd name="connsiteX79" fmla="*/ 652461 w 1059656"/>
                <a:gd name="connsiteY79" fmla="*/ 476249 h 531019"/>
                <a:gd name="connsiteX80" fmla="*/ 654844 w 1059656"/>
                <a:gd name="connsiteY80" fmla="*/ 495300 h 531019"/>
                <a:gd name="connsiteX81" fmla="*/ 697706 w 1059656"/>
                <a:gd name="connsiteY81" fmla="*/ 531019 h 531019"/>
                <a:gd name="connsiteX0" fmla="*/ 697706 w 1059656"/>
                <a:gd name="connsiteY0" fmla="*/ 564357 h 564357"/>
                <a:gd name="connsiteX1" fmla="*/ 778668 w 1059656"/>
                <a:gd name="connsiteY1" fmla="*/ 492919 h 564357"/>
                <a:gd name="connsiteX2" fmla="*/ 816768 w 1059656"/>
                <a:gd name="connsiteY2" fmla="*/ 473869 h 564357"/>
                <a:gd name="connsiteX3" fmla="*/ 852487 w 1059656"/>
                <a:gd name="connsiteY3" fmla="*/ 471488 h 564357"/>
                <a:gd name="connsiteX4" fmla="*/ 916781 w 1059656"/>
                <a:gd name="connsiteY4" fmla="*/ 457200 h 564357"/>
                <a:gd name="connsiteX5" fmla="*/ 950118 w 1059656"/>
                <a:gd name="connsiteY5" fmla="*/ 459582 h 564357"/>
                <a:gd name="connsiteX6" fmla="*/ 988218 w 1059656"/>
                <a:gd name="connsiteY6" fmla="*/ 476250 h 564357"/>
                <a:gd name="connsiteX7" fmla="*/ 1019175 w 1059656"/>
                <a:gd name="connsiteY7" fmla="*/ 445294 h 564357"/>
                <a:gd name="connsiteX8" fmla="*/ 992981 w 1059656"/>
                <a:gd name="connsiteY8" fmla="*/ 414338 h 564357"/>
                <a:gd name="connsiteX9" fmla="*/ 988218 w 1059656"/>
                <a:gd name="connsiteY9" fmla="*/ 383382 h 564357"/>
                <a:gd name="connsiteX10" fmla="*/ 995362 w 1059656"/>
                <a:gd name="connsiteY10" fmla="*/ 345282 h 564357"/>
                <a:gd name="connsiteX11" fmla="*/ 1023937 w 1059656"/>
                <a:gd name="connsiteY11" fmla="*/ 304800 h 564357"/>
                <a:gd name="connsiteX12" fmla="*/ 1052512 w 1059656"/>
                <a:gd name="connsiteY12" fmla="*/ 295275 h 564357"/>
                <a:gd name="connsiteX13" fmla="*/ 1059656 w 1059656"/>
                <a:gd name="connsiteY13" fmla="*/ 266700 h 564357"/>
                <a:gd name="connsiteX14" fmla="*/ 1047750 w 1059656"/>
                <a:gd name="connsiteY14" fmla="*/ 238125 h 564357"/>
                <a:gd name="connsiteX15" fmla="*/ 1019175 w 1059656"/>
                <a:gd name="connsiteY15" fmla="*/ 228600 h 564357"/>
                <a:gd name="connsiteX16" fmla="*/ 992981 w 1059656"/>
                <a:gd name="connsiteY16" fmla="*/ 235744 h 564357"/>
                <a:gd name="connsiteX17" fmla="*/ 935831 w 1059656"/>
                <a:gd name="connsiteY17" fmla="*/ 254794 h 564357"/>
                <a:gd name="connsiteX18" fmla="*/ 900112 w 1059656"/>
                <a:gd name="connsiteY18" fmla="*/ 259557 h 564357"/>
                <a:gd name="connsiteX19" fmla="*/ 878681 w 1059656"/>
                <a:gd name="connsiteY19" fmla="*/ 242888 h 564357"/>
                <a:gd name="connsiteX20" fmla="*/ 873918 w 1059656"/>
                <a:gd name="connsiteY20" fmla="*/ 228600 h 564357"/>
                <a:gd name="connsiteX21" fmla="*/ 881062 w 1059656"/>
                <a:gd name="connsiteY21" fmla="*/ 185738 h 564357"/>
                <a:gd name="connsiteX22" fmla="*/ 888206 w 1059656"/>
                <a:gd name="connsiteY22" fmla="*/ 150019 h 564357"/>
                <a:gd name="connsiteX23" fmla="*/ 871537 w 1059656"/>
                <a:gd name="connsiteY23" fmla="*/ 111919 h 564357"/>
                <a:gd name="connsiteX24" fmla="*/ 840581 w 1059656"/>
                <a:gd name="connsiteY24" fmla="*/ 95250 h 564357"/>
                <a:gd name="connsiteX25" fmla="*/ 833437 w 1059656"/>
                <a:gd name="connsiteY25" fmla="*/ 0 h 564357"/>
                <a:gd name="connsiteX26" fmla="*/ 809625 w 1059656"/>
                <a:gd name="connsiteY26" fmla="*/ 33338 h 564357"/>
                <a:gd name="connsiteX27" fmla="*/ 797718 w 1059656"/>
                <a:gd name="connsiteY27" fmla="*/ 50007 h 564357"/>
                <a:gd name="connsiteX28" fmla="*/ 757237 w 1059656"/>
                <a:gd name="connsiteY28" fmla="*/ 45244 h 564357"/>
                <a:gd name="connsiteX29" fmla="*/ 735806 w 1059656"/>
                <a:gd name="connsiteY29" fmla="*/ 50007 h 564357"/>
                <a:gd name="connsiteX30" fmla="*/ 719137 w 1059656"/>
                <a:gd name="connsiteY30" fmla="*/ 78582 h 564357"/>
                <a:gd name="connsiteX31" fmla="*/ 723900 w 1059656"/>
                <a:gd name="connsiteY31" fmla="*/ 97632 h 564357"/>
                <a:gd name="connsiteX32" fmla="*/ 707231 w 1059656"/>
                <a:gd name="connsiteY32" fmla="*/ 111919 h 564357"/>
                <a:gd name="connsiteX33" fmla="*/ 631031 w 1059656"/>
                <a:gd name="connsiteY33" fmla="*/ 114300 h 564357"/>
                <a:gd name="connsiteX34" fmla="*/ 597693 w 1059656"/>
                <a:gd name="connsiteY34" fmla="*/ 100013 h 564357"/>
                <a:gd name="connsiteX35" fmla="*/ 569118 w 1059656"/>
                <a:gd name="connsiteY35" fmla="*/ 71438 h 564357"/>
                <a:gd name="connsiteX36" fmla="*/ 531018 w 1059656"/>
                <a:gd name="connsiteY36" fmla="*/ 66675 h 564357"/>
                <a:gd name="connsiteX37" fmla="*/ 497681 w 1059656"/>
                <a:gd name="connsiteY37" fmla="*/ 90488 h 564357"/>
                <a:gd name="connsiteX38" fmla="*/ 481012 w 1059656"/>
                <a:gd name="connsiteY38" fmla="*/ 109538 h 564357"/>
                <a:gd name="connsiteX39" fmla="*/ 466725 w 1059656"/>
                <a:gd name="connsiteY39" fmla="*/ 126207 h 564357"/>
                <a:gd name="connsiteX40" fmla="*/ 450056 w 1059656"/>
                <a:gd name="connsiteY40" fmla="*/ 145257 h 564357"/>
                <a:gd name="connsiteX41" fmla="*/ 454818 w 1059656"/>
                <a:gd name="connsiteY41" fmla="*/ 171450 h 564357"/>
                <a:gd name="connsiteX42" fmla="*/ 423862 w 1059656"/>
                <a:gd name="connsiteY42" fmla="*/ 195263 h 564357"/>
                <a:gd name="connsiteX43" fmla="*/ 371475 w 1059656"/>
                <a:gd name="connsiteY43" fmla="*/ 204788 h 564357"/>
                <a:gd name="connsiteX44" fmla="*/ 330993 w 1059656"/>
                <a:gd name="connsiteY44" fmla="*/ 223838 h 564357"/>
                <a:gd name="connsiteX45" fmla="*/ 321468 w 1059656"/>
                <a:gd name="connsiteY45" fmla="*/ 261938 h 564357"/>
                <a:gd name="connsiteX46" fmla="*/ 319087 w 1059656"/>
                <a:gd name="connsiteY46" fmla="*/ 269082 h 564357"/>
                <a:gd name="connsiteX47" fmla="*/ 266700 w 1059656"/>
                <a:gd name="connsiteY47" fmla="*/ 285750 h 564357"/>
                <a:gd name="connsiteX48" fmla="*/ 180975 w 1059656"/>
                <a:gd name="connsiteY48" fmla="*/ 316707 h 564357"/>
                <a:gd name="connsiteX49" fmla="*/ 157162 w 1059656"/>
                <a:gd name="connsiteY49" fmla="*/ 309563 h 564357"/>
                <a:gd name="connsiteX50" fmla="*/ 128587 w 1059656"/>
                <a:gd name="connsiteY50" fmla="*/ 300038 h 564357"/>
                <a:gd name="connsiteX51" fmla="*/ 130968 w 1059656"/>
                <a:gd name="connsiteY51" fmla="*/ 359569 h 564357"/>
                <a:gd name="connsiteX52" fmla="*/ 169068 w 1059656"/>
                <a:gd name="connsiteY52" fmla="*/ 388144 h 564357"/>
                <a:gd name="connsiteX53" fmla="*/ 185737 w 1059656"/>
                <a:gd name="connsiteY53" fmla="*/ 411957 h 564357"/>
                <a:gd name="connsiteX54" fmla="*/ 180975 w 1059656"/>
                <a:gd name="connsiteY54" fmla="*/ 442913 h 564357"/>
                <a:gd name="connsiteX55" fmla="*/ 173831 w 1059656"/>
                <a:gd name="connsiteY55" fmla="*/ 471488 h 564357"/>
                <a:gd name="connsiteX56" fmla="*/ 130968 w 1059656"/>
                <a:gd name="connsiteY56" fmla="*/ 473869 h 564357"/>
                <a:gd name="connsiteX57" fmla="*/ 95250 w 1059656"/>
                <a:gd name="connsiteY57" fmla="*/ 488157 h 564357"/>
                <a:gd name="connsiteX58" fmla="*/ 71437 w 1059656"/>
                <a:gd name="connsiteY58" fmla="*/ 492919 h 564357"/>
                <a:gd name="connsiteX59" fmla="*/ 50006 w 1059656"/>
                <a:gd name="connsiteY59" fmla="*/ 504825 h 564357"/>
                <a:gd name="connsiteX60" fmla="*/ 30956 w 1059656"/>
                <a:gd name="connsiteY60" fmla="*/ 521494 h 564357"/>
                <a:gd name="connsiteX61" fmla="*/ 7143 w 1059656"/>
                <a:gd name="connsiteY61" fmla="*/ 528638 h 564357"/>
                <a:gd name="connsiteX62" fmla="*/ 0 w 1059656"/>
                <a:gd name="connsiteY62" fmla="*/ 533400 h 564357"/>
                <a:gd name="connsiteX63" fmla="*/ 38100 w 1059656"/>
                <a:gd name="connsiteY63" fmla="*/ 561975 h 564357"/>
                <a:gd name="connsiteX64" fmla="*/ 80962 w 1059656"/>
                <a:gd name="connsiteY64" fmla="*/ 559594 h 564357"/>
                <a:gd name="connsiteX65" fmla="*/ 116681 w 1059656"/>
                <a:gd name="connsiteY65" fmla="*/ 526257 h 564357"/>
                <a:gd name="connsiteX66" fmla="*/ 171450 w 1059656"/>
                <a:gd name="connsiteY66" fmla="*/ 500063 h 564357"/>
                <a:gd name="connsiteX67" fmla="*/ 278606 w 1059656"/>
                <a:gd name="connsiteY67" fmla="*/ 492919 h 564357"/>
                <a:gd name="connsiteX68" fmla="*/ 292893 w 1059656"/>
                <a:gd name="connsiteY68" fmla="*/ 481013 h 564357"/>
                <a:gd name="connsiteX69" fmla="*/ 357187 w 1059656"/>
                <a:gd name="connsiteY69" fmla="*/ 481013 h 564357"/>
                <a:gd name="connsiteX70" fmla="*/ 433387 w 1059656"/>
                <a:gd name="connsiteY70" fmla="*/ 388144 h 564357"/>
                <a:gd name="connsiteX71" fmla="*/ 559593 w 1059656"/>
                <a:gd name="connsiteY71" fmla="*/ 328613 h 564357"/>
                <a:gd name="connsiteX72" fmla="*/ 619125 w 1059656"/>
                <a:gd name="connsiteY72" fmla="*/ 321469 h 564357"/>
                <a:gd name="connsiteX73" fmla="*/ 654843 w 1059656"/>
                <a:gd name="connsiteY73" fmla="*/ 295275 h 564357"/>
                <a:gd name="connsiteX74" fmla="*/ 716756 w 1059656"/>
                <a:gd name="connsiteY74" fmla="*/ 292894 h 564357"/>
                <a:gd name="connsiteX75" fmla="*/ 771525 w 1059656"/>
                <a:gd name="connsiteY75" fmla="*/ 285750 h 564357"/>
                <a:gd name="connsiteX76" fmla="*/ 781050 w 1059656"/>
                <a:gd name="connsiteY76" fmla="*/ 323850 h 564357"/>
                <a:gd name="connsiteX77" fmla="*/ 773906 w 1059656"/>
                <a:gd name="connsiteY77" fmla="*/ 445294 h 564357"/>
                <a:gd name="connsiteX78" fmla="*/ 707231 w 1059656"/>
                <a:gd name="connsiteY78" fmla="*/ 461963 h 564357"/>
                <a:gd name="connsiteX79" fmla="*/ 652461 w 1059656"/>
                <a:gd name="connsiteY79" fmla="*/ 509587 h 564357"/>
                <a:gd name="connsiteX80" fmla="*/ 654844 w 1059656"/>
                <a:gd name="connsiteY80" fmla="*/ 528638 h 564357"/>
                <a:gd name="connsiteX81" fmla="*/ 697706 w 1059656"/>
                <a:gd name="connsiteY81" fmla="*/ 564357 h 564357"/>
                <a:gd name="connsiteX0" fmla="*/ 697706 w 1059656"/>
                <a:gd name="connsiteY0" fmla="*/ 564357 h 564357"/>
                <a:gd name="connsiteX1" fmla="*/ 778668 w 1059656"/>
                <a:gd name="connsiteY1" fmla="*/ 492919 h 564357"/>
                <a:gd name="connsiteX2" fmla="*/ 816768 w 1059656"/>
                <a:gd name="connsiteY2" fmla="*/ 473869 h 564357"/>
                <a:gd name="connsiteX3" fmla="*/ 852487 w 1059656"/>
                <a:gd name="connsiteY3" fmla="*/ 471488 h 564357"/>
                <a:gd name="connsiteX4" fmla="*/ 916781 w 1059656"/>
                <a:gd name="connsiteY4" fmla="*/ 457200 h 564357"/>
                <a:gd name="connsiteX5" fmla="*/ 950118 w 1059656"/>
                <a:gd name="connsiteY5" fmla="*/ 459582 h 564357"/>
                <a:gd name="connsiteX6" fmla="*/ 988218 w 1059656"/>
                <a:gd name="connsiteY6" fmla="*/ 476250 h 564357"/>
                <a:gd name="connsiteX7" fmla="*/ 1019175 w 1059656"/>
                <a:gd name="connsiteY7" fmla="*/ 445294 h 564357"/>
                <a:gd name="connsiteX8" fmla="*/ 992981 w 1059656"/>
                <a:gd name="connsiteY8" fmla="*/ 414338 h 564357"/>
                <a:gd name="connsiteX9" fmla="*/ 988218 w 1059656"/>
                <a:gd name="connsiteY9" fmla="*/ 383382 h 564357"/>
                <a:gd name="connsiteX10" fmla="*/ 995362 w 1059656"/>
                <a:gd name="connsiteY10" fmla="*/ 345282 h 564357"/>
                <a:gd name="connsiteX11" fmla="*/ 1023937 w 1059656"/>
                <a:gd name="connsiteY11" fmla="*/ 304800 h 564357"/>
                <a:gd name="connsiteX12" fmla="*/ 1052512 w 1059656"/>
                <a:gd name="connsiteY12" fmla="*/ 295275 h 564357"/>
                <a:gd name="connsiteX13" fmla="*/ 1059656 w 1059656"/>
                <a:gd name="connsiteY13" fmla="*/ 266700 h 564357"/>
                <a:gd name="connsiteX14" fmla="*/ 1047750 w 1059656"/>
                <a:gd name="connsiteY14" fmla="*/ 238125 h 564357"/>
                <a:gd name="connsiteX15" fmla="*/ 1019175 w 1059656"/>
                <a:gd name="connsiteY15" fmla="*/ 228600 h 564357"/>
                <a:gd name="connsiteX16" fmla="*/ 992981 w 1059656"/>
                <a:gd name="connsiteY16" fmla="*/ 235744 h 564357"/>
                <a:gd name="connsiteX17" fmla="*/ 935831 w 1059656"/>
                <a:gd name="connsiteY17" fmla="*/ 254794 h 564357"/>
                <a:gd name="connsiteX18" fmla="*/ 900112 w 1059656"/>
                <a:gd name="connsiteY18" fmla="*/ 259557 h 564357"/>
                <a:gd name="connsiteX19" fmla="*/ 878681 w 1059656"/>
                <a:gd name="connsiteY19" fmla="*/ 242888 h 564357"/>
                <a:gd name="connsiteX20" fmla="*/ 873918 w 1059656"/>
                <a:gd name="connsiteY20" fmla="*/ 228600 h 564357"/>
                <a:gd name="connsiteX21" fmla="*/ 881062 w 1059656"/>
                <a:gd name="connsiteY21" fmla="*/ 185738 h 564357"/>
                <a:gd name="connsiteX22" fmla="*/ 888206 w 1059656"/>
                <a:gd name="connsiteY22" fmla="*/ 150019 h 564357"/>
                <a:gd name="connsiteX23" fmla="*/ 871537 w 1059656"/>
                <a:gd name="connsiteY23" fmla="*/ 111919 h 564357"/>
                <a:gd name="connsiteX24" fmla="*/ 840581 w 1059656"/>
                <a:gd name="connsiteY24" fmla="*/ 95250 h 564357"/>
                <a:gd name="connsiteX25" fmla="*/ 835818 w 1059656"/>
                <a:gd name="connsiteY25" fmla="*/ 52388 h 564357"/>
                <a:gd name="connsiteX26" fmla="*/ 833437 w 1059656"/>
                <a:gd name="connsiteY26" fmla="*/ 0 h 564357"/>
                <a:gd name="connsiteX27" fmla="*/ 809625 w 1059656"/>
                <a:gd name="connsiteY27" fmla="*/ 33338 h 564357"/>
                <a:gd name="connsiteX28" fmla="*/ 797718 w 1059656"/>
                <a:gd name="connsiteY28" fmla="*/ 50007 h 564357"/>
                <a:gd name="connsiteX29" fmla="*/ 757237 w 1059656"/>
                <a:gd name="connsiteY29" fmla="*/ 45244 h 564357"/>
                <a:gd name="connsiteX30" fmla="*/ 735806 w 1059656"/>
                <a:gd name="connsiteY30" fmla="*/ 50007 h 564357"/>
                <a:gd name="connsiteX31" fmla="*/ 719137 w 1059656"/>
                <a:gd name="connsiteY31" fmla="*/ 78582 h 564357"/>
                <a:gd name="connsiteX32" fmla="*/ 723900 w 1059656"/>
                <a:gd name="connsiteY32" fmla="*/ 97632 h 564357"/>
                <a:gd name="connsiteX33" fmla="*/ 707231 w 1059656"/>
                <a:gd name="connsiteY33" fmla="*/ 111919 h 564357"/>
                <a:gd name="connsiteX34" fmla="*/ 631031 w 1059656"/>
                <a:gd name="connsiteY34" fmla="*/ 114300 h 564357"/>
                <a:gd name="connsiteX35" fmla="*/ 597693 w 1059656"/>
                <a:gd name="connsiteY35" fmla="*/ 100013 h 564357"/>
                <a:gd name="connsiteX36" fmla="*/ 569118 w 1059656"/>
                <a:gd name="connsiteY36" fmla="*/ 71438 h 564357"/>
                <a:gd name="connsiteX37" fmla="*/ 531018 w 1059656"/>
                <a:gd name="connsiteY37" fmla="*/ 66675 h 564357"/>
                <a:gd name="connsiteX38" fmla="*/ 497681 w 1059656"/>
                <a:gd name="connsiteY38" fmla="*/ 90488 h 564357"/>
                <a:gd name="connsiteX39" fmla="*/ 481012 w 1059656"/>
                <a:gd name="connsiteY39" fmla="*/ 109538 h 564357"/>
                <a:gd name="connsiteX40" fmla="*/ 466725 w 1059656"/>
                <a:gd name="connsiteY40" fmla="*/ 126207 h 564357"/>
                <a:gd name="connsiteX41" fmla="*/ 450056 w 1059656"/>
                <a:gd name="connsiteY41" fmla="*/ 145257 h 564357"/>
                <a:gd name="connsiteX42" fmla="*/ 454818 w 1059656"/>
                <a:gd name="connsiteY42" fmla="*/ 171450 h 564357"/>
                <a:gd name="connsiteX43" fmla="*/ 423862 w 1059656"/>
                <a:gd name="connsiteY43" fmla="*/ 195263 h 564357"/>
                <a:gd name="connsiteX44" fmla="*/ 371475 w 1059656"/>
                <a:gd name="connsiteY44" fmla="*/ 204788 h 564357"/>
                <a:gd name="connsiteX45" fmla="*/ 330993 w 1059656"/>
                <a:gd name="connsiteY45" fmla="*/ 223838 h 564357"/>
                <a:gd name="connsiteX46" fmla="*/ 321468 w 1059656"/>
                <a:gd name="connsiteY46" fmla="*/ 261938 h 564357"/>
                <a:gd name="connsiteX47" fmla="*/ 319087 w 1059656"/>
                <a:gd name="connsiteY47" fmla="*/ 269082 h 564357"/>
                <a:gd name="connsiteX48" fmla="*/ 266700 w 1059656"/>
                <a:gd name="connsiteY48" fmla="*/ 285750 h 564357"/>
                <a:gd name="connsiteX49" fmla="*/ 180975 w 1059656"/>
                <a:gd name="connsiteY49" fmla="*/ 316707 h 564357"/>
                <a:gd name="connsiteX50" fmla="*/ 157162 w 1059656"/>
                <a:gd name="connsiteY50" fmla="*/ 309563 h 564357"/>
                <a:gd name="connsiteX51" fmla="*/ 128587 w 1059656"/>
                <a:gd name="connsiteY51" fmla="*/ 300038 h 564357"/>
                <a:gd name="connsiteX52" fmla="*/ 130968 w 1059656"/>
                <a:gd name="connsiteY52" fmla="*/ 359569 h 564357"/>
                <a:gd name="connsiteX53" fmla="*/ 169068 w 1059656"/>
                <a:gd name="connsiteY53" fmla="*/ 388144 h 564357"/>
                <a:gd name="connsiteX54" fmla="*/ 185737 w 1059656"/>
                <a:gd name="connsiteY54" fmla="*/ 411957 h 564357"/>
                <a:gd name="connsiteX55" fmla="*/ 180975 w 1059656"/>
                <a:gd name="connsiteY55" fmla="*/ 442913 h 564357"/>
                <a:gd name="connsiteX56" fmla="*/ 173831 w 1059656"/>
                <a:gd name="connsiteY56" fmla="*/ 471488 h 564357"/>
                <a:gd name="connsiteX57" fmla="*/ 130968 w 1059656"/>
                <a:gd name="connsiteY57" fmla="*/ 473869 h 564357"/>
                <a:gd name="connsiteX58" fmla="*/ 95250 w 1059656"/>
                <a:gd name="connsiteY58" fmla="*/ 488157 h 564357"/>
                <a:gd name="connsiteX59" fmla="*/ 71437 w 1059656"/>
                <a:gd name="connsiteY59" fmla="*/ 492919 h 564357"/>
                <a:gd name="connsiteX60" fmla="*/ 50006 w 1059656"/>
                <a:gd name="connsiteY60" fmla="*/ 504825 h 564357"/>
                <a:gd name="connsiteX61" fmla="*/ 30956 w 1059656"/>
                <a:gd name="connsiteY61" fmla="*/ 521494 h 564357"/>
                <a:gd name="connsiteX62" fmla="*/ 7143 w 1059656"/>
                <a:gd name="connsiteY62" fmla="*/ 528638 h 564357"/>
                <a:gd name="connsiteX63" fmla="*/ 0 w 1059656"/>
                <a:gd name="connsiteY63" fmla="*/ 533400 h 564357"/>
                <a:gd name="connsiteX64" fmla="*/ 38100 w 1059656"/>
                <a:gd name="connsiteY64" fmla="*/ 561975 h 564357"/>
                <a:gd name="connsiteX65" fmla="*/ 80962 w 1059656"/>
                <a:gd name="connsiteY65" fmla="*/ 559594 h 564357"/>
                <a:gd name="connsiteX66" fmla="*/ 116681 w 1059656"/>
                <a:gd name="connsiteY66" fmla="*/ 526257 h 564357"/>
                <a:gd name="connsiteX67" fmla="*/ 171450 w 1059656"/>
                <a:gd name="connsiteY67" fmla="*/ 500063 h 564357"/>
                <a:gd name="connsiteX68" fmla="*/ 278606 w 1059656"/>
                <a:gd name="connsiteY68" fmla="*/ 492919 h 564357"/>
                <a:gd name="connsiteX69" fmla="*/ 292893 w 1059656"/>
                <a:gd name="connsiteY69" fmla="*/ 481013 h 564357"/>
                <a:gd name="connsiteX70" fmla="*/ 357187 w 1059656"/>
                <a:gd name="connsiteY70" fmla="*/ 481013 h 564357"/>
                <a:gd name="connsiteX71" fmla="*/ 433387 w 1059656"/>
                <a:gd name="connsiteY71" fmla="*/ 388144 h 564357"/>
                <a:gd name="connsiteX72" fmla="*/ 559593 w 1059656"/>
                <a:gd name="connsiteY72" fmla="*/ 328613 h 564357"/>
                <a:gd name="connsiteX73" fmla="*/ 619125 w 1059656"/>
                <a:gd name="connsiteY73" fmla="*/ 321469 h 564357"/>
                <a:gd name="connsiteX74" fmla="*/ 654843 w 1059656"/>
                <a:gd name="connsiteY74" fmla="*/ 295275 h 564357"/>
                <a:gd name="connsiteX75" fmla="*/ 716756 w 1059656"/>
                <a:gd name="connsiteY75" fmla="*/ 292894 h 564357"/>
                <a:gd name="connsiteX76" fmla="*/ 771525 w 1059656"/>
                <a:gd name="connsiteY76" fmla="*/ 285750 h 564357"/>
                <a:gd name="connsiteX77" fmla="*/ 781050 w 1059656"/>
                <a:gd name="connsiteY77" fmla="*/ 323850 h 564357"/>
                <a:gd name="connsiteX78" fmla="*/ 773906 w 1059656"/>
                <a:gd name="connsiteY78" fmla="*/ 445294 h 564357"/>
                <a:gd name="connsiteX79" fmla="*/ 707231 w 1059656"/>
                <a:gd name="connsiteY79" fmla="*/ 461963 h 564357"/>
                <a:gd name="connsiteX80" fmla="*/ 652461 w 1059656"/>
                <a:gd name="connsiteY80" fmla="*/ 509587 h 564357"/>
                <a:gd name="connsiteX81" fmla="*/ 654844 w 1059656"/>
                <a:gd name="connsiteY81" fmla="*/ 528638 h 564357"/>
                <a:gd name="connsiteX82" fmla="*/ 697706 w 1059656"/>
                <a:gd name="connsiteY82" fmla="*/ 564357 h 564357"/>
                <a:gd name="connsiteX0" fmla="*/ 697706 w 1059656"/>
                <a:gd name="connsiteY0" fmla="*/ 564357 h 564357"/>
                <a:gd name="connsiteX1" fmla="*/ 778668 w 1059656"/>
                <a:gd name="connsiteY1" fmla="*/ 492919 h 564357"/>
                <a:gd name="connsiteX2" fmla="*/ 816768 w 1059656"/>
                <a:gd name="connsiteY2" fmla="*/ 473869 h 564357"/>
                <a:gd name="connsiteX3" fmla="*/ 852487 w 1059656"/>
                <a:gd name="connsiteY3" fmla="*/ 471488 h 564357"/>
                <a:gd name="connsiteX4" fmla="*/ 916781 w 1059656"/>
                <a:gd name="connsiteY4" fmla="*/ 457200 h 564357"/>
                <a:gd name="connsiteX5" fmla="*/ 950118 w 1059656"/>
                <a:gd name="connsiteY5" fmla="*/ 459582 h 564357"/>
                <a:gd name="connsiteX6" fmla="*/ 988218 w 1059656"/>
                <a:gd name="connsiteY6" fmla="*/ 476250 h 564357"/>
                <a:gd name="connsiteX7" fmla="*/ 1019175 w 1059656"/>
                <a:gd name="connsiteY7" fmla="*/ 445294 h 564357"/>
                <a:gd name="connsiteX8" fmla="*/ 992981 w 1059656"/>
                <a:gd name="connsiteY8" fmla="*/ 414338 h 564357"/>
                <a:gd name="connsiteX9" fmla="*/ 988218 w 1059656"/>
                <a:gd name="connsiteY9" fmla="*/ 383382 h 564357"/>
                <a:gd name="connsiteX10" fmla="*/ 995362 w 1059656"/>
                <a:gd name="connsiteY10" fmla="*/ 345282 h 564357"/>
                <a:gd name="connsiteX11" fmla="*/ 1023937 w 1059656"/>
                <a:gd name="connsiteY11" fmla="*/ 304800 h 564357"/>
                <a:gd name="connsiteX12" fmla="*/ 1052512 w 1059656"/>
                <a:gd name="connsiteY12" fmla="*/ 295275 h 564357"/>
                <a:gd name="connsiteX13" fmla="*/ 1059656 w 1059656"/>
                <a:gd name="connsiteY13" fmla="*/ 266700 h 564357"/>
                <a:gd name="connsiteX14" fmla="*/ 1047750 w 1059656"/>
                <a:gd name="connsiteY14" fmla="*/ 238125 h 564357"/>
                <a:gd name="connsiteX15" fmla="*/ 1019175 w 1059656"/>
                <a:gd name="connsiteY15" fmla="*/ 228600 h 564357"/>
                <a:gd name="connsiteX16" fmla="*/ 992981 w 1059656"/>
                <a:gd name="connsiteY16" fmla="*/ 235744 h 564357"/>
                <a:gd name="connsiteX17" fmla="*/ 935831 w 1059656"/>
                <a:gd name="connsiteY17" fmla="*/ 254794 h 564357"/>
                <a:gd name="connsiteX18" fmla="*/ 900112 w 1059656"/>
                <a:gd name="connsiteY18" fmla="*/ 259557 h 564357"/>
                <a:gd name="connsiteX19" fmla="*/ 878681 w 1059656"/>
                <a:gd name="connsiteY19" fmla="*/ 242888 h 564357"/>
                <a:gd name="connsiteX20" fmla="*/ 873918 w 1059656"/>
                <a:gd name="connsiteY20" fmla="*/ 228600 h 564357"/>
                <a:gd name="connsiteX21" fmla="*/ 881062 w 1059656"/>
                <a:gd name="connsiteY21" fmla="*/ 185738 h 564357"/>
                <a:gd name="connsiteX22" fmla="*/ 888206 w 1059656"/>
                <a:gd name="connsiteY22" fmla="*/ 150019 h 564357"/>
                <a:gd name="connsiteX23" fmla="*/ 871537 w 1059656"/>
                <a:gd name="connsiteY23" fmla="*/ 111919 h 564357"/>
                <a:gd name="connsiteX24" fmla="*/ 840581 w 1059656"/>
                <a:gd name="connsiteY24" fmla="*/ 95250 h 564357"/>
                <a:gd name="connsiteX25" fmla="*/ 857249 w 1059656"/>
                <a:gd name="connsiteY25" fmla="*/ 28576 h 564357"/>
                <a:gd name="connsiteX26" fmla="*/ 833437 w 1059656"/>
                <a:gd name="connsiteY26" fmla="*/ 0 h 564357"/>
                <a:gd name="connsiteX27" fmla="*/ 809625 w 1059656"/>
                <a:gd name="connsiteY27" fmla="*/ 33338 h 564357"/>
                <a:gd name="connsiteX28" fmla="*/ 797718 w 1059656"/>
                <a:gd name="connsiteY28" fmla="*/ 50007 h 564357"/>
                <a:gd name="connsiteX29" fmla="*/ 757237 w 1059656"/>
                <a:gd name="connsiteY29" fmla="*/ 45244 h 564357"/>
                <a:gd name="connsiteX30" fmla="*/ 735806 w 1059656"/>
                <a:gd name="connsiteY30" fmla="*/ 50007 h 564357"/>
                <a:gd name="connsiteX31" fmla="*/ 719137 w 1059656"/>
                <a:gd name="connsiteY31" fmla="*/ 78582 h 564357"/>
                <a:gd name="connsiteX32" fmla="*/ 723900 w 1059656"/>
                <a:gd name="connsiteY32" fmla="*/ 97632 h 564357"/>
                <a:gd name="connsiteX33" fmla="*/ 707231 w 1059656"/>
                <a:gd name="connsiteY33" fmla="*/ 111919 h 564357"/>
                <a:gd name="connsiteX34" fmla="*/ 631031 w 1059656"/>
                <a:gd name="connsiteY34" fmla="*/ 114300 h 564357"/>
                <a:gd name="connsiteX35" fmla="*/ 597693 w 1059656"/>
                <a:gd name="connsiteY35" fmla="*/ 100013 h 564357"/>
                <a:gd name="connsiteX36" fmla="*/ 569118 w 1059656"/>
                <a:gd name="connsiteY36" fmla="*/ 71438 h 564357"/>
                <a:gd name="connsiteX37" fmla="*/ 531018 w 1059656"/>
                <a:gd name="connsiteY37" fmla="*/ 66675 h 564357"/>
                <a:gd name="connsiteX38" fmla="*/ 497681 w 1059656"/>
                <a:gd name="connsiteY38" fmla="*/ 90488 h 564357"/>
                <a:gd name="connsiteX39" fmla="*/ 481012 w 1059656"/>
                <a:gd name="connsiteY39" fmla="*/ 109538 h 564357"/>
                <a:gd name="connsiteX40" fmla="*/ 466725 w 1059656"/>
                <a:gd name="connsiteY40" fmla="*/ 126207 h 564357"/>
                <a:gd name="connsiteX41" fmla="*/ 450056 w 1059656"/>
                <a:gd name="connsiteY41" fmla="*/ 145257 h 564357"/>
                <a:gd name="connsiteX42" fmla="*/ 454818 w 1059656"/>
                <a:gd name="connsiteY42" fmla="*/ 171450 h 564357"/>
                <a:gd name="connsiteX43" fmla="*/ 423862 w 1059656"/>
                <a:gd name="connsiteY43" fmla="*/ 195263 h 564357"/>
                <a:gd name="connsiteX44" fmla="*/ 371475 w 1059656"/>
                <a:gd name="connsiteY44" fmla="*/ 204788 h 564357"/>
                <a:gd name="connsiteX45" fmla="*/ 330993 w 1059656"/>
                <a:gd name="connsiteY45" fmla="*/ 223838 h 564357"/>
                <a:gd name="connsiteX46" fmla="*/ 321468 w 1059656"/>
                <a:gd name="connsiteY46" fmla="*/ 261938 h 564357"/>
                <a:gd name="connsiteX47" fmla="*/ 319087 w 1059656"/>
                <a:gd name="connsiteY47" fmla="*/ 269082 h 564357"/>
                <a:gd name="connsiteX48" fmla="*/ 266700 w 1059656"/>
                <a:gd name="connsiteY48" fmla="*/ 285750 h 564357"/>
                <a:gd name="connsiteX49" fmla="*/ 180975 w 1059656"/>
                <a:gd name="connsiteY49" fmla="*/ 316707 h 564357"/>
                <a:gd name="connsiteX50" fmla="*/ 157162 w 1059656"/>
                <a:gd name="connsiteY50" fmla="*/ 309563 h 564357"/>
                <a:gd name="connsiteX51" fmla="*/ 128587 w 1059656"/>
                <a:gd name="connsiteY51" fmla="*/ 300038 h 564357"/>
                <a:gd name="connsiteX52" fmla="*/ 130968 w 1059656"/>
                <a:gd name="connsiteY52" fmla="*/ 359569 h 564357"/>
                <a:gd name="connsiteX53" fmla="*/ 169068 w 1059656"/>
                <a:gd name="connsiteY53" fmla="*/ 388144 h 564357"/>
                <a:gd name="connsiteX54" fmla="*/ 185737 w 1059656"/>
                <a:gd name="connsiteY54" fmla="*/ 411957 h 564357"/>
                <a:gd name="connsiteX55" fmla="*/ 180975 w 1059656"/>
                <a:gd name="connsiteY55" fmla="*/ 442913 h 564357"/>
                <a:gd name="connsiteX56" fmla="*/ 173831 w 1059656"/>
                <a:gd name="connsiteY56" fmla="*/ 471488 h 564357"/>
                <a:gd name="connsiteX57" fmla="*/ 130968 w 1059656"/>
                <a:gd name="connsiteY57" fmla="*/ 473869 h 564357"/>
                <a:gd name="connsiteX58" fmla="*/ 95250 w 1059656"/>
                <a:gd name="connsiteY58" fmla="*/ 488157 h 564357"/>
                <a:gd name="connsiteX59" fmla="*/ 71437 w 1059656"/>
                <a:gd name="connsiteY59" fmla="*/ 492919 h 564357"/>
                <a:gd name="connsiteX60" fmla="*/ 50006 w 1059656"/>
                <a:gd name="connsiteY60" fmla="*/ 504825 h 564357"/>
                <a:gd name="connsiteX61" fmla="*/ 30956 w 1059656"/>
                <a:gd name="connsiteY61" fmla="*/ 521494 h 564357"/>
                <a:gd name="connsiteX62" fmla="*/ 7143 w 1059656"/>
                <a:gd name="connsiteY62" fmla="*/ 528638 h 564357"/>
                <a:gd name="connsiteX63" fmla="*/ 0 w 1059656"/>
                <a:gd name="connsiteY63" fmla="*/ 533400 h 564357"/>
                <a:gd name="connsiteX64" fmla="*/ 38100 w 1059656"/>
                <a:gd name="connsiteY64" fmla="*/ 561975 h 564357"/>
                <a:gd name="connsiteX65" fmla="*/ 80962 w 1059656"/>
                <a:gd name="connsiteY65" fmla="*/ 559594 h 564357"/>
                <a:gd name="connsiteX66" fmla="*/ 116681 w 1059656"/>
                <a:gd name="connsiteY66" fmla="*/ 526257 h 564357"/>
                <a:gd name="connsiteX67" fmla="*/ 171450 w 1059656"/>
                <a:gd name="connsiteY67" fmla="*/ 500063 h 564357"/>
                <a:gd name="connsiteX68" fmla="*/ 278606 w 1059656"/>
                <a:gd name="connsiteY68" fmla="*/ 492919 h 564357"/>
                <a:gd name="connsiteX69" fmla="*/ 292893 w 1059656"/>
                <a:gd name="connsiteY69" fmla="*/ 481013 h 564357"/>
                <a:gd name="connsiteX70" fmla="*/ 357187 w 1059656"/>
                <a:gd name="connsiteY70" fmla="*/ 481013 h 564357"/>
                <a:gd name="connsiteX71" fmla="*/ 433387 w 1059656"/>
                <a:gd name="connsiteY71" fmla="*/ 388144 h 564357"/>
                <a:gd name="connsiteX72" fmla="*/ 559593 w 1059656"/>
                <a:gd name="connsiteY72" fmla="*/ 328613 h 564357"/>
                <a:gd name="connsiteX73" fmla="*/ 619125 w 1059656"/>
                <a:gd name="connsiteY73" fmla="*/ 321469 h 564357"/>
                <a:gd name="connsiteX74" fmla="*/ 654843 w 1059656"/>
                <a:gd name="connsiteY74" fmla="*/ 295275 h 564357"/>
                <a:gd name="connsiteX75" fmla="*/ 716756 w 1059656"/>
                <a:gd name="connsiteY75" fmla="*/ 292894 h 564357"/>
                <a:gd name="connsiteX76" fmla="*/ 771525 w 1059656"/>
                <a:gd name="connsiteY76" fmla="*/ 285750 h 564357"/>
                <a:gd name="connsiteX77" fmla="*/ 781050 w 1059656"/>
                <a:gd name="connsiteY77" fmla="*/ 323850 h 564357"/>
                <a:gd name="connsiteX78" fmla="*/ 773906 w 1059656"/>
                <a:gd name="connsiteY78" fmla="*/ 445294 h 564357"/>
                <a:gd name="connsiteX79" fmla="*/ 707231 w 1059656"/>
                <a:gd name="connsiteY79" fmla="*/ 461963 h 564357"/>
                <a:gd name="connsiteX80" fmla="*/ 652461 w 1059656"/>
                <a:gd name="connsiteY80" fmla="*/ 509587 h 564357"/>
                <a:gd name="connsiteX81" fmla="*/ 654844 w 1059656"/>
                <a:gd name="connsiteY81" fmla="*/ 528638 h 564357"/>
                <a:gd name="connsiteX82" fmla="*/ 697706 w 1059656"/>
                <a:gd name="connsiteY82" fmla="*/ 564357 h 564357"/>
                <a:gd name="connsiteX0" fmla="*/ 697706 w 1059656"/>
                <a:gd name="connsiteY0" fmla="*/ 564357 h 564357"/>
                <a:gd name="connsiteX1" fmla="*/ 778668 w 1059656"/>
                <a:gd name="connsiteY1" fmla="*/ 492919 h 564357"/>
                <a:gd name="connsiteX2" fmla="*/ 816768 w 1059656"/>
                <a:gd name="connsiteY2" fmla="*/ 473869 h 564357"/>
                <a:gd name="connsiteX3" fmla="*/ 852487 w 1059656"/>
                <a:gd name="connsiteY3" fmla="*/ 471488 h 564357"/>
                <a:gd name="connsiteX4" fmla="*/ 916781 w 1059656"/>
                <a:gd name="connsiteY4" fmla="*/ 457200 h 564357"/>
                <a:gd name="connsiteX5" fmla="*/ 950118 w 1059656"/>
                <a:gd name="connsiteY5" fmla="*/ 459582 h 564357"/>
                <a:gd name="connsiteX6" fmla="*/ 988218 w 1059656"/>
                <a:gd name="connsiteY6" fmla="*/ 476250 h 564357"/>
                <a:gd name="connsiteX7" fmla="*/ 1019175 w 1059656"/>
                <a:gd name="connsiteY7" fmla="*/ 445294 h 564357"/>
                <a:gd name="connsiteX8" fmla="*/ 992981 w 1059656"/>
                <a:gd name="connsiteY8" fmla="*/ 414338 h 564357"/>
                <a:gd name="connsiteX9" fmla="*/ 988218 w 1059656"/>
                <a:gd name="connsiteY9" fmla="*/ 383382 h 564357"/>
                <a:gd name="connsiteX10" fmla="*/ 995362 w 1059656"/>
                <a:gd name="connsiteY10" fmla="*/ 345282 h 564357"/>
                <a:gd name="connsiteX11" fmla="*/ 1023937 w 1059656"/>
                <a:gd name="connsiteY11" fmla="*/ 304800 h 564357"/>
                <a:gd name="connsiteX12" fmla="*/ 1052512 w 1059656"/>
                <a:gd name="connsiteY12" fmla="*/ 295275 h 564357"/>
                <a:gd name="connsiteX13" fmla="*/ 1059656 w 1059656"/>
                <a:gd name="connsiteY13" fmla="*/ 266700 h 564357"/>
                <a:gd name="connsiteX14" fmla="*/ 1047750 w 1059656"/>
                <a:gd name="connsiteY14" fmla="*/ 238125 h 564357"/>
                <a:gd name="connsiteX15" fmla="*/ 1019175 w 1059656"/>
                <a:gd name="connsiteY15" fmla="*/ 228600 h 564357"/>
                <a:gd name="connsiteX16" fmla="*/ 992981 w 1059656"/>
                <a:gd name="connsiteY16" fmla="*/ 235744 h 564357"/>
                <a:gd name="connsiteX17" fmla="*/ 935831 w 1059656"/>
                <a:gd name="connsiteY17" fmla="*/ 254794 h 564357"/>
                <a:gd name="connsiteX18" fmla="*/ 900112 w 1059656"/>
                <a:gd name="connsiteY18" fmla="*/ 259557 h 564357"/>
                <a:gd name="connsiteX19" fmla="*/ 878681 w 1059656"/>
                <a:gd name="connsiteY19" fmla="*/ 242888 h 564357"/>
                <a:gd name="connsiteX20" fmla="*/ 873918 w 1059656"/>
                <a:gd name="connsiteY20" fmla="*/ 228600 h 564357"/>
                <a:gd name="connsiteX21" fmla="*/ 881062 w 1059656"/>
                <a:gd name="connsiteY21" fmla="*/ 185738 h 564357"/>
                <a:gd name="connsiteX22" fmla="*/ 888206 w 1059656"/>
                <a:gd name="connsiteY22" fmla="*/ 150019 h 564357"/>
                <a:gd name="connsiteX23" fmla="*/ 871537 w 1059656"/>
                <a:gd name="connsiteY23" fmla="*/ 111919 h 564357"/>
                <a:gd name="connsiteX24" fmla="*/ 840581 w 1059656"/>
                <a:gd name="connsiteY24" fmla="*/ 95250 h 564357"/>
                <a:gd name="connsiteX25" fmla="*/ 845343 w 1059656"/>
                <a:gd name="connsiteY25" fmla="*/ 61913 h 564357"/>
                <a:gd name="connsiteX26" fmla="*/ 857249 w 1059656"/>
                <a:gd name="connsiteY26" fmla="*/ 28576 h 564357"/>
                <a:gd name="connsiteX27" fmla="*/ 833437 w 1059656"/>
                <a:gd name="connsiteY27" fmla="*/ 0 h 564357"/>
                <a:gd name="connsiteX28" fmla="*/ 809625 w 1059656"/>
                <a:gd name="connsiteY28" fmla="*/ 33338 h 564357"/>
                <a:gd name="connsiteX29" fmla="*/ 797718 w 1059656"/>
                <a:gd name="connsiteY29" fmla="*/ 50007 h 564357"/>
                <a:gd name="connsiteX30" fmla="*/ 757237 w 1059656"/>
                <a:gd name="connsiteY30" fmla="*/ 45244 h 564357"/>
                <a:gd name="connsiteX31" fmla="*/ 735806 w 1059656"/>
                <a:gd name="connsiteY31" fmla="*/ 50007 h 564357"/>
                <a:gd name="connsiteX32" fmla="*/ 719137 w 1059656"/>
                <a:gd name="connsiteY32" fmla="*/ 78582 h 564357"/>
                <a:gd name="connsiteX33" fmla="*/ 723900 w 1059656"/>
                <a:gd name="connsiteY33" fmla="*/ 97632 h 564357"/>
                <a:gd name="connsiteX34" fmla="*/ 707231 w 1059656"/>
                <a:gd name="connsiteY34" fmla="*/ 111919 h 564357"/>
                <a:gd name="connsiteX35" fmla="*/ 631031 w 1059656"/>
                <a:gd name="connsiteY35" fmla="*/ 114300 h 564357"/>
                <a:gd name="connsiteX36" fmla="*/ 597693 w 1059656"/>
                <a:gd name="connsiteY36" fmla="*/ 100013 h 564357"/>
                <a:gd name="connsiteX37" fmla="*/ 569118 w 1059656"/>
                <a:gd name="connsiteY37" fmla="*/ 71438 h 564357"/>
                <a:gd name="connsiteX38" fmla="*/ 531018 w 1059656"/>
                <a:gd name="connsiteY38" fmla="*/ 66675 h 564357"/>
                <a:gd name="connsiteX39" fmla="*/ 497681 w 1059656"/>
                <a:gd name="connsiteY39" fmla="*/ 90488 h 564357"/>
                <a:gd name="connsiteX40" fmla="*/ 481012 w 1059656"/>
                <a:gd name="connsiteY40" fmla="*/ 109538 h 564357"/>
                <a:gd name="connsiteX41" fmla="*/ 466725 w 1059656"/>
                <a:gd name="connsiteY41" fmla="*/ 126207 h 564357"/>
                <a:gd name="connsiteX42" fmla="*/ 450056 w 1059656"/>
                <a:gd name="connsiteY42" fmla="*/ 145257 h 564357"/>
                <a:gd name="connsiteX43" fmla="*/ 454818 w 1059656"/>
                <a:gd name="connsiteY43" fmla="*/ 171450 h 564357"/>
                <a:gd name="connsiteX44" fmla="*/ 423862 w 1059656"/>
                <a:gd name="connsiteY44" fmla="*/ 195263 h 564357"/>
                <a:gd name="connsiteX45" fmla="*/ 371475 w 1059656"/>
                <a:gd name="connsiteY45" fmla="*/ 204788 h 564357"/>
                <a:gd name="connsiteX46" fmla="*/ 330993 w 1059656"/>
                <a:gd name="connsiteY46" fmla="*/ 223838 h 564357"/>
                <a:gd name="connsiteX47" fmla="*/ 321468 w 1059656"/>
                <a:gd name="connsiteY47" fmla="*/ 261938 h 564357"/>
                <a:gd name="connsiteX48" fmla="*/ 319087 w 1059656"/>
                <a:gd name="connsiteY48" fmla="*/ 269082 h 564357"/>
                <a:gd name="connsiteX49" fmla="*/ 266700 w 1059656"/>
                <a:gd name="connsiteY49" fmla="*/ 285750 h 564357"/>
                <a:gd name="connsiteX50" fmla="*/ 180975 w 1059656"/>
                <a:gd name="connsiteY50" fmla="*/ 316707 h 564357"/>
                <a:gd name="connsiteX51" fmla="*/ 157162 w 1059656"/>
                <a:gd name="connsiteY51" fmla="*/ 309563 h 564357"/>
                <a:gd name="connsiteX52" fmla="*/ 128587 w 1059656"/>
                <a:gd name="connsiteY52" fmla="*/ 300038 h 564357"/>
                <a:gd name="connsiteX53" fmla="*/ 130968 w 1059656"/>
                <a:gd name="connsiteY53" fmla="*/ 359569 h 564357"/>
                <a:gd name="connsiteX54" fmla="*/ 169068 w 1059656"/>
                <a:gd name="connsiteY54" fmla="*/ 388144 h 564357"/>
                <a:gd name="connsiteX55" fmla="*/ 185737 w 1059656"/>
                <a:gd name="connsiteY55" fmla="*/ 411957 h 564357"/>
                <a:gd name="connsiteX56" fmla="*/ 180975 w 1059656"/>
                <a:gd name="connsiteY56" fmla="*/ 442913 h 564357"/>
                <a:gd name="connsiteX57" fmla="*/ 173831 w 1059656"/>
                <a:gd name="connsiteY57" fmla="*/ 471488 h 564357"/>
                <a:gd name="connsiteX58" fmla="*/ 130968 w 1059656"/>
                <a:gd name="connsiteY58" fmla="*/ 473869 h 564357"/>
                <a:gd name="connsiteX59" fmla="*/ 95250 w 1059656"/>
                <a:gd name="connsiteY59" fmla="*/ 488157 h 564357"/>
                <a:gd name="connsiteX60" fmla="*/ 71437 w 1059656"/>
                <a:gd name="connsiteY60" fmla="*/ 492919 h 564357"/>
                <a:gd name="connsiteX61" fmla="*/ 50006 w 1059656"/>
                <a:gd name="connsiteY61" fmla="*/ 504825 h 564357"/>
                <a:gd name="connsiteX62" fmla="*/ 30956 w 1059656"/>
                <a:gd name="connsiteY62" fmla="*/ 521494 h 564357"/>
                <a:gd name="connsiteX63" fmla="*/ 7143 w 1059656"/>
                <a:gd name="connsiteY63" fmla="*/ 528638 h 564357"/>
                <a:gd name="connsiteX64" fmla="*/ 0 w 1059656"/>
                <a:gd name="connsiteY64" fmla="*/ 533400 h 564357"/>
                <a:gd name="connsiteX65" fmla="*/ 38100 w 1059656"/>
                <a:gd name="connsiteY65" fmla="*/ 561975 h 564357"/>
                <a:gd name="connsiteX66" fmla="*/ 80962 w 1059656"/>
                <a:gd name="connsiteY66" fmla="*/ 559594 h 564357"/>
                <a:gd name="connsiteX67" fmla="*/ 116681 w 1059656"/>
                <a:gd name="connsiteY67" fmla="*/ 526257 h 564357"/>
                <a:gd name="connsiteX68" fmla="*/ 171450 w 1059656"/>
                <a:gd name="connsiteY68" fmla="*/ 500063 h 564357"/>
                <a:gd name="connsiteX69" fmla="*/ 278606 w 1059656"/>
                <a:gd name="connsiteY69" fmla="*/ 492919 h 564357"/>
                <a:gd name="connsiteX70" fmla="*/ 292893 w 1059656"/>
                <a:gd name="connsiteY70" fmla="*/ 481013 h 564357"/>
                <a:gd name="connsiteX71" fmla="*/ 357187 w 1059656"/>
                <a:gd name="connsiteY71" fmla="*/ 481013 h 564357"/>
                <a:gd name="connsiteX72" fmla="*/ 433387 w 1059656"/>
                <a:gd name="connsiteY72" fmla="*/ 388144 h 564357"/>
                <a:gd name="connsiteX73" fmla="*/ 559593 w 1059656"/>
                <a:gd name="connsiteY73" fmla="*/ 328613 h 564357"/>
                <a:gd name="connsiteX74" fmla="*/ 619125 w 1059656"/>
                <a:gd name="connsiteY74" fmla="*/ 321469 h 564357"/>
                <a:gd name="connsiteX75" fmla="*/ 654843 w 1059656"/>
                <a:gd name="connsiteY75" fmla="*/ 295275 h 564357"/>
                <a:gd name="connsiteX76" fmla="*/ 716756 w 1059656"/>
                <a:gd name="connsiteY76" fmla="*/ 292894 h 564357"/>
                <a:gd name="connsiteX77" fmla="*/ 771525 w 1059656"/>
                <a:gd name="connsiteY77" fmla="*/ 285750 h 564357"/>
                <a:gd name="connsiteX78" fmla="*/ 781050 w 1059656"/>
                <a:gd name="connsiteY78" fmla="*/ 323850 h 564357"/>
                <a:gd name="connsiteX79" fmla="*/ 773906 w 1059656"/>
                <a:gd name="connsiteY79" fmla="*/ 445294 h 564357"/>
                <a:gd name="connsiteX80" fmla="*/ 707231 w 1059656"/>
                <a:gd name="connsiteY80" fmla="*/ 461963 h 564357"/>
                <a:gd name="connsiteX81" fmla="*/ 652461 w 1059656"/>
                <a:gd name="connsiteY81" fmla="*/ 509587 h 564357"/>
                <a:gd name="connsiteX82" fmla="*/ 654844 w 1059656"/>
                <a:gd name="connsiteY82" fmla="*/ 528638 h 564357"/>
                <a:gd name="connsiteX83" fmla="*/ 697706 w 1059656"/>
                <a:gd name="connsiteY83" fmla="*/ 564357 h 564357"/>
                <a:gd name="connsiteX0" fmla="*/ 697706 w 1059656"/>
                <a:gd name="connsiteY0" fmla="*/ 564357 h 564357"/>
                <a:gd name="connsiteX1" fmla="*/ 778668 w 1059656"/>
                <a:gd name="connsiteY1" fmla="*/ 492919 h 564357"/>
                <a:gd name="connsiteX2" fmla="*/ 816768 w 1059656"/>
                <a:gd name="connsiteY2" fmla="*/ 473869 h 564357"/>
                <a:gd name="connsiteX3" fmla="*/ 852487 w 1059656"/>
                <a:gd name="connsiteY3" fmla="*/ 471488 h 564357"/>
                <a:gd name="connsiteX4" fmla="*/ 916781 w 1059656"/>
                <a:gd name="connsiteY4" fmla="*/ 457200 h 564357"/>
                <a:gd name="connsiteX5" fmla="*/ 950118 w 1059656"/>
                <a:gd name="connsiteY5" fmla="*/ 459582 h 564357"/>
                <a:gd name="connsiteX6" fmla="*/ 988218 w 1059656"/>
                <a:gd name="connsiteY6" fmla="*/ 476250 h 564357"/>
                <a:gd name="connsiteX7" fmla="*/ 1019175 w 1059656"/>
                <a:gd name="connsiteY7" fmla="*/ 445294 h 564357"/>
                <a:gd name="connsiteX8" fmla="*/ 992981 w 1059656"/>
                <a:gd name="connsiteY8" fmla="*/ 414338 h 564357"/>
                <a:gd name="connsiteX9" fmla="*/ 988218 w 1059656"/>
                <a:gd name="connsiteY9" fmla="*/ 383382 h 564357"/>
                <a:gd name="connsiteX10" fmla="*/ 995362 w 1059656"/>
                <a:gd name="connsiteY10" fmla="*/ 345282 h 564357"/>
                <a:gd name="connsiteX11" fmla="*/ 1023937 w 1059656"/>
                <a:gd name="connsiteY11" fmla="*/ 304800 h 564357"/>
                <a:gd name="connsiteX12" fmla="*/ 1052512 w 1059656"/>
                <a:gd name="connsiteY12" fmla="*/ 295275 h 564357"/>
                <a:gd name="connsiteX13" fmla="*/ 1059656 w 1059656"/>
                <a:gd name="connsiteY13" fmla="*/ 266700 h 564357"/>
                <a:gd name="connsiteX14" fmla="*/ 1047750 w 1059656"/>
                <a:gd name="connsiteY14" fmla="*/ 238125 h 564357"/>
                <a:gd name="connsiteX15" fmla="*/ 1019175 w 1059656"/>
                <a:gd name="connsiteY15" fmla="*/ 228600 h 564357"/>
                <a:gd name="connsiteX16" fmla="*/ 992981 w 1059656"/>
                <a:gd name="connsiteY16" fmla="*/ 235744 h 564357"/>
                <a:gd name="connsiteX17" fmla="*/ 935831 w 1059656"/>
                <a:gd name="connsiteY17" fmla="*/ 254794 h 564357"/>
                <a:gd name="connsiteX18" fmla="*/ 900112 w 1059656"/>
                <a:gd name="connsiteY18" fmla="*/ 259557 h 564357"/>
                <a:gd name="connsiteX19" fmla="*/ 878681 w 1059656"/>
                <a:gd name="connsiteY19" fmla="*/ 242888 h 564357"/>
                <a:gd name="connsiteX20" fmla="*/ 873918 w 1059656"/>
                <a:gd name="connsiteY20" fmla="*/ 228600 h 564357"/>
                <a:gd name="connsiteX21" fmla="*/ 881062 w 1059656"/>
                <a:gd name="connsiteY21" fmla="*/ 185738 h 564357"/>
                <a:gd name="connsiteX22" fmla="*/ 888206 w 1059656"/>
                <a:gd name="connsiteY22" fmla="*/ 150019 h 564357"/>
                <a:gd name="connsiteX23" fmla="*/ 871537 w 1059656"/>
                <a:gd name="connsiteY23" fmla="*/ 111919 h 564357"/>
                <a:gd name="connsiteX24" fmla="*/ 840581 w 1059656"/>
                <a:gd name="connsiteY24" fmla="*/ 95250 h 564357"/>
                <a:gd name="connsiteX25" fmla="*/ 859630 w 1059656"/>
                <a:gd name="connsiteY25" fmla="*/ 66676 h 564357"/>
                <a:gd name="connsiteX26" fmla="*/ 857249 w 1059656"/>
                <a:gd name="connsiteY26" fmla="*/ 28576 h 564357"/>
                <a:gd name="connsiteX27" fmla="*/ 833437 w 1059656"/>
                <a:gd name="connsiteY27" fmla="*/ 0 h 564357"/>
                <a:gd name="connsiteX28" fmla="*/ 809625 w 1059656"/>
                <a:gd name="connsiteY28" fmla="*/ 33338 h 564357"/>
                <a:gd name="connsiteX29" fmla="*/ 797718 w 1059656"/>
                <a:gd name="connsiteY29" fmla="*/ 50007 h 564357"/>
                <a:gd name="connsiteX30" fmla="*/ 757237 w 1059656"/>
                <a:gd name="connsiteY30" fmla="*/ 45244 h 564357"/>
                <a:gd name="connsiteX31" fmla="*/ 735806 w 1059656"/>
                <a:gd name="connsiteY31" fmla="*/ 50007 h 564357"/>
                <a:gd name="connsiteX32" fmla="*/ 719137 w 1059656"/>
                <a:gd name="connsiteY32" fmla="*/ 78582 h 564357"/>
                <a:gd name="connsiteX33" fmla="*/ 723900 w 1059656"/>
                <a:gd name="connsiteY33" fmla="*/ 97632 h 564357"/>
                <a:gd name="connsiteX34" fmla="*/ 707231 w 1059656"/>
                <a:gd name="connsiteY34" fmla="*/ 111919 h 564357"/>
                <a:gd name="connsiteX35" fmla="*/ 631031 w 1059656"/>
                <a:gd name="connsiteY35" fmla="*/ 114300 h 564357"/>
                <a:gd name="connsiteX36" fmla="*/ 597693 w 1059656"/>
                <a:gd name="connsiteY36" fmla="*/ 100013 h 564357"/>
                <a:gd name="connsiteX37" fmla="*/ 569118 w 1059656"/>
                <a:gd name="connsiteY37" fmla="*/ 71438 h 564357"/>
                <a:gd name="connsiteX38" fmla="*/ 531018 w 1059656"/>
                <a:gd name="connsiteY38" fmla="*/ 66675 h 564357"/>
                <a:gd name="connsiteX39" fmla="*/ 497681 w 1059656"/>
                <a:gd name="connsiteY39" fmla="*/ 90488 h 564357"/>
                <a:gd name="connsiteX40" fmla="*/ 481012 w 1059656"/>
                <a:gd name="connsiteY40" fmla="*/ 109538 h 564357"/>
                <a:gd name="connsiteX41" fmla="*/ 466725 w 1059656"/>
                <a:gd name="connsiteY41" fmla="*/ 126207 h 564357"/>
                <a:gd name="connsiteX42" fmla="*/ 450056 w 1059656"/>
                <a:gd name="connsiteY42" fmla="*/ 145257 h 564357"/>
                <a:gd name="connsiteX43" fmla="*/ 454818 w 1059656"/>
                <a:gd name="connsiteY43" fmla="*/ 171450 h 564357"/>
                <a:gd name="connsiteX44" fmla="*/ 423862 w 1059656"/>
                <a:gd name="connsiteY44" fmla="*/ 195263 h 564357"/>
                <a:gd name="connsiteX45" fmla="*/ 371475 w 1059656"/>
                <a:gd name="connsiteY45" fmla="*/ 204788 h 564357"/>
                <a:gd name="connsiteX46" fmla="*/ 330993 w 1059656"/>
                <a:gd name="connsiteY46" fmla="*/ 223838 h 564357"/>
                <a:gd name="connsiteX47" fmla="*/ 321468 w 1059656"/>
                <a:gd name="connsiteY47" fmla="*/ 261938 h 564357"/>
                <a:gd name="connsiteX48" fmla="*/ 319087 w 1059656"/>
                <a:gd name="connsiteY48" fmla="*/ 269082 h 564357"/>
                <a:gd name="connsiteX49" fmla="*/ 266700 w 1059656"/>
                <a:gd name="connsiteY49" fmla="*/ 285750 h 564357"/>
                <a:gd name="connsiteX50" fmla="*/ 180975 w 1059656"/>
                <a:gd name="connsiteY50" fmla="*/ 316707 h 564357"/>
                <a:gd name="connsiteX51" fmla="*/ 157162 w 1059656"/>
                <a:gd name="connsiteY51" fmla="*/ 309563 h 564357"/>
                <a:gd name="connsiteX52" fmla="*/ 128587 w 1059656"/>
                <a:gd name="connsiteY52" fmla="*/ 300038 h 564357"/>
                <a:gd name="connsiteX53" fmla="*/ 130968 w 1059656"/>
                <a:gd name="connsiteY53" fmla="*/ 359569 h 564357"/>
                <a:gd name="connsiteX54" fmla="*/ 169068 w 1059656"/>
                <a:gd name="connsiteY54" fmla="*/ 388144 h 564357"/>
                <a:gd name="connsiteX55" fmla="*/ 185737 w 1059656"/>
                <a:gd name="connsiteY55" fmla="*/ 411957 h 564357"/>
                <a:gd name="connsiteX56" fmla="*/ 180975 w 1059656"/>
                <a:gd name="connsiteY56" fmla="*/ 442913 h 564357"/>
                <a:gd name="connsiteX57" fmla="*/ 173831 w 1059656"/>
                <a:gd name="connsiteY57" fmla="*/ 471488 h 564357"/>
                <a:gd name="connsiteX58" fmla="*/ 130968 w 1059656"/>
                <a:gd name="connsiteY58" fmla="*/ 473869 h 564357"/>
                <a:gd name="connsiteX59" fmla="*/ 95250 w 1059656"/>
                <a:gd name="connsiteY59" fmla="*/ 488157 h 564357"/>
                <a:gd name="connsiteX60" fmla="*/ 71437 w 1059656"/>
                <a:gd name="connsiteY60" fmla="*/ 492919 h 564357"/>
                <a:gd name="connsiteX61" fmla="*/ 50006 w 1059656"/>
                <a:gd name="connsiteY61" fmla="*/ 504825 h 564357"/>
                <a:gd name="connsiteX62" fmla="*/ 30956 w 1059656"/>
                <a:gd name="connsiteY62" fmla="*/ 521494 h 564357"/>
                <a:gd name="connsiteX63" fmla="*/ 7143 w 1059656"/>
                <a:gd name="connsiteY63" fmla="*/ 528638 h 564357"/>
                <a:gd name="connsiteX64" fmla="*/ 0 w 1059656"/>
                <a:gd name="connsiteY64" fmla="*/ 533400 h 564357"/>
                <a:gd name="connsiteX65" fmla="*/ 38100 w 1059656"/>
                <a:gd name="connsiteY65" fmla="*/ 561975 h 564357"/>
                <a:gd name="connsiteX66" fmla="*/ 80962 w 1059656"/>
                <a:gd name="connsiteY66" fmla="*/ 559594 h 564357"/>
                <a:gd name="connsiteX67" fmla="*/ 116681 w 1059656"/>
                <a:gd name="connsiteY67" fmla="*/ 526257 h 564357"/>
                <a:gd name="connsiteX68" fmla="*/ 171450 w 1059656"/>
                <a:gd name="connsiteY68" fmla="*/ 500063 h 564357"/>
                <a:gd name="connsiteX69" fmla="*/ 278606 w 1059656"/>
                <a:gd name="connsiteY69" fmla="*/ 492919 h 564357"/>
                <a:gd name="connsiteX70" fmla="*/ 292893 w 1059656"/>
                <a:gd name="connsiteY70" fmla="*/ 481013 h 564357"/>
                <a:gd name="connsiteX71" fmla="*/ 357187 w 1059656"/>
                <a:gd name="connsiteY71" fmla="*/ 481013 h 564357"/>
                <a:gd name="connsiteX72" fmla="*/ 433387 w 1059656"/>
                <a:gd name="connsiteY72" fmla="*/ 388144 h 564357"/>
                <a:gd name="connsiteX73" fmla="*/ 559593 w 1059656"/>
                <a:gd name="connsiteY73" fmla="*/ 328613 h 564357"/>
                <a:gd name="connsiteX74" fmla="*/ 619125 w 1059656"/>
                <a:gd name="connsiteY74" fmla="*/ 321469 h 564357"/>
                <a:gd name="connsiteX75" fmla="*/ 654843 w 1059656"/>
                <a:gd name="connsiteY75" fmla="*/ 295275 h 564357"/>
                <a:gd name="connsiteX76" fmla="*/ 716756 w 1059656"/>
                <a:gd name="connsiteY76" fmla="*/ 292894 h 564357"/>
                <a:gd name="connsiteX77" fmla="*/ 771525 w 1059656"/>
                <a:gd name="connsiteY77" fmla="*/ 285750 h 564357"/>
                <a:gd name="connsiteX78" fmla="*/ 781050 w 1059656"/>
                <a:gd name="connsiteY78" fmla="*/ 323850 h 564357"/>
                <a:gd name="connsiteX79" fmla="*/ 773906 w 1059656"/>
                <a:gd name="connsiteY79" fmla="*/ 445294 h 564357"/>
                <a:gd name="connsiteX80" fmla="*/ 707231 w 1059656"/>
                <a:gd name="connsiteY80" fmla="*/ 461963 h 564357"/>
                <a:gd name="connsiteX81" fmla="*/ 652461 w 1059656"/>
                <a:gd name="connsiteY81" fmla="*/ 509587 h 564357"/>
                <a:gd name="connsiteX82" fmla="*/ 654844 w 1059656"/>
                <a:gd name="connsiteY82" fmla="*/ 528638 h 564357"/>
                <a:gd name="connsiteX83" fmla="*/ 697706 w 1059656"/>
                <a:gd name="connsiteY83" fmla="*/ 564357 h 564357"/>
                <a:gd name="connsiteX0" fmla="*/ 697706 w 1059656"/>
                <a:gd name="connsiteY0" fmla="*/ 564357 h 564357"/>
                <a:gd name="connsiteX1" fmla="*/ 778668 w 1059656"/>
                <a:gd name="connsiteY1" fmla="*/ 492919 h 564357"/>
                <a:gd name="connsiteX2" fmla="*/ 816768 w 1059656"/>
                <a:gd name="connsiteY2" fmla="*/ 473869 h 564357"/>
                <a:gd name="connsiteX3" fmla="*/ 852487 w 1059656"/>
                <a:gd name="connsiteY3" fmla="*/ 471488 h 564357"/>
                <a:gd name="connsiteX4" fmla="*/ 916781 w 1059656"/>
                <a:gd name="connsiteY4" fmla="*/ 457200 h 564357"/>
                <a:gd name="connsiteX5" fmla="*/ 950118 w 1059656"/>
                <a:gd name="connsiteY5" fmla="*/ 459582 h 564357"/>
                <a:gd name="connsiteX6" fmla="*/ 988218 w 1059656"/>
                <a:gd name="connsiteY6" fmla="*/ 476250 h 564357"/>
                <a:gd name="connsiteX7" fmla="*/ 1019175 w 1059656"/>
                <a:gd name="connsiteY7" fmla="*/ 445294 h 564357"/>
                <a:gd name="connsiteX8" fmla="*/ 992981 w 1059656"/>
                <a:gd name="connsiteY8" fmla="*/ 414338 h 564357"/>
                <a:gd name="connsiteX9" fmla="*/ 988218 w 1059656"/>
                <a:gd name="connsiteY9" fmla="*/ 383382 h 564357"/>
                <a:gd name="connsiteX10" fmla="*/ 995362 w 1059656"/>
                <a:gd name="connsiteY10" fmla="*/ 345282 h 564357"/>
                <a:gd name="connsiteX11" fmla="*/ 1023937 w 1059656"/>
                <a:gd name="connsiteY11" fmla="*/ 304800 h 564357"/>
                <a:gd name="connsiteX12" fmla="*/ 1052512 w 1059656"/>
                <a:gd name="connsiteY12" fmla="*/ 295275 h 564357"/>
                <a:gd name="connsiteX13" fmla="*/ 1059656 w 1059656"/>
                <a:gd name="connsiteY13" fmla="*/ 266700 h 564357"/>
                <a:gd name="connsiteX14" fmla="*/ 1047750 w 1059656"/>
                <a:gd name="connsiteY14" fmla="*/ 238125 h 564357"/>
                <a:gd name="connsiteX15" fmla="*/ 1019175 w 1059656"/>
                <a:gd name="connsiteY15" fmla="*/ 228600 h 564357"/>
                <a:gd name="connsiteX16" fmla="*/ 992981 w 1059656"/>
                <a:gd name="connsiteY16" fmla="*/ 235744 h 564357"/>
                <a:gd name="connsiteX17" fmla="*/ 935831 w 1059656"/>
                <a:gd name="connsiteY17" fmla="*/ 254794 h 564357"/>
                <a:gd name="connsiteX18" fmla="*/ 900112 w 1059656"/>
                <a:gd name="connsiteY18" fmla="*/ 259557 h 564357"/>
                <a:gd name="connsiteX19" fmla="*/ 878681 w 1059656"/>
                <a:gd name="connsiteY19" fmla="*/ 242888 h 564357"/>
                <a:gd name="connsiteX20" fmla="*/ 873918 w 1059656"/>
                <a:gd name="connsiteY20" fmla="*/ 228600 h 564357"/>
                <a:gd name="connsiteX21" fmla="*/ 881062 w 1059656"/>
                <a:gd name="connsiteY21" fmla="*/ 185738 h 564357"/>
                <a:gd name="connsiteX22" fmla="*/ 888206 w 1059656"/>
                <a:gd name="connsiteY22" fmla="*/ 150019 h 564357"/>
                <a:gd name="connsiteX23" fmla="*/ 871537 w 1059656"/>
                <a:gd name="connsiteY23" fmla="*/ 111919 h 564357"/>
                <a:gd name="connsiteX24" fmla="*/ 852488 w 1059656"/>
                <a:gd name="connsiteY24" fmla="*/ 92869 h 564357"/>
                <a:gd name="connsiteX25" fmla="*/ 859630 w 1059656"/>
                <a:gd name="connsiteY25" fmla="*/ 66676 h 564357"/>
                <a:gd name="connsiteX26" fmla="*/ 857249 w 1059656"/>
                <a:gd name="connsiteY26" fmla="*/ 28576 h 564357"/>
                <a:gd name="connsiteX27" fmla="*/ 833437 w 1059656"/>
                <a:gd name="connsiteY27" fmla="*/ 0 h 564357"/>
                <a:gd name="connsiteX28" fmla="*/ 809625 w 1059656"/>
                <a:gd name="connsiteY28" fmla="*/ 33338 h 564357"/>
                <a:gd name="connsiteX29" fmla="*/ 797718 w 1059656"/>
                <a:gd name="connsiteY29" fmla="*/ 50007 h 564357"/>
                <a:gd name="connsiteX30" fmla="*/ 757237 w 1059656"/>
                <a:gd name="connsiteY30" fmla="*/ 45244 h 564357"/>
                <a:gd name="connsiteX31" fmla="*/ 735806 w 1059656"/>
                <a:gd name="connsiteY31" fmla="*/ 50007 h 564357"/>
                <a:gd name="connsiteX32" fmla="*/ 719137 w 1059656"/>
                <a:gd name="connsiteY32" fmla="*/ 78582 h 564357"/>
                <a:gd name="connsiteX33" fmla="*/ 723900 w 1059656"/>
                <a:gd name="connsiteY33" fmla="*/ 97632 h 564357"/>
                <a:gd name="connsiteX34" fmla="*/ 707231 w 1059656"/>
                <a:gd name="connsiteY34" fmla="*/ 111919 h 564357"/>
                <a:gd name="connsiteX35" fmla="*/ 631031 w 1059656"/>
                <a:gd name="connsiteY35" fmla="*/ 114300 h 564357"/>
                <a:gd name="connsiteX36" fmla="*/ 597693 w 1059656"/>
                <a:gd name="connsiteY36" fmla="*/ 100013 h 564357"/>
                <a:gd name="connsiteX37" fmla="*/ 569118 w 1059656"/>
                <a:gd name="connsiteY37" fmla="*/ 71438 h 564357"/>
                <a:gd name="connsiteX38" fmla="*/ 531018 w 1059656"/>
                <a:gd name="connsiteY38" fmla="*/ 66675 h 564357"/>
                <a:gd name="connsiteX39" fmla="*/ 497681 w 1059656"/>
                <a:gd name="connsiteY39" fmla="*/ 90488 h 564357"/>
                <a:gd name="connsiteX40" fmla="*/ 481012 w 1059656"/>
                <a:gd name="connsiteY40" fmla="*/ 109538 h 564357"/>
                <a:gd name="connsiteX41" fmla="*/ 466725 w 1059656"/>
                <a:gd name="connsiteY41" fmla="*/ 126207 h 564357"/>
                <a:gd name="connsiteX42" fmla="*/ 450056 w 1059656"/>
                <a:gd name="connsiteY42" fmla="*/ 145257 h 564357"/>
                <a:gd name="connsiteX43" fmla="*/ 454818 w 1059656"/>
                <a:gd name="connsiteY43" fmla="*/ 171450 h 564357"/>
                <a:gd name="connsiteX44" fmla="*/ 423862 w 1059656"/>
                <a:gd name="connsiteY44" fmla="*/ 195263 h 564357"/>
                <a:gd name="connsiteX45" fmla="*/ 371475 w 1059656"/>
                <a:gd name="connsiteY45" fmla="*/ 204788 h 564357"/>
                <a:gd name="connsiteX46" fmla="*/ 330993 w 1059656"/>
                <a:gd name="connsiteY46" fmla="*/ 223838 h 564357"/>
                <a:gd name="connsiteX47" fmla="*/ 321468 w 1059656"/>
                <a:gd name="connsiteY47" fmla="*/ 261938 h 564357"/>
                <a:gd name="connsiteX48" fmla="*/ 319087 w 1059656"/>
                <a:gd name="connsiteY48" fmla="*/ 269082 h 564357"/>
                <a:gd name="connsiteX49" fmla="*/ 266700 w 1059656"/>
                <a:gd name="connsiteY49" fmla="*/ 285750 h 564357"/>
                <a:gd name="connsiteX50" fmla="*/ 180975 w 1059656"/>
                <a:gd name="connsiteY50" fmla="*/ 316707 h 564357"/>
                <a:gd name="connsiteX51" fmla="*/ 157162 w 1059656"/>
                <a:gd name="connsiteY51" fmla="*/ 309563 h 564357"/>
                <a:gd name="connsiteX52" fmla="*/ 128587 w 1059656"/>
                <a:gd name="connsiteY52" fmla="*/ 300038 h 564357"/>
                <a:gd name="connsiteX53" fmla="*/ 130968 w 1059656"/>
                <a:gd name="connsiteY53" fmla="*/ 359569 h 564357"/>
                <a:gd name="connsiteX54" fmla="*/ 169068 w 1059656"/>
                <a:gd name="connsiteY54" fmla="*/ 388144 h 564357"/>
                <a:gd name="connsiteX55" fmla="*/ 185737 w 1059656"/>
                <a:gd name="connsiteY55" fmla="*/ 411957 h 564357"/>
                <a:gd name="connsiteX56" fmla="*/ 180975 w 1059656"/>
                <a:gd name="connsiteY56" fmla="*/ 442913 h 564357"/>
                <a:gd name="connsiteX57" fmla="*/ 173831 w 1059656"/>
                <a:gd name="connsiteY57" fmla="*/ 471488 h 564357"/>
                <a:gd name="connsiteX58" fmla="*/ 130968 w 1059656"/>
                <a:gd name="connsiteY58" fmla="*/ 473869 h 564357"/>
                <a:gd name="connsiteX59" fmla="*/ 95250 w 1059656"/>
                <a:gd name="connsiteY59" fmla="*/ 488157 h 564357"/>
                <a:gd name="connsiteX60" fmla="*/ 71437 w 1059656"/>
                <a:gd name="connsiteY60" fmla="*/ 492919 h 564357"/>
                <a:gd name="connsiteX61" fmla="*/ 50006 w 1059656"/>
                <a:gd name="connsiteY61" fmla="*/ 504825 h 564357"/>
                <a:gd name="connsiteX62" fmla="*/ 30956 w 1059656"/>
                <a:gd name="connsiteY62" fmla="*/ 521494 h 564357"/>
                <a:gd name="connsiteX63" fmla="*/ 7143 w 1059656"/>
                <a:gd name="connsiteY63" fmla="*/ 528638 h 564357"/>
                <a:gd name="connsiteX64" fmla="*/ 0 w 1059656"/>
                <a:gd name="connsiteY64" fmla="*/ 533400 h 564357"/>
                <a:gd name="connsiteX65" fmla="*/ 38100 w 1059656"/>
                <a:gd name="connsiteY65" fmla="*/ 561975 h 564357"/>
                <a:gd name="connsiteX66" fmla="*/ 80962 w 1059656"/>
                <a:gd name="connsiteY66" fmla="*/ 559594 h 564357"/>
                <a:gd name="connsiteX67" fmla="*/ 116681 w 1059656"/>
                <a:gd name="connsiteY67" fmla="*/ 526257 h 564357"/>
                <a:gd name="connsiteX68" fmla="*/ 171450 w 1059656"/>
                <a:gd name="connsiteY68" fmla="*/ 500063 h 564357"/>
                <a:gd name="connsiteX69" fmla="*/ 278606 w 1059656"/>
                <a:gd name="connsiteY69" fmla="*/ 492919 h 564357"/>
                <a:gd name="connsiteX70" fmla="*/ 292893 w 1059656"/>
                <a:gd name="connsiteY70" fmla="*/ 481013 h 564357"/>
                <a:gd name="connsiteX71" fmla="*/ 357187 w 1059656"/>
                <a:gd name="connsiteY71" fmla="*/ 481013 h 564357"/>
                <a:gd name="connsiteX72" fmla="*/ 433387 w 1059656"/>
                <a:gd name="connsiteY72" fmla="*/ 388144 h 564357"/>
                <a:gd name="connsiteX73" fmla="*/ 559593 w 1059656"/>
                <a:gd name="connsiteY73" fmla="*/ 328613 h 564357"/>
                <a:gd name="connsiteX74" fmla="*/ 619125 w 1059656"/>
                <a:gd name="connsiteY74" fmla="*/ 321469 h 564357"/>
                <a:gd name="connsiteX75" fmla="*/ 654843 w 1059656"/>
                <a:gd name="connsiteY75" fmla="*/ 295275 h 564357"/>
                <a:gd name="connsiteX76" fmla="*/ 716756 w 1059656"/>
                <a:gd name="connsiteY76" fmla="*/ 292894 h 564357"/>
                <a:gd name="connsiteX77" fmla="*/ 771525 w 1059656"/>
                <a:gd name="connsiteY77" fmla="*/ 285750 h 564357"/>
                <a:gd name="connsiteX78" fmla="*/ 781050 w 1059656"/>
                <a:gd name="connsiteY78" fmla="*/ 323850 h 564357"/>
                <a:gd name="connsiteX79" fmla="*/ 773906 w 1059656"/>
                <a:gd name="connsiteY79" fmla="*/ 445294 h 564357"/>
                <a:gd name="connsiteX80" fmla="*/ 707231 w 1059656"/>
                <a:gd name="connsiteY80" fmla="*/ 461963 h 564357"/>
                <a:gd name="connsiteX81" fmla="*/ 652461 w 1059656"/>
                <a:gd name="connsiteY81" fmla="*/ 509587 h 564357"/>
                <a:gd name="connsiteX82" fmla="*/ 654844 w 1059656"/>
                <a:gd name="connsiteY82" fmla="*/ 528638 h 564357"/>
                <a:gd name="connsiteX83" fmla="*/ 697706 w 1059656"/>
                <a:gd name="connsiteY83" fmla="*/ 564357 h 564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059656" h="564357">
                  <a:moveTo>
                    <a:pt x="697706" y="564357"/>
                  </a:moveTo>
                  <a:lnTo>
                    <a:pt x="778668" y="492919"/>
                  </a:lnTo>
                  <a:lnTo>
                    <a:pt x="816768" y="473869"/>
                  </a:lnTo>
                  <a:lnTo>
                    <a:pt x="852487" y="471488"/>
                  </a:lnTo>
                  <a:lnTo>
                    <a:pt x="916781" y="457200"/>
                  </a:lnTo>
                  <a:lnTo>
                    <a:pt x="950118" y="459582"/>
                  </a:lnTo>
                  <a:lnTo>
                    <a:pt x="988218" y="476250"/>
                  </a:lnTo>
                  <a:lnTo>
                    <a:pt x="1019175" y="445294"/>
                  </a:lnTo>
                  <a:lnTo>
                    <a:pt x="992981" y="414338"/>
                  </a:lnTo>
                  <a:lnTo>
                    <a:pt x="988218" y="383382"/>
                  </a:lnTo>
                  <a:lnTo>
                    <a:pt x="995362" y="345282"/>
                  </a:lnTo>
                  <a:lnTo>
                    <a:pt x="1023937" y="304800"/>
                  </a:lnTo>
                  <a:lnTo>
                    <a:pt x="1052512" y="295275"/>
                  </a:lnTo>
                  <a:lnTo>
                    <a:pt x="1059656" y="266700"/>
                  </a:lnTo>
                  <a:lnTo>
                    <a:pt x="1047750" y="238125"/>
                  </a:lnTo>
                  <a:lnTo>
                    <a:pt x="1019175" y="228600"/>
                  </a:lnTo>
                  <a:lnTo>
                    <a:pt x="992981" y="235744"/>
                  </a:lnTo>
                  <a:lnTo>
                    <a:pt x="935831" y="254794"/>
                  </a:lnTo>
                  <a:lnTo>
                    <a:pt x="900112" y="259557"/>
                  </a:lnTo>
                  <a:lnTo>
                    <a:pt x="878681" y="242888"/>
                  </a:lnTo>
                  <a:lnTo>
                    <a:pt x="873918" y="228600"/>
                  </a:lnTo>
                  <a:lnTo>
                    <a:pt x="881062" y="185738"/>
                  </a:lnTo>
                  <a:lnTo>
                    <a:pt x="888206" y="150019"/>
                  </a:lnTo>
                  <a:lnTo>
                    <a:pt x="871537" y="111919"/>
                  </a:lnTo>
                  <a:lnTo>
                    <a:pt x="852488" y="92869"/>
                  </a:lnTo>
                  <a:lnTo>
                    <a:pt x="859630" y="66676"/>
                  </a:lnTo>
                  <a:lnTo>
                    <a:pt x="857249" y="28576"/>
                  </a:lnTo>
                  <a:lnTo>
                    <a:pt x="833437" y="0"/>
                  </a:lnTo>
                  <a:lnTo>
                    <a:pt x="809625" y="33338"/>
                  </a:lnTo>
                  <a:lnTo>
                    <a:pt x="797718" y="50007"/>
                  </a:lnTo>
                  <a:lnTo>
                    <a:pt x="757237" y="45244"/>
                  </a:lnTo>
                  <a:lnTo>
                    <a:pt x="735806" y="50007"/>
                  </a:lnTo>
                  <a:lnTo>
                    <a:pt x="719137" y="78582"/>
                  </a:lnTo>
                  <a:lnTo>
                    <a:pt x="723900" y="97632"/>
                  </a:lnTo>
                  <a:lnTo>
                    <a:pt x="707231" y="111919"/>
                  </a:lnTo>
                  <a:lnTo>
                    <a:pt x="631031" y="114300"/>
                  </a:lnTo>
                  <a:lnTo>
                    <a:pt x="597693" y="100013"/>
                  </a:lnTo>
                  <a:lnTo>
                    <a:pt x="569118" y="71438"/>
                  </a:lnTo>
                  <a:lnTo>
                    <a:pt x="531018" y="66675"/>
                  </a:lnTo>
                  <a:lnTo>
                    <a:pt x="497681" y="90488"/>
                  </a:lnTo>
                  <a:lnTo>
                    <a:pt x="481012" y="109538"/>
                  </a:lnTo>
                  <a:lnTo>
                    <a:pt x="466725" y="126207"/>
                  </a:lnTo>
                  <a:lnTo>
                    <a:pt x="450056" y="145257"/>
                  </a:lnTo>
                  <a:lnTo>
                    <a:pt x="454818" y="171450"/>
                  </a:lnTo>
                  <a:lnTo>
                    <a:pt x="423862" y="195263"/>
                  </a:lnTo>
                  <a:lnTo>
                    <a:pt x="371475" y="204788"/>
                  </a:lnTo>
                  <a:lnTo>
                    <a:pt x="330993" y="223838"/>
                  </a:lnTo>
                  <a:lnTo>
                    <a:pt x="321468" y="261938"/>
                  </a:lnTo>
                  <a:lnTo>
                    <a:pt x="319087" y="269082"/>
                  </a:lnTo>
                  <a:lnTo>
                    <a:pt x="266700" y="285750"/>
                  </a:lnTo>
                  <a:lnTo>
                    <a:pt x="180975" y="316707"/>
                  </a:lnTo>
                  <a:lnTo>
                    <a:pt x="157162" y="309563"/>
                  </a:lnTo>
                  <a:lnTo>
                    <a:pt x="128587" y="300038"/>
                  </a:lnTo>
                  <a:cubicBezTo>
                    <a:pt x="129381" y="319882"/>
                    <a:pt x="130174" y="339725"/>
                    <a:pt x="130968" y="359569"/>
                  </a:cubicBezTo>
                  <a:lnTo>
                    <a:pt x="169068" y="388144"/>
                  </a:lnTo>
                  <a:lnTo>
                    <a:pt x="185737" y="411957"/>
                  </a:lnTo>
                  <a:lnTo>
                    <a:pt x="180975" y="442913"/>
                  </a:lnTo>
                  <a:lnTo>
                    <a:pt x="173831" y="471488"/>
                  </a:lnTo>
                  <a:lnTo>
                    <a:pt x="130968" y="473869"/>
                  </a:lnTo>
                  <a:lnTo>
                    <a:pt x="95250" y="488157"/>
                  </a:lnTo>
                  <a:lnTo>
                    <a:pt x="71437" y="492919"/>
                  </a:lnTo>
                  <a:lnTo>
                    <a:pt x="50006" y="504825"/>
                  </a:lnTo>
                  <a:lnTo>
                    <a:pt x="30956" y="521494"/>
                  </a:lnTo>
                  <a:lnTo>
                    <a:pt x="7143" y="528638"/>
                  </a:lnTo>
                  <a:lnTo>
                    <a:pt x="0" y="533400"/>
                  </a:lnTo>
                  <a:lnTo>
                    <a:pt x="38100" y="561975"/>
                  </a:lnTo>
                  <a:lnTo>
                    <a:pt x="80962" y="559594"/>
                  </a:lnTo>
                  <a:lnTo>
                    <a:pt x="116681" y="526257"/>
                  </a:lnTo>
                  <a:lnTo>
                    <a:pt x="171450" y="500063"/>
                  </a:lnTo>
                  <a:lnTo>
                    <a:pt x="278606" y="492919"/>
                  </a:lnTo>
                  <a:lnTo>
                    <a:pt x="292893" y="481013"/>
                  </a:lnTo>
                  <a:lnTo>
                    <a:pt x="357187" y="481013"/>
                  </a:lnTo>
                  <a:lnTo>
                    <a:pt x="433387" y="388144"/>
                  </a:lnTo>
                  <a:lnTo>
                    <a:pt x="559593" y="328613"/>
                  </a:lnTo>
                  <a:lnTo>
                    <a:pt x="619125" y="321469"/>
                  </a:lnTo>
                  <a:lnTo>
                    <a:pt x="654843" y="295275"/>
                  </a:lnTo>
                  <a:lnTo>
                    <a:pt x="716756" y="292894"/>
                  </a:lnTo>
                  <a:lnTo>
                    <a:pt x="771525" y="285750"/>
                  </a:lnTo>
                  <a:lnTo>
                    <a:pt x="781050" y="323850"/>
                  </a:lnTo>
                  <a:lnTo>
                    <a:pt x="773906" y="445294"/>
                  </a:lnTo>
                  <a:lnTo>
                    <a:pt x="707231" y="461963"/>
                  </a:lnTo>
                  <a:lnTo>
                    <a:pt x="652461" y="509587"/>
                  </a:lnTo>
                  <a:lnTo>
                    <a:pt x="654844" y="528638"/>
                  </a:lnTo>
                  <a:lnTo>
                    <a:pt x="697706" y="564357"/>
                  </a:lnTo>
                  <a:close/>
                </a:path>
              </a:pathLst>
            </a:custGeom>
            <a:solidFill>
              <a:schemeClr val="bg1"/>
            </a:solidFill>
            <a:ln w="317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a:lstStyle/>
            <a:p>
              <a:pPr>
                <a:defRPr/>
              </a:pPr>
              <a:endParaRPr lang="en-GB"/>
            </a:p>
          </p:txBody>
        </p:sp>
        <p:sp>
          <p:nvSpPr>
            <p:cNvPr id="64" name="Freeform 63"/>
            <p:cNvSpPr/>
            <p:nvPr/>
          </p:nvSpPr>
          <p:spPr>
            <a:xfrm>
              <a:off x="7121922" y="2611984"/>
              <a:ext cx="320675" cy="330200"/>
            </a:xfrm>
            <a:custGeom>
              <a:avLst/>
              <a:gdLst>
                <a:gd name="connsiteX0" fmla="*/ 190500 w 314325"/>
                <a:gd name="connsiteY0" fmla="*/ 302419 h 330994"/>
                <a:gd name="connsiteX1" fmla="*/ 221456 w 314325"/>
                <a:gd name="connsiteY1" fmla="*/ 240506 h 330994"/>
                <a:gd name="connsiteX2" fmla="*/ 250031 w 314325"/>
                <a:gd name="connsiteY2" fmla="*/ 214312 h 330994"/>
                <a:gd name="connsiteX3" fmla="*/ 266700 w 314325"/>
                <a:gd name="connsiteY3" fmla="*/ 169069 h 330994"/>
                <a:gd name="connsiteX4" fmla="*/ 273844 w 314325"/>
                <a:gd name="connsiteY4" fmla="*/ 119062 h 330994"/>
                <a:gd name="connsiteX5" fmla="*/ 314325 w 314325"/>
                <a:gd name="connsiteY5" fmla="*/ 52387 h 330994"/>
                <a:gd name="connsiteX6" fmla="*/ 295275 w 314325"/>
                <a:gd name="connsiteY6" fmla="*/ 14287 h 330994"/>
                <a:gd name="connsiteX7" fmla="*/ 285750 w 314325"/>
                <a:gd name="connsiteY7" fmla="*/ 21431 h 330994"/>
                <a:gd name="connsiteX8" fmla="*/ 273844 w 314325"/>
                <a:gd name="connsiteY8" fmla="*/ 0 h 330994"/>
                <a:gd name="connsiteX9" fmla="*/ 245269 w 314325"/>
                <a:gd name="connsiteY9" fmla="*/ 33337 h 330994"/>
                <a:gd name="connsiteX10" fmla="*/ 211931 w 314325"/>
                <a:gd name="connsiteY10" fmla="*/ 45244 h 330994"/>
                <a:gd name="connsiteX11" fmla="*/ 202406 w 314325"/>
                <a:gd name="connsiteY11" fmla="*/ 85725 h 330994"/>
                <a:gd name="connsiteX12" fmla="*/ 178594 w 314325"/>
                <a:gd name="connsiteY12" fmla="*/ 95250 h 330994"/>
                <a:gd name="connsiteX13" fmla="*/ 135731 w 314325"/>
                <a:gd name="connsiteY13" fmla="*/ 47625 h 330994"/>
                <a:gd name="connsiteX14" fmla="*/ 104775 w 314325"/>
                <a:gd name="connsiteY14" fmla="*/ 64294 h 330994"/>
                <a:gd name="connsiteX15" fmla="*/ 109537 w 314325"/>
                <a:gd name="connsiteY15" fmla="*/ 154781 h 330994"/>
                <a:gd name="connsiteX16" fmla="*/ 78581 w 314325"/>
                <a:gd name="connsiteY16" fmla="*/ 176212 h 330994"/>
                <a:gd name="connsiteX17" fmla="*/ 59531 w 314325"/>
                <a:gd name="connsiteY17" fmla="*/ 195262 h 330994"/>
                <a:gd name="connsiteX18" fmla="*/ 59531 w 314325"/>
                <a:gd name="connsiteY18" fmla="*/ 195262 h 330994"/>
                <a:gd name="connsiteX19" fmla="*/ 61912 w 314325"/>
                <a:gd name="connsiteY19" fmla="*/ 240506 h 330994"/>
                <a:gd name="connsiteX20" fmla="*/ 9525 w 314325"/>
                <a:gd name="connsiteY20" fmla="*/ 233362 h 330994"/>
                <a:gd name="connsiteX21" fmla="*/ 0 w 314325"/>
                <a:gd name="connsiteY21" fmla="*/ 254794 h 330994"/>
                <a:gd name="connsiteX22" fmla="*/ 14287 w 314325"/>
                <a:gd name="connsiteY22" fmla="*/ 330994 h 330994"/>
                <a:gd name="connsiteX23" fmla="*/ 59531 w 314325"/>
                <a:gd name="connsiteY23" fmla="*/ 302419 h 330994"/>
                <a:gd name="connsiteX24" fmla="*/ 100012 w 314325"/>
                <a:gd name="connsiteY24" fmla="*/ 285750 h 330994"/>
                <a:gd name="connsiteX25" fmla="*/ 126206 w 314325"/>
                <a:gd name="connsiteY25" fmla="*/ 288131 h 330994"/>
                <a:gd name="connsiteX26" fmla="*/ 190500 w 314325"/>
                <a:gd name="connsiteY26" fmla="*/ 302419 h 330994"/>
                <a:gd name="connsiteX0" fmla="*/ 190500 w 321468"/>
                <a:gd name="connsiteY0" fmla="*/ 302419 h 330994"/>
                <a:gd name="connsiteX1" fmla="*/ 221456 w 321468"/>
                <a:gd name="connsiteY1" fmla="*/ 240506 h 330994"/>
                <a:gd name="connsiteX2" fmla="*/ 250031 w 321468"/>
                <a:gd name="connsiteY2" fmla="*/ 214312 h 330994"/>
                <a:gd name="connsiteX3" fmla="*/ 266700 w 321468"/>
                <a:gd name="connsiteY3" fmla="*/ 169069 h 330994"/>
                <a:gd name="connsiteX4" fmla="*/ 273844 w 321468"/>
                <a:gd name="connsiteY4" fmla="*/ 119062 h 330994"/>
                <a:gd name="connsiteX5" fmla="*/ 321468 w 321468"/>
                <a:gd name="connsiteY5" fmla="*/ 61912 h 330994"/>
                <a:gd name="connsiteX6" fmla="*/ 295275 w 321468"/>
                <a:gd name="connsiteY6" fmla="*/ 14287 h 330994"/>
                <a:gd name="connsiteX7" fmla="*/ 285750 w 321468"/>
                <a:gd name="connsiteY7" fmla="*/ 21431 h 330994"/>
                <a:gd name="connsiteX8" fmla="*/ 273844 w 321468"/>
                <a:gd name="connsiteY8" fmla="*/ 0 h 330994"/>
                <a:gd name="connsiteX9" fmla="*/ 245269 w 321468"/>
                <a:gd name="connsiteY9" fmla="*/ 33337 h 330994"/>
                <a:gd name="connsiteX10" fmla="*/ 211931 w 321468"/>
                <a:gd name="connsiteY10" fmla="*/ 45244 h 330994"/>
                <a:gd name="connsiteX11" fmla="*/ 202406 w 321468"/>
                <a:gd name="connsiteY11" fmla="*/ 85725 h 330994"/>
                <a:gd name="connsiteX12" fmla="*/ 178594 w 321468"/>
                <a:gd name="connsiteY12" fmla="*/ 95250 h 330994"/>
                <a:gd name="connsiteX13" fmla="*/ 135731 w 321468"/>
                <a:gd name="connsiteY13" fmla="*/ 47625 h 330994"/>
                <a:gd name="connsiteX14" fmla="*/ 104775 w 321468"/>
                <a:gd name="connsiteY14" fmla="*/ 64294 h 330994"/>
                <a:gd name="connsiteX15" fmla="*/ 109537 w 321468"/>
                <a:gd name="connsiteY15" fmla="*/ 154781 h 330994"/>
                <a:gd name="connsiteX16" fmla="*/ 78581 w 321468"/>
                <a:gd name="connsiteY16" fmla="*/ 176212 h 330994"/>
                <a:gd name="connsiteX17" fmla="*/ 59531 w 321468"/>
                <a:gd name="connsiteY17" fmla="*/ 195262 h 330994"/>
                <a:gd name="connsiteX18" fmla="*/ 59531 w 321468"/>
                <a:gd name="connsiteY18" fmla="*/ 195262 h 330994"/>
                <a:gd name="connsiteX19" fmla="*/ 61912 w 321468"/>
                <a:gd name="connsiteY19" fmla="*/ 240506 h 330994"/>
                <a:gd name="connsiteX20" fmla="*/ 9525 w 321468"/>
                <a:gd name="connsiteY20" fmla="*/ 233362 h 330994"/>
                <a:gd name="connsiteX21" fmla="*/ 0 w 321468"/>
                <a:gd name="connsiteY21" fmla="*/ 254794 h 330994"/>
                <a:gd name="connsiteX22" fmla="*/ 14287 w 321468"/>
                <a:gd name="connsiteY22" fmla="*/ 330994 h 330994"/>
                <a:gd name="connsiteX23" fmla="*/ 59531 w 321468"/>
                <a:gd name="connsiteY23" fmla="*/ 302419 h 330994"/>
                <a:gd name="connsiteX24" fmla="*/ 100012 w 321468"/>
                <a:gd name="connsiteY24" fmla="*/ 285750 h 330994"/>
                <a:gd name="connsiteX25" fmla="*/ 126206 w 321468"/>
                <a:gd name="connsiteY25" fmla="*/ 288131 h 330994"/>
                <a:gd name="connsiteX26" fmla="*/ 190500 w 321468"/>
                <a:gd name="connsiteY26" fmla="*/ 302419 h 330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1468" h="330994">
                  <a:moveTo>
                    <a:pt x="190500" y="302419"/>
                  </a:moveTo>
                  <a:lnTo>
                    <a:pt x="221456" y="240506"/>
                  </a:lnTo>
                  <a:lnTo>
                    <a:pt x="250031" y="214312"/>
                  </a:lnTo>
                  <a:lnTo>
                    <a:pt x="266700" y="169069"/>
                  </a:lnTo>
                  <a:lnTo>
                    <a:pt x="273844" y="119062"/>
                  </a:lnTo>
                  <a:lnTo>
                    <a:pt x="321468" y="61912"/>
                  </a:lnTo>
                  <a:lnTo>
                    <a:pt x="295275" y="14287"/>
                  </a:lnTo>
                  <a:lnTo>
                    <a:pt x="285750" y="21431"/>
                  </a:lnTo>
                  <a:lnTo>
                    <a:pt x="273844" y="0"/>
                  </a:lnTo>
                  <a:lnTo>
                    <a:pt x="245269" y="33337"/>
                  </a:lnTo>
                  <a:lnTo>
                    <a:pt x="211931" y="45244"/>
                  </a:lnTo>
                  <a:lnTo>
                    <a:pt x="202406" y="85725"/>
                  </a:lnTo>
                  <a:lnTo>
                    <a:pt x="178594" y="95250"/>
                  </a:lnTo>
                  <a:lnTo>
                    <a:pt x="135731" y="47625"/>
                  </a:lnTo>
                  <a:lnTo>
                    <a:pt x="104775" y="64294"/>
                  </a:lnTo>
                  <a:lnTo>
                    <a:pt x="109537" y="154781"/>
                  </a:lnTo>
                  <a:lnTo>
                    <a:pt x="78581" y="176212"/>
                  </a:lnTo>
                  <a:lnTo>
                    <a:pt x="59531" y="195262"/>
                  </a:lnTo>
                  <a:lnTo>
                    <a:pt x="59531" y="195262"/>
                  </a:lnTo>
                  <a:lnTo>
                    <a:pt x="61912" y="240506"/>
                  </a:lnTo>
                  <a:lnTo>
                    <a:pt x="9525" y="233362"/>
                  </a:lnTo>
                  <a:lnTo>
                    <a:pt x="0" y="254794"/>
                  </a:lnTo>
                  <a:lnTo>
                    <a:pt x="14287" y="330994"/>
                  </a:lnTo>
                  <a:lnTo>
                    <a:pt x="59531" y="302419"/>
                  </a:lnTo>
                  <a:lnTo>
                    <a:pt x="100012" y="285750"/>
                  </a:lnTo>
                  <a:lnTo>
                    <a:pt x="126206" y="288131"/>
                  </a:lnTo>
                  <a:lnTo>
                    <a:pt x="190500" y="302419"/>
                  </a:lnTo>
                  <a:close/>
                </a:path>
              </a:pathLst>
            </a:custGeom>
            <a:solidFill>
              <a:schemeClr val="bg1"/>
            </a:solidFill>
            <a:ln w="3175">
              <a:solidFill>
                <a:schemeClr val="bg1">
                  <a:lumMod val="50000"/>
                </a:schemeClr>
              </a:solidFill>
            </a:ln>
          </p:spPr>
          <p:style>
            <a:lnRef idx="2">
              <a:schemeClr val="accent1"/>
            </a:lnRef>
            <a:fillRef idx="1">
              <a:schemeClr val="lt1"/>
            </a:fillRef>
            <a:effectRef idx="0">
              <a:schemeClr val="accent1"/>
            </a:effectRef>
            <a:fontRef idx="minor">
              <a:schemeClr val="dk1"/>
            </a:fontRef>
          </p:style>
          <p:txBody>
            <a:bodyPr/>
            <a:lstStyle/>
            <a:p>
              <a:pPr>
                <a:defRPr/>
              </a:pPr>
              <a:endParaRPr lang="en-GB"/>
            </a:p>
          </p:txBody>
        </p:sp>
      </p:grpSp>
      <p:sp>
        <p:nvSpPr>
          <p:cNvPr id="65" name="TextBox 64"/>
          <p:cNvSpPr txBox="1"/>
          <p:nvPr/>
        </p:nvSpPr>
        <p:spPr>
          <a:xfrm>
            <a:off x="565292" y="1241268"/>
            <a:ext cx="4686301" cy="457200"/>
          </a:xfrm>
          <a:prstGeom prst="rect">
            <a:avLst/>
          </a:prstGeom>
          <a:noFill/>
        </p:spPr>
        <p:txBody>
          <a:bodyPr wrap="square" lIns="0" tIns="0" rIns="0" bIns="0" rtlCol="0">
            <a:noAutofit/>
          </a:bodyPr>
          <a:lstStyle/>
          <a:p>
            <a:pPr marL="213952" indent="-213952"/>
            <a:r>
              <a:rPr lang="ja-JP" altLang="en-US" sz="1292" b="1" dirty="0" smtClean="0"/>
              <a:t>インドの衛生関連組織</a:t>
            </a:r>
            <a:endParaRPr lang="en-US" sz="1292" b="1" dirty="0"/>
          </a:p>
          <a:p>
            <a:pPr marL="213952" indent="-213952"/>
            <a:r>
              <a:rPr lang="ja-JP" altLang="en-US" sz="1292" i="1" dirty="0" smtClean="0"/>
              <a:t>活動地域</a:t>
            </a:r>
            <a:r>
              <a:rPr lang="en-US" sz="1292" i="1" baseline="30000" dirty="0" smtClean="0"/>
              <a:t>1</a:t>
            </a:r>
            <a:endParaRPr lang="en-US" sz="1292" i="1" baseline="30000" dirty="0"/>
          </a:p>
        </p:txBody>
      </p:sp>
      <p:sp>
        <p:nvSpPr>
          <p:cNvPr id="4" name="Oval 3"/>
          <p:cNvSpPr/>
          <p:nvPr/>
        </p:nvSpPr>
        <p:spPr>
          <a:xfrm>
            <a:off x="3822980" y="3066591"/>
            <a:ext cx="91440" cy="91440"/>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Oval 65"/>
          <p:cNvSpPr/>
          <p:nvPr/>
        </p:nvSpPr>
        <p:spPr>
          <a:xfrm>
            <a:off x="3844551" y="4054903"/>
            <a:ext cx="91440" cy="91440"/>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Oval 71"/>
          <p:cNvSpPr/>
          <p:nvPr/>
        </p:nvSpPr>
        <p:spPr>
          <a:xfrm>
            <a:off x="2785012" y="3775614"/>
            <a:ext cx="91440" cy="91440"/>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p:cNvSpPr/>
          <p:nvPr/>
        </p:nvSpPr>
        <p:spPr>
          <a:xfrm>
            <a:off x="3702017" y="2053838"/>
            <a:ext cx="91440" cy="91440"/>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p:cNvSpPr/>
          <p:nvPr/>
        </p:nvSpPr>
        <p:spPr>
          <a:xfrm>
            <a:off x="3593502" y="2804834"/>
            <a:ext cx="91440" cy="9144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Oval 75"/>
          <p:cNvSpPr/>
          <p:nvPr/>
        </p:nvSpPr>
        <p:spPr>
          <a:xfrm>
            <a:off x="3569027" y="2922663"/>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Rounded Rectangular Callout 111"/>
          <p:cNvSpPr/>
          <p:nvPr/>
        </p:nvSpPr>
        <p:spPr>
          <a:xfrm>
            <a:off x="1162455" y="4553276"/>
            <a:ext cx="1688245" cy="1203225"/>
          </a:xfrm>
          <a:prstGeom prst="wedgeRoundRectCallout">
            <a:avLst>
              <a:gd name="adj1" fmla="val 56226"/>
              <a:gd name="adj2" fmla="val -65051"/>
              <a:gd name="adj3" fmla="val 16667"/>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err="1" smtClean="0">
                <a:solidFill>
                  <a:schemeClr val="tx1"/>
                </a:solidFill>
              </a:rPr>
              <a:t>Sulabh</a:t>
            </a:r>
            <a:r>
              <a:rPr lang="en-US" sz="1200" dirty="0" smtClean="0">
                <a:solidFill>
                  <a:schemeClr val="tx1"/>
                </a:solidFill>
              </a:rPr>
              <a:t> International</a:t>
            </a:r>
            <a:r>
              <a:rPr lang="ja-JP" altLang="en-US" sz="1200" dirty="0" smtClean="0">
                <a:solidFill>
                  <a:schemeClr val="tx1"/>
                </a:solidFill>
              </a:rPr>
              <a:t>はインド全体で活動している。同社のトイレ及びバイオガスプラントは</a:t>
            </a:r>
            <a:r>
              <a:rPr lang="en-US" sz="1200" b="1" dirty="0" smtClean="0">
                <a:solidFill>
                  <a:schemeClr val="tx1"/>
                </a:solidFill>
              </a:rPr>
              <a:t>25</a:t>
            </a:r>
            <a:r>
              <a:rPr lang="ja-JP" altLang="en-US" sz="1200" b="1" dirty="0" smtClean="0">
                <a:solidFill>
                  <a:schemeClr val="tx1"/>
                </a:solidFill>
              </a:rPr>
              <a:t>州</a:t>
            </a:r>
            <a:r>
              <a:rPr lang="ja-JP" altLang="en-US" sz="1200" dirty="0" smtClean="0">
                <a:solidFill>
                  <a:schemeClr val="tx1"/>
                </a:solidFill>
              </a:rPr>
              <a:t>にある</a:t>
            </a:r>
            <a:endParaRPr lang="en-US" sz="1200" dirty="0">
              <a:solidFill>
                <a:schemeClr val="tx1"/>
              </a:solidFill>
            </a:endParaRPr>
          </a:p>
        </p:txBody>
      </p:sp>
      <p:sp>
        <p:nvSpPr>
          <p:cNvPr id="113" name="Rounded Rectangular Callout 112"/>
          <p:cNvSpPr/>
          <p:nvPr/>
        </p:nvSpPr>
        <p:spPr>
          <a:xfrm>
            <a:off x="6703892" y="1128260"/>
            <a:ext cx="1757197" cy="1664108"/>
          </a:xfrm>
          <a:prstGeom prst="wedgeRoundRectCallout">
            <a:avLst>
              <a:gd name="adj1" fmla="val -43604"/>
              <a:gd name="adj2" fmla="val 58679"/>
              <a:gd name="adj3" fmla="val 16667"/>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REEL</a:t>
            </a:r>
            <a:r>
              <a:rPr lang="ja-JP" altLang="en-US" sz="1200" dirty="0" smtClean="0">
                <a:solidFill>
                  <a:schemeClr val="tx1"/>
                </a:solidFill>
              </a:rPr>
              <a:t>はインパール（</a:t>
            </a:r>
            <a:r>
              <a:rPr lang="ja-JP" altLang="en-US" sz="1200" b="1" dirty="0" smtClean="0">
                <a:solidFill>
                  <a:schemeClr val="tx1"/>
                </a:solidFill>
              </a:rPr>
              <a:t>マニプル州</a:t>
            </a:r>
            <a:r>
              <a:rPr lang="ja-JP" altLang="en-US" sz="1200" dirty="0" smtClean="0">
                <a:solidFill>
                  <a:schemeClr val="tx1"/>
                </a:solidFill>
              </a:rPr>
              <a:t>）、コヒマ（</a:t>
            </a:r>
            <a:r>
              <a:rPr lang="ja-JP" altLang="en-US" sz="1200" b="1" dirty="0" smtClean="0">
                <a:solidFill>
                  <a:schemeClr val="tx1"/>
                </a:solidFill>
              </a:rPr>
              <a:t>ナガランド州</a:t>
            </a:r>
            <a:r>
              <a:rPr lang="ja-JP" altLang="en-US" sz="1200" dirty="0" smtClean="0">
                <a:solidFill>
                  <a:schemeClr val="tx1"/>
                </a:solidFill>
              </a:rPr>
              <a:t>）、グワーハーテイ（</a:t>
            </a:r>
            <a:r>
              <a:rPr lang="ja-JP" altLang="en-US" sz="1200" b="1" dirty="0" smtClean="0">
                <a:solidFill>
                  <a:schemeClr val="tx1"/>
                </a:solidFill>
              </a:rPr>
              <a:t>アッサム州</a:t>
            </a:r>
            <a:r>
              <a:rPr lang="ja-JP" altLang="en-US" sz="1200" dirty="0" smtClean="0">
                <a:solidFill>
                  <a:schemeClr val="tx1"/>
                </a:solidFill>
              </a:rPr>
              <a:t>）でそれぞれ地元企業と共にプロジェクトを展開している</a:t>
            </a:r>
            <a:endParaRPr lang="en-US" sz="1200" dirty="0">
              <a:solidFill>
                <a:schemeClr val="tx1"/>
              </a:solidFill>
            </a:endParaRPr>
          </a:p>
        </p:txBody>
      </p:sp>
      <p:grpSp>
        <p:nvGrpSpPr>
          <p:cNvPr id="6" name="Group 5"/>
          <p:cNvGrpSpPr/>
          <p:nvPr/>
        </p:nvGrpSpPr>
        <p:grpSpPr>
          <a:xfrm>
            <a:off x="6924611" y="4850230"/>
            <a:ext cx="1656575" cy="920422"/>
            <a:chOff x="5590042" y="4496153"/>
            <a:chExt cx="888915" cy="920422"/>
          </a:xfrm>
        </p:grpSpPr>
        <p:sp>
          <p:nvSpPr>
            <p:cNvPr id="114" name="TextBox 113"/>
            <p:cNvSpPr txBox="1"/>
            <p:nvPr/>
          </p:nvSpPr>
          <p:spPr>
            <a:xfrm>
              <a:off x="5742958" y="4496153"/>
              <a:ext cx="735999" cy="162712"/>
            </a:xfrm>
            <a:prstGeom prst="rect">
              <a:avLst/>
            </a:prstGeom>
            <a:noFill/>
          </p:spPr>
          <p:txBody>
            <a:bodyPr wrap="square" lIns="0" tIns="0" rIns="0" bIns="0" rtlCol="0" anchor="ctr">
              <a:noAutofit/>
            </a:bodyPr>
            <a:lstStyle/>
            <a:p>
              <a:pPr marL="213952" indent="-213952"/>
              <a:r>
                <a:rPr lang="en-US" sz="1200" dirty="0" err="1" smtClean="0"/>
                <a:t>CDD</a:t>
              </a:r>
              <a:r>
                <a:rPr lang="en-US" sz="1200" dirty="0" smtClean="0"/>
                <a:t> (</a:t>
              </a:r>
              <a:r>
                <a:rPr lang="en-US" sz="1200" dirty="0" err="1" smtClean="0"/>
                <a:t>DEWATS</a:t>
              </a:r>
              <a:r>
                <a:rPr lang="en-US" sz="1200" dirty="0" smtClean="0"/>
                <a:t>)</a:t>
              </a:r>
              <a:endParaRPr lang="en-US" sz="1200" i="1" dirty="0"/>
            </a:p>
          </p:txBody>
        </p:sp>
        <p:sp>
          <p:nvSpPr>
            <p:cNvPr id="117" name="Oval 116"/>
            <p:cNvSpPr/>
            <p:nvPr/>
          </p:nvSpPr>
          <p:spPr>
            <a:xfrm>
              <a:off x="5590042" y="4531789"/>
              <a:ext cx="49067" cy="91440"/>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TextBox 117"/>
            <p:cNvSpPr txBox="1"/>
            <p:nvPr/>
          </p:nvSpPr>
          <p:spPr>
            <a:xfrm>
              <a:off x="5742958" y="4748723"/>
              <a:ext cx="735999" cy="162712"/>
            </a:xfrm>
            <a:prstGeom prst="rect">
              <a:avLst/>
            </a:prstGeom>
            <a:noFill/>
          </p:spPr>
          <p:txBody>
            <a:bodyPr wrap="square" lIns="0" tIns="0" rIns="0" bIns="0" rtlCol="0" anchor="ctr">
              <a:noAutofit/>
            </a:bodyPr>
            <a:lstStyle/>
            <a:p>
              <a:pPr marL="213952" indent="-213952"/>
              <a:r>
                <a:rPr lang="en-US" sz="1200" dirty="0" smtClean="0"/>
                <a:t>REEL</a:t>
              </a:r>
              <a:r>
                <a:rPr lang="en-US" sz="1200" baseline="30000" dirty="0" smtClean="0"/>
                <a:t>2</a:t>
              </a:r>
              <a:endParaRPr lang="en-US" sz="1200" i="1" baseline="30000" dirty="0"/>
            </a:p>
          </p:txBody>
        </p:sp>
        <p:sp>
          <p:nvSpPr>
            <p:cNvPr id="119" name="Oval 118"/>
            <p:cNvSpPr/>
            <p:nvPr/>
          </p:nvSpPr>
          <p:spPr>
            <a:xfrm>
              <a:off x="5590042" y="4784359"/>
              <a:ext cx="49067" cy="9144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TextBox 119"/>
            <p:cNvSpPr txBox="1"/>
            <p:nvPr/>
          </p:nvSpPr>
          <p:spPr>
            <a:xfrm>
              <a:off x="5742958" y="5001293"/>
              <a:ext cx="735999" cy="162712"/>
            </a:xfrm>
            <a:prstGeom prst="rect">
              <a:avLst/>
            </a:prstGeom>
            <a:noFill/>
          </p:spPr>
          <p:txBody>
            <a:bodyPr wrap="square" lIns="0" tIns="0" rIns="0" bIns="0" rtlCol="0" anchor="ctr">
              <a:noAutofit/>
            </a:bodyPr>
            <a:lstStyle/>
            <a:p>
              <a:pPr marL="213952" indent="-213952"/>
              <a:r>
                <a:rPr lang="en-US" sz="1200" dirty="0" err="1" smtClean="0"/>
                <a:t>Sulabh</a:t>
              </a:r>
              <a:r>
                <a:rPr lang="en-US" sz="1200" dirty="0"/>
                <a:t> </a:t>
              </a:r>
              <a:r>
                <a:rPr lang="en-US" sz="1200" dirty="0" smtClean="0"/>
                <a:t>International</a:t>
              </a:r>
              <a:r>
                <a:rPr lang="en-US" sz="1200" baseline="30000" dirty="0" smtClean="0"/>
                <a:t>3</a:t>
              </a:r>
              <a:endParaRPr lang="en-US" sz="1200" i="1" baseline="30000" dirty="0"/>
            </a:p>
          </p:txBody>
        </p:sp>
        <p:sp>
          <p:nvSpPr>
            <p:cNvPr id="121" name="Oval 120"/>
            <p:cNvSpPr/>
            <p:nvPr/>
          </p:nvSpPr>
          <p:spPr>
            <a:xfrm>
              <a:off x="5590042" y="5036929"/>
              <a:ext cx="49067"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TextBox 121"/>
            <p:cNvSpPr txBox="1"/>
            <p:nvPr/>
          </p:nvSpPr>
          <p:spPr>
            <a:xfrm>
              <a:off x="5742958" y="5253863"/>
              <a:ext cx="735999" cy="162712"/>
            </a:xfrm>
            <a:prstGeom prst="rect">
              <a:avLst/>
            </a:prstGeom>
            <a:noFill/>
          </p:spPr>
          <p:txBody>
            <a:bodyPr wrap="square" lIns="0" tIns="0" rIns="0" bIns="0" rtlCol="0" anchor="ctr">
              <a:noAutofit/>
            </a:bodyPr>
            <a:lstStyle/>
            <a:p>
              <a:pPr marL="213952" indent="-213952"/>
              <a:r>
                <a:rPr lang="en-US" sz="1200" dirty="0" smtClean="0"/>
                <a:t>Feedback Infra</a:t>
              </a:r>
              <a:endParaRPr lang="en-US" sz="1200" i="1" dirty="0"/>
            </a:p>
          </p:txBody>
        </p:sp>
        <p:sp>
          <p:nvSpPr>
            <p:cNvPr id="123" name="Oval 122"/>
            <p:cNvSpPr/>
            <p:nvPr/>
          </p:nvSpPr>
          <p:spPr>
            <a:xfrm>
              <a:off x="5590042" y="5289499"/>
              <a:ext cx="49067" cy="9144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4" name="Rounded Rectangular Callout 123"/>
          <p:cNvSpPr/>
          <p:nvPr/>
        </p:nvSpPr>
        <p:spPr>
          <a:xfrm>
            <a:off x="4325254" y="5014198"/>
            <a:ext cx="1913118" cy="965619"/>
          </a:xfrm>
          <a:prstGeom prst="wedgeRoundRectCallout">
            <a:avLst>
              <a:gd name="adj1" fmla="val -76035"/>
              <a:gd name="adj2" fmla="val 9797"/>
              <a:gd name="adj3" fmla="val 16667"/>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CDD</a:t>
            </a:r>
            <a:r>
              <a:rPr lang="ja-JP" altLang="en-US" sz="1200" dirty="0" smtClean="0">
                <a:solidFill>
                  <a:schemeClr val="tx1"/>
                </a:solidFill>
              </a:rPr>
              <a:t>はタミル・ナードゥ州の</a:t>
            </a:r>
            <a:r>
              <a:rPr lang="ja-JP" altLang="en-US" sz="1200" b="1" dirty="0" smtClean="0">
                <a:solidFill>
                  <a:schemeClr val="tx1"/>
                </a:solidFill>
              </a:rPr>
              <a:t>アラビンド眼科病院</a:t>
            </a:r>
            <a:r>
              <a:rPr lang="ja-JP" altLang="en-US" sz="1200" dirty="0" smtClean="0">
                <a:solidFill>
                  <a:schemeClr val="tx1"/>
                </a:solidFill>
              </a:rPr>
              <a:t>に</a:t>
            </a:r>
            <a:r>
              <a:rPr lang="en-US" sz="1200" dirty="0" smtClean="0">
                <a:solidFill>
                  <a:schemeClr val="tx1"/>
                </a:solidFill>
              </a:rPr>
              <a:t>DEWATS</a:t>
            </a:r>
            <a:r>
              <a:rPr lang="ja-JP" altLang="en-US" sz="1200" dirty="0" smtClean="0">
                <a:solidFill>
                  <a:schemeClr val="tx1"/>
                </a:solidFill>
              </a:rPr>
              <a:t>システムを設置し、</a:t>
            </a:r>
            <a:r>
              <a:rPr lang="en-US" altLang="ja-JP" sz="1200" dirty="0" smtClean="0">
                <a:solidFill>
                  <a:schemeClr val="tx1"/>
                </a:solidFill>
              </a:rPr>
              <a:t>700</a:t>
            </a:r>
            <a:r>
              <a:rPr lang="ja-JP" altLang="en-US" sz="1200" dirty="0" smtClean="0">
                <a:solidFill>
                  <a:schemeClr val="tx1"/>
                </a:solidFill>
              </a:rPr>
              <a:t>人以上が利用している</a:t>
            </a:r>
            <a:endParaRPr lang="en-US" sz="1200" dirty="0">
              <a:solidFill>
                <a:schemeClr val="tx1"/>
              </a:solidFill>
            </a:endParaRPr>
          </a:p>
        </p:txBody>
      </p:sp>
      <p:sp>
        <p:nvSpPr>
          <p:cNvPr id="80" name="Oval 79"/>
          <p:cNvSpPr/>
          <p:nvPr/>
        </p:nvSpPr>
        <p:spPr>
          <a:xfrm>
            <a:off x="3511172" y="5150023"/>
            <a:ext cx="91440" cy="91440"/>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Oval 80"/>
          <p:cNvSpPr/>
          <p:nvPr/>
        </p:nvSpPr>
        <p:spPr>
          <a:xfrm>
            <a:off x="3665512" y="5578507"/>
            <a:ext cx="91440" cy="91440"/>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Oval 81"/>
          <p:cNvSpPr/>
          <p:nvPr/>
        </p:nvSpPr>
        <p:spPr>
          <a:xfrm>
            <a:off x="3397789" y="5651257"/>
            <a:ext cx="91440" cy="91440"/>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Oval 84"/>
          <p:cNvSpPr/>
          <p:nvPr/>
        </p:nvSpPr>
        <p:spPr>
          <a:xfrm>
            <a:off x="3520845" y="5464688"/>
            <a:ext cx="91440" cy="9144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p:cNvSpPr/>
          <p:nvPr/>
        </p:nvSpPr>
        <p:spPr>
          <a:xfrm>
            <a:off x="3339607" y="5419378"/>
            <a:ext cx="91440" cy="9144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p:cNvSpPr/>
          <p:nvPr/>
        </p:nvSpPr>
        <p:spPr>
          <a:xfrm>
            <a:off x="3816110" y="4770705"/>
            <a:ext cx="91440" cy="9144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p:cNvSpPr/>
          <p:nvPr/>
        </p:nvSpPr>
        <p:spPr>
          <a:xfrm>
            <a:off x="3235698" y="4892673"/>
            <a:ext cx="91440" cy="9144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Oval 88"/>
          <p:cNvSpPr/>
          <p:nvPr/>
        </p:nvSpPr>
        <p:spPr>
          <a:xfrm>
            <a:off x="3213619" y="4215991"/>
            <a:ext cx="91440" cy="9144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Oval 89"/>
          <p:cNvSpPr/>
          <p:nvPr/>
        </p:nvSpPr>
        <p:spPr>
          <a:xfrm>
            <a:off x="2878188" y="3536864"/>
            <a:ext cx="91440" cy="9144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Oval 91"/>
          <p:cNvSpPr/>
          <p:nvPr/>
        </p:nvSpPr>
        <p:spPr>
          <a:xfrm>
            <a:off x="3943589" y="3650074"/>
            <a:ext cx="91440" cy="9144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Oval 93"/>
          <p:cNvSpPr/>
          <p:nvPr/>
        </p:nvSpPr>
        <p:spPr>
          <a:xfrm>
            <a:off x="3507538" y="1952030"/>
            <a:ext cx="91440" cy="9144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Oval 94"/>
          <p:cNvSpPr/>
          <p:nvPr/>
        </p:nvSpPr>
        <p:spPr>
          <a:xfrm>
            <a:off x="5077339" y="3694768"/>
            <a:ext cx="91440" cy="9144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Oval 138"/>
          <p:cNvSpPr/>
          <p:nvPr/>
        </p:nvSpPr>
        <p:spPr>
          <a:xfrm>
            <a:off x="5745607" y="3225448"/>
            <a:ext cx="91440" cy="9144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0" name="Oval 139"/>
          <p:cNvSpPr/>
          <p:nvPr/>
        </p:nvSpPr>
        <p:spPr>
          <a:xfrm>
            <a:off x="5980075" y="3312787"/>
            <a:ext cx="91440" cy="9144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Oval 140"/>
          <p:cNvSpPr/>
          <p:nvPr/>
        </p:nvSpPr>
        <p:spPr>
          <a:xfrm>
            <a:off x="5910049" y="3489900"/>
            <a:ext cx="91440" cy="9144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Oval 141"/>
          <p:cNvSpPr/>
          <p:nvPr/>
        </p:nvSpPr>
        <p:spPr>
          <a:xfrm>
            <a:off x="3663936" y="2721110"/>
            <a:ext cx="91440" cy="9144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Oval 142"/>
          <p:cNvSpPr/>
          <p:nvPr/>
        </p:nvSpPr>
        <p:spPr>
          <a:xfrm>
            <a:off x="3700234" y="3660448"/>
            <a:ext cx="91440" cy="9144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Oval 143"/>
          <p:cNvSpPr/>
          <p:nvPr/>
        </p:nvSpPr>
        <p:spPr>
          <a:xfrm>
            <a:off x="3330043" y="5046137"/>
            <a:ext cx="91440" cy="9144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5" name="Oval 144"/>
          <p:cNvSpPr/>
          <p:nvPr/>
        </p:nvSpPr>
        <p:spPr>
          <a:xfrm>
            <a:off x="3076274" y="4368166"/>
            <a:ext cx="91440" cy="9144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val 4"/>
          <p:cNvSpPr/>
          <p:nvPr/>
        </p:nvSpPr>
        <p:spPr>
          <a:xfrm>
            <a:off x="5077339" y="2583374"/>
            <a:ext cx="1626553" cy="1490604"/>
          </a:xfrm>
          <a:prstGeom prst="ellipse">
            <a:avLst/>
          </a:prstGeom>
          <a:solidFill>
            <a:srgbClr val="67103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3587132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p:cNvGraphicFramePr>
            <a:graphicFrameLocks noChangeAspect="1"/>
          </p:cNvGraphicFramePr>
          <p:nvPr>
            <p:custDataLst>
              <p:tags r:id="rId2"/>
            </p:custDataLst>
            <p:extLst>
              <p:ext uri="{D42A27DB-BD31-4B8C-83A1-F6EECF244321}">
                <p14:modId xmlns:p14="http://schemas.microsoft.com/office/powerpoint/2010/main" val="35674653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2226"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a:latin typeface="Calibri" panose="020F0502020204030204" pitchFamily="34" charset="0"/>
              <a:sym typeface="Calibri" panose="020F0502020204030204" pitchFamily="34" charset="0"/>
            </a:endParaRPr>
          </a:p>
        </p:txBody>
      </p:sp>
      <p:sp>
        <p:nvSpPr>
          <p:cNvPr id="2" name="Title 1"/>
          <p:cNvSpPr>
            <a:spLocks noGrp="1"/>
          </p:cNvSpPr>
          <p:nvPr>
            <p:ph type="title"/>
          </p:nvPr>
        </p:nvSpPr>
        <p:spPr/>
        <p:txBody>
          <a:bodyPr/>
          <a:lstStyle/>
          <a:p>
            <a:r>
              <a:rPr lang="ja-JP" altLang="en-US" dirty="0" smtClean="0"/>
              <a:t>すでにトイレにアクセスできるインドの衛生市場に応えられるのはニイミトレンチとニイミシステムだけ</a:t>
            </a:r>
            <a:endParaRPr lang="en-US" dirty="0"/>
          </a:p>
        </p:txBody>
      </p:sp>
      <p:sp>
        <p:nvSpPr>
          <p:cNvPr id="3" name="Text Placeholder 2"/>
          <p:cNvSpPr>
            <a:spLocks noGrp="1"/>
          </p:cNvSpPr>
          <p:nvPr>
            <p:ph type="body" sz="quarter" idx="37"/>
          </p:nvPr>
        </p:nvSpPr>
        <p:spPr/>
        <p:txBody>
          <a:bodyPr/>
          <a:lstStyle/>
          <a:p>
            <a:r>
              <a:rPr lang="ja-JP" altLang="en-US" sz="900" dirty="0" smtClean="0"/>
              <a:t>注：地域は</a:t>
            </a:r>
            <a:r>
              <a:rPr lang="en-US" altLang="ja-JP" sz="900" dirty="0" smtClean="0"/>
              <a:t>2011</a:t>
            </a:r>
            <a:r>
              <a:rPr lang="ja-JP" altLang="en-US" sz="900" dirty="0" smtClean="0"/>
              <a:t>年センサスの分類により農村、都市（小規模な町）、都市（人口</a:t>
            </a:r>
            <a:r>
              <a:rPr lang="en-US" altLang="ja-JP" sz="900" dirty="0" smtClean="0"/>
              <a:t>100</a:t>
            </a:r>
            <a:r>
              <a:rPr lang="ja-JP" altLang="en-US" sz="900" dirty="0" smtClean="0"/>
              <a:t>万人超の都市）に分類した。</a:t>
            </a:r>
            <a:r>
              <a:rPr lang="en-US" sz="900" dirty="0" smtClean="0"/>
              <a:t>2011</a:t>
            </a:r>
            <a:r>
              <a:rPr lang="ja-JP" altLang="en-US" sz="900" dirty="0" smtClean="0"/>
              <a:t>年センサスによれば</a:t>
            </a:r>
            <a:r>
              <a:rPr lang="en-US" altLang="ja-JP" sz="900" dirty="0" smtClean="0"/>
              <a:t>100</a:t>
            </a:r>
            <a:r>
              <a:rPr lang="ja-JP" altLang="en-US" sz="900" dirty="0" smtClean="0"/>
              <a:t>万人超の都市の人口は</a:t>
            </a:r>
            <a:r>
              <a:rPr lang="en-US" altLang="ja-JP" sz="900" dirty="0" smtClean="0"/>
              <a:t>100</a:t>
            </a:r>
            <a:r>
              <a:rPr lang="ja-JP" altLang="en-US" sz="900" dirty="0" smtClean="0"/>
              <a:t>万人以上、小規模な町は</a:t>
            </a:r>
            <a:r>
              <a:rPr lang="en-US" sz="900" dirty="0" smtClean="0"/>
              <a:t>20,000</a:t>
            </a:r>
            <a:r>
              <a:rPr lang="ja-JP" altLang="en-US" sz="900" dirty="0" smtClean="0"/>
              <a:t>～</a:t>
            </a:r>
            <a:r>
              <a:rPr lang="en-US" sz="900" dirty="0" smtClean="0"/>
              <a:t>1</a:t>
            </a:r>
            <a:r>
              <a:rPr lang="en-US" altLang="ja-JP" sz="900" dirty="0" smtClean="0"/>
              <a:t>00</a:t>
            </a:r>
            <a:r>
              <a:rPr lang="ja-JP" altLang="en-US" sz="900" dirty="0" smtClean="0"/>
              <a:t>万人で、それ以外が農村である；</a:t>
            </a:r>
            <a:endParaRPr lang="en-US" sz="900" dirty="0" smtClean="0"/>
          </a:p>
          <a:p>
            <a:r>
              <a:rPr lang="ja-JP" altLang="en-US" sz="900" dirty="0" smtClean="0"/>
              <a:t>トイレへのアクセスについては</a:t>
            </a:r>
            <a:r>
              <a:rPr lang="en-US" altLang="ja-JP" sz="900" dirty="0" smtClean="0"/>
              <a:t>JMP</a:t>
            </a:r>
            <a:r>
              <a:rPr lang="ja-JP" altLang="en-US" sz="900" dirty="0" smtClean="0"/>
              <a:t>とセンサスのデータには食い違いがある（最大</a:t>
            </a:r>
            <a:r>
              <a:rPr lang="en-US" altLang="ja-JP" sz="900" dirty="0" smtClean="0"/>
              <a:t>30</a:t>
            </a:r>
            <a:r>
              <a:rPr lang="ja-JP" altLang="en-US" sz="900" dirty="0" smtClean="0"/>
              <a:t>％）。一貫性を保つためにすべての都市に</a:t>
            </a:r>
            <a:r>
              <a:rPr lang="en-US" sz="900" dirty="0" smtClean="0"/>
              <a:t>JMP </a:t>
            </a:r>
            <a:r>
              <a:rPr lang="ja-JP" altLang="en-US" sz="900" dirty="0" smtClean="0"/>
              <a:t>の割合を適用した</a:t>
            </a:r>
            <a:r>
              <a:rPr lang="en-US" sz="900" dirty="0" smtClean="0"/>
              <a:t> </a:t>
            </a:r>
          </a:p>
          <a:p>
            <a:r>
              <a:rPr lang="ja-JP" altLang="en-US" sz="900" dirty="0" smtClean="0"/>
              <a:t>出典：</a:t>
            </a:r>
            <a:r>
              <a:rPr lang="en-US" sz="900" dirty="0" smtClean="0"/>
              <a:t> </a:t>
            </a:r>
            <a:r>
              <a:rPr lang="en-US" altLang="ja-JP" sz="900" dirty="0"/>
              <a:t>WHO</a:t>
            </a:r>
            <a:r>
              <a:rPr lang="ja-JP" altLang="en-US" sz="900" dirty="0"/>
              <a:t>／ユニセフ－共同モニタリングプログラム（</a:t>
            </a:r>
            <a:r>
              <a:rPr lang="en-US" altLang="ja-JP" sz="900" dirty="0"/>
              <a:t>JMP</a:t>
            </a:r>
            <a:r>
              <a:rPr lang="ja-JP" altLang="en-US" sz="900" dirty="0"/>
              <a:t>） </a:t>
            </a:r>
            <a:endParaRPr lang="en-US" sz="900" dirty="0"/>
          </a:p>
        </p:txBody>
      </p:sp>
      <p:cxnSp>
        <p:nvCxnSpPr>
          <p:cNvPr id="24" name="Straight Connector 23"/>
          <p:cNvCxnSpPr/>
          <p:nvPr>
            <p:custDataLst>
              <p:tags r:id="rId4"/>
            </p:custDataLst>
          </p:nvPr>
        </p:nvCxnSpPr>
        <p:spPr bwMode="auto">
          <a:xfrm>
            <a:off x="2128839" y="4789488"/>
            <a:ext cx="4713288"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0" name="Rectangle 29"/>
          <p:cNvSpPr/>
          <p:nvPr>
            <p:custDataLst>
              <p:tags r:id="rId5"/>
            </p:custDataLst>
          </p:nvPr>
        </p:nvSpPr>
        <p:spPr bwMode="auto">
          <a:xfrm>
            <a:off x="5370513" y="2063750"/>
            <a:ext cx="839788" cy="1089025"/>
          </a:xfrm>
          <a:prstGeom prst="rect">
            <a:avLst/>
          </a:prstGeom>
          <a:solidFill>
            <a:srgbClr val="BBBBBF"/>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custDataLst>
              <p:tags r:id="rId6"/>
            </p:custDataLst>
          </p:nvPr>
        </p:nvSpPr>
        <p:spPr bwMode="auto">
          <a:xfrm>
            <a:off x="5370513" y="3152775"/>
            <a:ext cx="839788" cy="1636713"/>
          </a:xfrm>
          <a:prstGeom prst="rect">
            <a:avLst/>
          </a:prstGeom>
          <a:solidFill>
            <a:srgbClr val="B3879F"/>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custDataLst>
              <p:tags r:id="rId7"/>
            </p:custDataLst>
          </p:nvPr>
        </p:nvSpPr>
        <p:spPr bwMode="auto">
          <a:xfrm>
            <a:off x="6210300" y="2063750"/>
            <a:ext cx="627063" cy="2725738"/>
          </a:xfrm>
          <a:prstGeom prst="rect">
            <a:avLst/>
          </a:prstGeom>
          <a:pattFill prst="ltUpDiag">
            <a:fgClr>
              <a:srgbClr val="000000"/>
            </a:fgClr>
            <a:bgClr>
              <a:srgbClr val="FFFFFF"/>
            </a:bgClr>
          </a:patt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custDataLst>
              <p:tags r:id="rId8"/>
            </p:custDataLst>
          </p:nvPr>
        </p:nvSpPr>
        <p:spPr bwMode="auto">
          <a:xfrm>
            <a:off x="2133601" y="2063750"/>
            <a:ext cx="3236913" cy="2043113"/>
          </a:xfrm>
          <a:prstGeom prst="rect">
            <a:avLst/>
          </a:prstGeom>
          <a:solidFill>
            <a:srgbClr val="BBBBBF"/>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p:custDataLst>
              <p:tags r:id="rId9"/>
            </p:custDataLst>
          </p:nvPr>
        </p:nvSpPr>
        <p:spPr bwMode="auto">
          <a:xfrm>
            <a:off x="2133601" y="4106863"/>
            <a:ext cx="3236913" cy="682625"/>
          </a:xfrm>
          <a:prstGeom prst="rect">
            <a:avLst/>
          </a:prstGeom>
          <a:solidFill>
            <a:srgbClr val="67103F"/>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20"/>
          <p:cNvSpPr>
            <a:spLocks noGrp="1"/>
          </p:cNvSpPr>
          <p:nvPr>
            <p:custDataLst>
              <p:tags r:id="rId10"/>
            </p:custDataLst>
          </p:nvPr>
        </p:nvSpPr>
        <p:spPr bwMode="auto">
          <a:xfrm>
            <a:off x="6154738" y="4929188"/>
            <a:ext cx="738188" cy="3651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1200" dirty="0" smtClean="0"/>
              <a:t>都市</a:t>
            </a:r>
          </a:p>
          <a:p>
            <a:pPr marL="0" indent="0" algn="ctr">
              <a:spcBef>
                <a:spcPct val="0"/>
              </a:spcBef>
              <a:spcAft>
                <a:spcPct val="0"/>
              </a:spcAft>
              <a:buNone/>
            </a:pPr>
            <a:r>
              <a:rPr lang="ja-JP" altLang="en-US" sz="1200" dirty="0" smtClean="0"/>
              <a:t>（＞１百万）</a:t>
            </a:r>
            <a:endParaRPr lang="en-US" sz="1200" dirty="0">
              <a:sym typeface="+mn-lt"/>
            </a:endParaRPr>
          </a:p>
        </p:txBody>
      </p:sp>
      <p:sp>
        <p:nvSpPr>
          <p:cNvPr id="10" name="Text Placeholder 16"/>
          <p:cNvSpPr>
            <a:spLocks noGrp="1"/>
          </p:cNvSpPr>
          <p:nvPr>
            <p:custDataLst>
              <p:tags r:id="rId11"/>
            </p:custDataLst>
          </p:nvPr>
        </p:nvSpPr>
        <p:spPr bwMode="auto">
          <a:xfrm>
            <a:off x="5492750" y="4929188"/>
            <a:ext cx="595313" cy="3651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1200" dirty="0" smtClean="0"/>
              <a:t>町</a:t>
            </a:r>
          </a:p>
          <a:p>
            <a:pPr marL="0" indent="0" algn="ctr">
              <a:spcBef>
                <a:spcPct val="0"/>
              </a:spcBef>
              <a:spcAft>
                <a:spcPct val="0"/>
              </a:spcAft>
              <a:buNone/>
            </a:pPr>
            <a:r>
              <a:rPr lang="ja-JP" altLang="en-US" sz="1200" dirty="0" smtClean="0">
                <a:sym typeface="+mn-lt"/>
              </a:rPr>
              <a:t>（＞</a:t>
            </a:r>
            <a:r>
              <a:rPr lang="en-US" altLang="ja-JP" sz="1200" dirty="0" smtClean="0">
                <a:sym typeface="+mn-lt"/>
              </a:rPr>
              <a:t>20,000</a:t>
            </a:r>
            <a:r>
              <a:rPr lang="ja-JP" altLang="en-US" sz="1200" dirty="0" smtClean="0">
                <a:sym typeface="+mn-lt"/>
              </a:rPr>
              <a:t>）</a:t>
            </a:r>
            <a:endParaRPr lang="en-US" sz="1200" dirty="0">
              <a:sym typeface="+mn-lt"/>
            </a:endParaRPr>
          </a:p>
        </p:txBody>
      </p:sp>
      <p:sp>
        <p:nvSpPr>
          <p:cNvPr id="23" name="Text Placeholder 29"/>
          <p:cNvSpPr>
            <a:spLocks noGrp="1"/>
          </p:cNvSpPr>
          <p:nvPr>
            <p:custDataLst>
              <p:tags r:id="rId12"/>
            </p:custDataLst>
          </p:nvPr>
        </p:nvSpPr>
        <p:spPr bwMode="gray">
          <a:xfrm>
            <a:off x="6384925" y="1855788"/>
            <a:ext cx="2778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EC7EED97-6024-4703-85BF-F424D51A2657}" type="datetime'''1''''''''''''''''''''''''''''''''''6''''''''''''''1'''''''">
              <a:rPr lang="en-US" sz="1200"/>
              <a:pPr/>
              <a:t>161</a:t>
            </a:fld>
            <a:endParaRPr lang="en-US" sz="1200" dirty="0">
              <a:sym typeface="+mn-lt"/>
            </a:endParaRPr>
          </a:p>
        </p:txBody>
      </p:sp>
      <p:sp>
        <p:nvSpPr>
          <p:cNvPr id="22" name="Text Placeholder 28"/>
          <p:cNvSpPr>
            <a:spLocks noGrp="1"/>
          </p:cNvSpPr>
          <p:nvPr>
            <p:custDataLst>
              <p:tags r:id="rId13"/>
            </p:custDataLst>
          </p:nvPr>
        </p:nvSpPr>
        <p:spPr bwMode="gray">
          <a:xfrm>
            <a:off x="5651500" y="1855788"/>
            <a:ext cx="2778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41B1FDB5-A776-41AE-841E-8157204B38A7}" type="datetime'''''''''''''2''''''''''''''''''''1''6'''''''''''">
              <a:rPr lang="en-US" sz="1200"/>
              <a:pPr/>
              <a:t>216</a:t>
            </a:fld>
            <a:endParaRPr lang="en-US" sz="1200" dirty="0">
              <a:sym typeface="+mn-lt"/>
            </a:endParaRPr>
          </a:p>
        </p:txBody>
      </p:sp>
      <p:sp>
        <p:nvSpPr>
          <p:cNvPr id="12" name="Text Placeholder 18"/>
          <p:cNvSpPr>
            <a:spLocks noGrp="1"/>
          </p:cNvSpPr>
          <p:nvPr>
            <p:custDataLst>
              <p:tags r:id="rId14"/>
            </p:custDataLst>
          </p:nvPr>
        </p:nvSpPr>
        <p:spPr bwMode="gray">
          <a:xfrm>
            <a:off x="5635625" y="3879850"/>
            <a:ext cx="309563" cy="182563"/>
          </a:xfrm>
          <a:prstGeom prst="rect">
            <a:avLst/>
          </a:prstGeom>
          <a:noFill/>
          <a:extLst>
            <a:ext uri="{909E8E84-426E-40DD-AFC4-6F175D3DCCD1}">
              <a14:hiddenFill xmlns:a14="http://schemas.microsoft.com/office/drawing/2010/main">
                <a:solidFill>
                  <a:schemeClr val="accent2"/>
                </a:solidFill>
              </a14:hiddenFill>
            </a:ext>
          </a:extLst>
        </p:spPr>
        <p:txBody>
          <a:bodyPr wrap="none" lIns="22225" tIns="0" rIns="22225"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D90DBB5-A2EB-4778-93A2-AD4C768F6D04}" type="datetime'''''''''''''''''''''''''6''''''''''''0%'''''''''''">
              <a:rPr lang="en-US" sz="1200"/>
              <a:pPr/>
              <a:t>60%</a:t>
            </a:fld>
            <a:endParaRPr lang="en-US" sz="1200" dirty="0">
              <a:sym typeface="+mn-lt"/>
            </a:endParaRPr>
          </a:p>
        </p:txBody>
      </p:sp>
      <p:sp>
        <p:nvSpPr>
          <p:cNvPr id="13" name="Text Placeholder 19"/>
          <p:cNvSpPr>
            <a:spLocks noGrp="1"/>
          </p:cNvSpPr>
          <p:nvPr>
            <p:custDataLst>
              <p:tags r:id="rId15"/>
            </p:custDataLst>
          </p:nvPr>
        </p:nvSpPr>
        <p:spPr bwMode="gray">
          <a:xfrm>
            <a:off x="5635625" y="2517775"/>
            <a:ext cx="3095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D892C6D-C089-46E0-B746-819520767BA6}" type="datetime'''''''''''''''''4''''''''0''''%'''''''''''''''''''''''''">
              <a:rPr lang="en-US" sz="1200"/>
              <a:pPr/>
              <a:t>40%</a:t>
            </a:fld>
            <a:endParaRPr lang="en-US" sz="1200" dirty="0">
              <a:sym typeface="+mn-lt"/>
            </a:endParaRPr>
          </a:p>
        </p:txBody>
      </p:sp>
      <p:sp>
        <p:nvSpPr>
          <p:cNvPr id="5" name="Text Placeholder 12"/>
          <p:cNvSpPr>
            <a:spLocks noGrp="1"/>
          </p:cNvSpPr>
          <p:nvPr>
            <p:custDataLst>
              <p:tags r:id="rId16"/>
            </p:custDataLst>
          </p:nvPr>
        </p:nvSpPr>
        <p:spPr bwMode="auto">
          <a:xfrm>
            <a:off x="3592513" y="4929188"/>
            <a:ext cx="319088"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1200" dirty="0" smtClean="0">
                <a:sym typeface="+mn-lt"/>
              </a:rPr>
              <a:t>農村</a:t>
            </a:r>
            <a:endParaRPr lang="en-US" sz="1200" dirty="0">
              <a:sym typeface="+mn-lt"/>
            </a:endParaRPr>
          </a:p>
        </p:txBody>
      </p:sp>
      <p:sp>
        <p:nvSpPr>
          <p:cNvPr id="21" name="Text Placeholder 27"/>
          <p:cNvSpPr>
            <a:spLocks noGrp="1"/>
          </p:cNvSpPr>
          <p:nvPr>
            <p:custDataLst>
              <p:tags r:id="rId17"/>
            </p:custDataLst>
          </p:nvPr>
        </p:nvSpPr>
        <p:spPr bwMode="gray">
          <a:xfrm>
            <a:off x="3613150" y="1855788"/>
            <a:ext cx="27781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9F462988-92DC-4888-BB11-0E9B99625C7B}" type="datetime'''''83''''''''''''3'''''''''''''''''''''">
              <a:rPr lang="en-US" sz="1200"/>
              <a:pPr/>
              <a:t>833</a:t>
            </a:fld>
            <a:endParaRPr lang="en-US" sz="1200" dirty="0">
              <a:sym typeface="+mn-lt"/>
            </a:endParaRPr>
          </a:p>
        </p:txBody>
      </p:sp>
      <p:sp>
        <p:nvSpPr>
          <p:cNvPr id="8" name="Text Placeholder 14"/>
          <p:cNvSpPr>
            <a:spLocks noGrp="1"/>
          </p:cNvSpPr>
          <p:nvPr>
            <p:custDataLst>
              <p:tags r:id="rId18"/>
            </p:custDataLst>
          </p:nvPr>
        </p:nvSpPr>
        <p:spPr bwMode="gray">
          <a:xfrm>
            <a:off x="3597275" y="4357688"/>
            <a:ext cx="3095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E9A70656-E941-4959-9E0F-877042BF35C5}" type="datetime'''''''''''''2''''''''''''5''''%'''''''''''''''''''''''''''''">
              <a:rPr lang="en-US" sz="1200">
                <a:solidFill>
                  <a:schemeClr val="bg1"/>
                </a:solidFill>
              </a:rPr>
              <a:pPr/>
              <a:t>25%</a:t>
            </a:fld>
            <a:endParaRPr lang="en-US" sz="1200" dirty="0">
              <a:solidFill>
                <a:schemeClr val="bg1"/>
              </a:solidFill>
              <a:sym typeface="+mn-lt"/>
            </a:endParaRPr>
          </a:p>
        </p:txBody>
      </p:sp>
      <p:sp>
        <p:nvSpPr>
          <p:cNvPr id="9" name="Text Placeholder 15"/>
          <p:cNvSpPr>
            <a:spLocks noGrp="1"/>
          </p:cNvSpPr>
          <p:nvPr>
            <p:custDataLst>
              <p:tags r:id="rId19"/>
            </p:custDataLst>
          </p:nvPr>
        </p:nvSpPr>
        <p:spPr bwMode="gray">
          <a:xfrm>
            <a:off x="3597275" y="2994025"/>
            <a:ext cx="3095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68F2BD55-BED0-4485-A6D0-B6ACBE0ADB53}" type="datetime'''''''''''''''''''''''''''''7''''''''''5''''%'''''''''''">
              <a:rPr lang="en-US" sz="1200"/>
              <a:pPr/>
              <a:t>75%</a:t>
            </a:fld>
            <a:endParaRPr lang="en-US" sz="1200" dirty="0">
              <a:sym typeface="+mn-lt"/>
            </a:endParaRPr>
          </a:p>
        </p:txBody>
      </p:sp>
      <p:sp>
        <p:nvSpPr>
          <p:cNvPr id="39" name="TextBox 38"/>
          <p:cNvSpPr txBox="1"/>
          <p:nvPr/>
        </p:nvSpPr>
        <p:spPr>
          <a:xfrm>
            <a:off x="456138" y="1006476"/>
            <a:ext cx="5992287" cy="656406"/>
          </a:xfrm>
          <a:prstGeom prst="rect">
            <a:avLst/>
          </a:prstGeom>
          <a:noFill/>
        </p:spPr>
        <p:txBody>
          <a:bodyPr wrap="square" lIns="0" tIns="0" rIns="0" bIns="0" rtlCol="0">
            <a:noAutofit/>
          </a:bodyPr>
          <a:lstStyle/>
          <a:p>
            <a:pPr marL="213952" indent="-213952"/>
            <a:r>
              <a:rPr lang="ja-JP" altLang="en-US" sz="1400" b="1" dirty="0" smtClean="0"/>
              <a:t>ニイミトレンチ及びニイミシステムのターゲット市場</a:t>
            </a:r>
            <a:endParaRPr lang="en-US" sz="1400" b="1" dirty="0"/>
          </a:p>
          <a:p>
            <a:pPr marL="213952" indent="-213952"/>
            <a:r>
              <a:rPr lang="ja-JP" altLang="en-US" sz="1400" i="1" dirty="0" smtClean="0"/>
              <a:t>人口（単位　百万人）</a:t>
            </a:r>
            <a:endParaRPr lang="en-US" sz="1400" i="1" dirty="0" smtClean="0"/>
          </a:p>
          <a:p>
            <a:pPr marL="213952" indent="-213952"/>
            <a:r>
              <a:rPr lang="ja-JP" altLang="en-US" sz="1400" i="1" dirty="0" smtClean="0"/>
              <a:t>各セグメントでアクセス可能な市場の割合</a:t>
            </a:r>
            <a:endParaRPr lang="en-US" sz="1400" i="1" dirty="0"/>
          </a:p>
        </p:txBody>
      </p:sp>
      <p:sp>
        <p:nvSpPr>
          <p:cNvPr id="44" name="Rectangle 43"/>
          <p:cNvSpPr/>
          <p:nvPr/>
        </p:nvSpPr>
        <p:spPr>
          <a:xfrm>
            <a:off x="450850" y="5415323"/>
            <a:ext cx="209725" cy="1971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p:cNvSpPr txBox="1"/>
          <p:nvPr/>
        </p:nvSpPr>
        <p:spPr>
          <a:xfrm>
            <a:off x="755987" y="5415323"/>
            <a:ext cx="2224056" cy="261144"/>
          </a:xfrm>
          <a:prstGeom prst="rect">
            <a:avLst/>
          </a:prstGeom>
          <a:noFill/>
        </p:spPr>
        <p:txBody>
          <a:bodyPr wrap="square" lIns="0" tIns="0" rIns="0" bIns="0" rtlCol="0" anchor="ctr">
            <a:noAutofit/>
          </a:bodyPr>
          <a:lstStyle/>
          <a:p>
            <a:r>
              <a:rPr lang="ja-JP" altLang="en-US" sz="1200" dirty="0" smtClean="0"/>
              <a:t>トイレにアクセスできない人</a:t>
            </a:r>
            <a:endParaRPr lang="en-US" sz="1200" i="1" dirty="0"/>
          </a:p>
        </p:txBody>
      </p:sp>
      <p:sp>
        <p:nvSpPr>
          <p:cNvPr id="48" name="Rounded Rectangular Callout 47"/>
          <p:cNvSpPr/>
          <p:nvPr/>
        </p:nvSpPr>
        <p:spPr>
          <a:xfrm>
            <a:off x="571507" y="2773157"/>
            <a:ext cx="1426128" cy="1203225"/>
          </a:xfrm>
          <a:prstGeom prst="wedgeRoundRectCallout">
            <a:avLst>
              <a:gd name="adj1" fmla="val 56226"/>
              <a:gd name="adj2" fmla="val -65051"/>
              <a:gd name="adj3" fmla="val 16667"/>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dirty="0" smtClean="0">
                <a:solidFill>
                  <a:schemeClr val="tx1"/>
                </a:solidFill>
              </a:rPr>
              <a:t>トイレにアクセスできない人は</a:t>
            </a:r>
            <a:r>
              <a:rPr lang="en-US" altLang="ja-JP" sz="1200" dirty="0" smtClean="0">
                <a:solidFill>
                  <a:schemeClr val="tx1"/>
                </a:solidFill>
              </a:rPr>
              <a:t>MJ</a:t>
            </a:r>
            <a:r>
              <a:rPr lang="ja-JP" altLang="en-US" sz="1200" dirty="0" smtClean="0">
                <a:solidFill>
                  <a:schemeClr val="tx1"/>
                </a:solidFill>
              </a:rPr>
              <a:t>技術の恩恵も受けられない</a:t>
            </a:r>
            <a:endParaRPr lang="en-US" sz="1200" dirty="0">
              <a:solidFill>
                <a:schemeClr val="tx1"/>
              </a:solidFill>
            </a:endParaRPr>
          </a:p>
        </p:txBody>
      </p:sp>
      <p:sp>
        <p:nvSpPr>
          <p:cNvPr id="49" name="Rounded Rectangular Callout 48"/>
          <p:cNvSpPr/>
          <p:nvPr/>
        </p:nvSpPr>
        <p:spPr>
          <a:xfrm>
            <a:off x="7322585" y="2419399"/>
            <a:ext cx="1426128" cy="1939875"/>
          </a:xfrm>
          <a:prstGeom prst="wedgeRoundRectCallout">
            <a:avLst>
              <a:gd name="adj1" fmla="val -56715"/>
              <a:gd name="adj2" fmla="val -58079"/>
              <a:gd name="adj3" fmla="val 16667"/>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dirty="0" smtClean="0">
                <a:solidFill>
                  <a:schemeClr val="tx1"/>
                </a:solidFill>
              </a:rPr>
              <a:t>大規模な市や大都市には下水道管が敷設され設置スペースが足りないため、ニイミシステムもニイミトレンチも適さない</a:t>
            </a:r>
            <a:endParaRPr lang="en-US" sz="1200" dirty="0">
              <a:solidFill>
                <a:schemeClr val="tx1"/>
              </a:solidFill>
            </a:endParaRPr>
          </a:p>
        </p:txBody>
      </p:sp>
      <p:sp>
        <p:nvSpPr>
          <p:cNvPr id="32" name="Rectangle 31"/>
          <p:cNvSpPr/>
          <p:nvPr/>
        </p:nvSpPr>
        <p:spPr>
          <a:xfrm>
            <a:off x="450850" y="5705156"/>
            <a:ext cx="209725" cy="19717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p:nvSpPr>
        <p:spPr>
          <a:xfrm>
            <a:off x="3130213" y="5705156"/>
            <a:ext cx="209725" cy="197170"/>
          </a:xfrm>
          <a:prstGeom prst="rect">
            <a:avLst/>
          </a:prstGeom>
          <a:solidFill>
            <a:srgbClr val="B387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p:cNvSpPr txBox="1"/>
          <p:nvPr/>
        </p:nvSpPr>
        <p:spPr>
          <a:xfrm>
            <a:off x="755987" y="5705156"/>
            <a:ext cx="2224056" cy="261144"/>
          </a:xfrm>
          <a:prstGeom prst="rect">
            <a:avLst/>
          </a:prstGeom>
          <a:noFill/>
        </p:spPr>
        <p:txBody>
          <a:bodyPr wrap="square" lIns="0" tIns="0" rIns="0" bIns="0" rtlCol="0" anchor="ctr">
            <a:noAutofit/>
          </a:bodyPr>
          <a:lstStyle/>
          <a:p>
            <a:pPr marL="213952" indent="-213952"/>
            <a:r>
              <a:rPr lang="ja-JP" altLang="en-US" sz="1200" dirty="0" smtClean="0"/>
              <a:t>ニイミトレンチの市場</a:t>
            </a:r>
            <a:endParaRPr lang="en-US" sz="1200" i="1" dirty="0"/>
          </a:p>
        </p:txBody>
      </p:sp>
      <p:sp>
        <p:nvSpPr>
          <p:cNvPr id="37" name="TextBox 36"/>
          <p:cNvSpPr txBox="1"/>
          <p:nvPr/>
        </p:nvSpPr>
        <p:spPr>
          <a:xfrm>
            <a:off x="3435350" y="5705156"/>
            <a:ext cx="1842445" cy="197170"/>
          </a:xfrm>
          <a:prstGeom prst="rect">
            <a:avLst/>
          </a:prstGeom>
          <a:noFill/>
        </p:spPr>
        <p:txBody>
          <a:bodyPr wrap="square" lIns="0" tIns="0" rIns="0" bIns="0" rtlCol="0" anchor="ctr">
            <a:noAutofit/>
          </a:bodyPr>
          <a:lstStyle/>
          <a:p>
            <a:pPr marL="213952" indent="-213952"/>
            <a:r>
              <a:rPr lang="ja-JP" altLang="en-US" sz="1200" dirty="0" smtClean="0"/>
              <a:t>ニイミシステムの市場</a:t>
            </a:r>
            <a:endParaRPr lang="en-US" sz="1200" i="1" dirty="0"/>
          </a:p>
        </p:txBody>
      </p:sp>
      <p:sp>
        <p:nvSpPr>
          <p:cNvPr id="40" name="Rectangle 39"/>
          <p:cNvSpPr/>
          <p:nvPr/>
        </p:nvSpPr>
        <p:spPr>
          <a:xfrm>
            <a:off x="3130213" y="5415323"/>
            <a:ext cx="209725" cy="197170"/>
          </a:xfrm>
          <a:prstGeom prst="rect">
            <a:avLst/>
          </a:prstGeom>
          <a:pattFill prst="ltUpDiag">
            <a:fgClr>
              <a:schemeClr val="tx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extBox 40"/>
          <p:cNvSpPr txBox="1"/>
          <p:nvPr/>
        </p:nvSpPr>
        <p:spPr>
          <a:xfrm>
            <a:off x="3435350" y="5415323"/>
            <a:ext cx="2224056" cy="261144"/>
          </a:xfrm>
          <a:prstGeom prst="rect">
            <a:avLst/>
          </a:prstGeom>
          <a:noFill/>
        </p:spPr>
        <p:txBody>
          <a:bodyPr wrap="square" lIns="0" tIns="0" rIns="0" bIns="0" rtlCol="0" anchor="ctr">
            <a:noAutofit/>
          </a:bodyPr>
          <a:lstStyle/>
          <a:p>
            <a:r>
              <a:rPr lang="ja-JP" altLang="en-US" sz="1200" dirty="0" smtClean="0"/>
              <a:t>人口の密集した都市部に</a:t>
            </a:r>
            <a:r>
              <a:rPr lang="ja-JP" altLang="en-US" sz="1200" dirty="0"/>
              <a:t>住む</a:t>
            </a:r>
            <a:r>
              <a:rPr lang="ja-JP" altLang="en-US" sz="1200" dirty="0" smtClean="0"/>
              <a:t>人</a:t>
            </a:r>
            <a:endParaRPr lang="en-US" sz="1200" i="1" dirty="0"/>
          </a:p>
        </p:txBody>
      </p:sp>
    </p:spTree>
    <p:extLst>
      <p:ext uri="{BB962C8B-B14F-4D97-AF65-F5344CB8AC3E}">
        <p14:creationId xmlns:p14="http://schemas.microsoft.com/office/powerpoint/2010/main" val="328542650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ext uri="{D42A27DB-BD31-4B8C-83A1-F6EECF244321}">
                <p14:modId xmlns:p14="http://schemas.microsoft.com/office/powerpoint/2010/main" val="2898293243"/>
              </p:ext>
            </p:extLst>
          </p:nvPr>
        </p:nvGraphicFramePr>
        <p:xfrm>
          <a:off x="353160" y="265236"/>
          <a:ext cx="1465" cy="1465"/>
        </p:xfrm>
        <a:graphic>
          <a:graphicData uri="http://schemas.openxmlformats.org/presentationml/2006/ole">
            <mc:AlternateContent xmlns:mc="http://schemas.openxmlformats.org/markup-compatibility/2006">
              <mc:Choice xmlns:v="urn:schemas-microsoft-com:vml" Requires="v">
                <p:oleObj spid="_x0000_s893534"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353160" y="265236"/>
                        <a:ext cx="1465" cy="1465"/>
                      </a:xfrm>
                      <a:prstGeom prst="rect">
                        <a:avLst/>
                      </a:prstGeom>
                    </p:spPr>
                  </p:pic>
                </p:oleObj>
              </mc:Fallback>
            </mc:AlternateContent>
          </a:graphicData>
        </a:graphic>
      </p:graphicFrame>
      <p:sp>
        <p:nvSpPr>
          <p:cNvPr id="4" name="Rectangle 3" hidden="1"/>
          <p:cNvSpPr/>
          <p:nvPr>
            <p:custDataLst>
              <p:tags r:id="rId3"/>
            </p:custDataLst>
          </p:nvPr>
        </p:nvSpPr>
        <p:spPr bwMode="auto">
          <a:xfrm>
            <a:off x="351693" y="263769"/>
            <a:ext cx="146538" cy="1465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a:latin typeface="Calibri" panose="020F0502020204030204" pitchFamily="34" charset="0"/>
              <a:sym typeface="Calibri" panose="020F0502020204030204" pitchFamily="34" charset="0"/>
            </a:endParaRPr>
          </a:p>
        </p:txBody>
      </p:sp>
      <p:sp>
        <p:nvSpPr>
          <p:cNvPr id="2" name="Title 1"/>
          <p:cNvSpPr>
            <a:spLocks noGrp="1"/>
          </p:cNvSpPr>
          <p:nvPr>
            <p:ph type="title"/>
          </p:nvPr>
        </p:nvSpPr>
        <p:spPr/>
        <p:txBody>
          <a:bodyPr/>
          <a:lstStyle/>
          <a:p>
            <a:r>
              <a:rPr lang="ja-JP" altLang="en-US" dirty="0" smtClean="0"/>
              <a:t>従って毛管浄化社の最初の活動はトイレへのアクセスレベルがすでに高い州で重点的に行うべき</a:t>
            </a:r>
            <a:endParaRPr lang="en-US" dirty="0"/>
          </a:p>
        </p:txBody>
      </p:sp>
      <p:sp>
        <p:nvSpPr>
          <p:cNvPr id="3" name="Text Placeholder 2"/>
          <p:cNvSpPr>
            <a:spLocks noGrp="1"/>
          </p:cNvSpPr>
          <p:nvPr>
            <p:ph type="body" sz="quarter" idx="37"/>
          </p:nvPr>
        </p:nvSpPr>
        <p:spPr/>
        <p:txBody>
          <a:bodyPr/>
          <a:lstStyle/>
          <a:p>
            <a:r>
              <a:rPr lang="ja-JP" altLang="en-US" dirty="0" smtClean="0"/>
              <a:t>出典：</a:t>
            </a:r>
            <a:r>
              <a:rPr lang="en-US" altLang="ja-JP" dirty="0" smtClean="0"/>
              <a:t>2011</a:t>
            </a:r>
            <a:r>
              <a:rPr lang="ja-JP" altLang="en-US" dirty="0" smtClean="0"/>
              <a:t>年センサス；タイムズ・オブ・インディア－「シッキム州はインド初のトイレ普及率</a:t>
            </a:r>
            <a:r>
              <a:rPr lang="en-US" altLang="ja-JP" dirty="0" smtClean="0"/>
              <a:t>100</a:t>
            </a:r>
            <a:r>
              <a:rPr lang="ja-JP" altLang="en-US" dirty="0" smtClean="0"/>
              <a:t>％の州」（</a:t>
            </a:r>
            <a:r>
              <a:rPr lang="en-US" altLang="ja-JP" dirty="0" smtClean="0"/>
              <a:t>2014</a:t>
            </a:r>
            <a:r>
              <a:rPr lang="ja-JP" altLang="en-US" dirty="0" smtClean="0"/>
              <a:t>年）；</a:t>
            </a:r>
            <a:r>
              <a:rPr lang="en-US" dirty="0" err="1" smtClean="0"/>
              <a:t>Dalberg</a:t>
            </a:r>
            <a:r>
              <a:rPr lang="en-US" dirty="0" smtClean="0"/>
              <a:t> analysis</a:t>
            </a:r>
            <a:endParaRPr lang="en-US" dirty="0"/>
          </a:p>
        </p:txBody>
      </p:sp>
      <p:graphicFrame>
        <p:nvGraphicFramePr>
          <p:cNvPr id="6" name="Object 5"/>
          <p:cNvGraphicFramePr>
            <a:graphicFrameLocks/>
          </p:cNvGraphicFramePr>
          <p:nvPr>
            <p:custDataLst>
              <p:tags r:id="rId4"/>
            </p:custDataLst>
            <p:extLst>
              <p:ext uri="{D42A27DB-BD31-4B8C-83A1-F6EECF244321}">
                <p14:modId xmlns:p14="http://schemas.microsoft.com/office/powerpoint/2010/main" val="2673547597"/>
              </p:ext>
            </p:extLst>
          </p:nvPr>
        </p:nvGraphicFramePr>
        <p:xfrm>
          <a:off x="1219199" y="1676400"/>
          <a:ext cx="7534320" cy="3352845"/>
        </p:xfrm>
        <a:graphic>
          <a:graphicData uri="http://schemas.openxmlformats.org/presentationml/2006/ole">
            <mc:AlternateContent xmlns:mc="http://schemas.openxmlformats.org/markup-compatibility/2006">
              <mc:Choice xmlns:v="urn:schemas-microsoft-com:vml" Requires="v">
                <p:oleObj spid="_x0000_s893535" name="Chart" r:id="rId28" imgW="7534320" imgH="3352845" progId="MSGraph.Chart.8">
                  <p:embed followColorScheme="full"/>
                </p:oleObj>
              </mc:Choice>
              <mc:Fallback>
                <p:oleObj name="Chart" r:id="rId28" imgW="7534320" imgH="3352845" progId="MSGraph.Chart.8">
                  <p:embed followColorScheme="full"/>
                  <p:pic>
                    <p:nvPicPr>
                      <p:cNvPr id="0" name=""/>
                      <p:cNvPicPr/>
                      <p:nvPr/>
                    </p:nvPicPr>
                    <p:blipFill>
                      <a:blip r:embed="rId29"/>
                      <a:stretch>
                        <a:fillRect/>
                      </a:stretch>
                    </p:blipFill>
                    <p:spPr>
                      <a:xfrm>
                        <a:off x="1219199" y="1676400"/>
                        <a:ext cx="7534320" cy="3352845"/>
                      </a:xfrm>
                      <a:prstGeom prst="rect">
                        <a:avLst/>
                      </a:prstGeom>
                    </p:spPr>
                  </p:pic>
                </p:oleObj>
              </mc:Fallback>
            </mc:AlternateContent>
          </a:graphicData>
        </a:graphic>
      </p:graphicFrame>
      <p:sp>
        <p:nvSpPr>
          <p:cNvPr id="29" name="Text Placeholder 40"/>
          <p:cNvSpPr>
            <a:spLocks noGrp="1"/>
          </p:cNvSpPr>
          <p:nvPr>
            <p:custDataLst>
              <p:tags r:id="rId5"/>
            </p:custDataLst>
          </p:nvPr>
        </p:nvSpPr>
        <p:spPr bwMode="auto">
          <a:xfrm>
            <a:off x="1503363" y="5064125"/>
            <a:ext cx="395288"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800" dirty="0" smtClean="0">
                <a:sym typeface="+mn-lt"/>
              </a:rPr>
              <a:t>ケーララ</a:t>
            </a:r>
            <a:endParaRPr lang="en-US" sz="800" dirty="0">
              <a:sym typeface="+mn-lt"/>
            </a:endParaRPr>
          </a:p>
        </p:txBody>
      </p:sp>
      <p:sp>
        <p:nvSpPr>
          <p:cNvPr id="35" name="Text Placeholder 2"/>
          <p:cNvSpPr>
            <a:spLocks noGrp="1"/>
          </p:cNvSpPr>
          <p:nvPr>
            <p:custDataLst>
              <p:tags r:id="rId6"/>
            </p:custDataLst>
          </p:nvPr>
        </p:nvSpPr>
        <p:spPr bwMode="auto">
          <a:xfrm>
            <a:off x="5226050" y="5064125"/>
            <a:ext cx="263525"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800" dirty="0" smtClean="0">
                <a:sym typeface="+mn-lt"/>
              </a:rPr>
              <a:t>ゴア</a:t>
            </a:r>
            <a:endParaRPr lang="en-US" sz="800" dirty="0">
              <a:sym typeface="+mn-lt"/>
            </a:endParaRPr>
          </a:p>
        </p:txBody>
      </p:sp>
      <p:sp>
        <p:nvSpPr>
          <p:cNvPr id="30" name="Text Placeholder 41"/>
          <p:cNvSpPr>
            <a:spLocks noGrp="1"/>
          </p:cNvSpPr>
          <p:nvPr>
            <p:custDataLst>
              <p:tags r:id="rId7"/>
            </p:custDataLst>
          </p:nvPr>
        </p:nvSpPr>
        <p:spPr bwMode="gray">
          <a:xfrm>
            <a:off x="1527175" y="4278313"/>
            <a:ext cx="3476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CE010DC-84C5-40DC-85DC-B0202223FAA2}" type="datetime'''''''4''''''''''.''''''''8''''''''''''%'''''''''">
              <a:rPr lang="en-US" sz="1200">
                <a:sym typeface="+mn-lt"/>
              </a:rPr>
              <a:pPr marL="0" indent="0" algn="ctr">
                <a:spcBef>
                  <a:spcPct val="0"/>
                </a:spcBef>
                <a:spcAft>
                  <a:spcPct val="0"/>
                </a:spcAft>
                <a:buNone/>
              </a:pPr>
              <a:t>4.8%</a:t>
            </a:fld>
            <a:endParaRPr lang="en-US" sz="1200" dirty="0">
              <a:sym typeface="+mn-lt"/>
            </a:endParaRPr>
          </a:p>
        </p:txBody>
      </p:sp>
      <p:sp>
        <p:nvSpPr>
          <p:cNvPr id="55" name="Text Placeholder 66"/>
          <p:cNvSpPr>
            <a:spLocks noGrp="1"/>
          </p:cNvSpPr>
          <p:nvPr>
            <p:custDataLst>
              <p:tags r:id="rId8"/>
            </p:custDataLst>
          </p:nvPr>
        </p:nvSpPr>
        <p:spPr bwMode="auto">
          <a:xfrm>
            <a:off x="7889875" y="5064125"/>
            <a:ext cx="785813"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800" dirty="0" smtClean="0">
                <a:sym typeface="+mn-lt"/>
              </a:rPr>
              <a:t>ウッタラーカンド</a:t>
            </a:r>
            <a:endParaRPr lang="en-US" sz="800" dirty="0">
              <a:sym typeface="+mn-lt"/>
            </a:endParaRPr>
          </a:p>
        </p:txBody>
      </p:sp>
      <p:sp>
        <p:nvSpPr>
          <p:cNvPr id="56" name="Text Placeholder 67"/>
          <p:cNvSpPr>
            <a:spLocks noGrp="1"/>
          </p:cNvSpPr>
          <p:nvPr>
            <p:custDataLst>
              <p:tags r:id="rId9"/>
            </p:custDataLst>
          </p:nvPr>
        </p:nvSpPr>
        <p:spPr bwMode="gray">
          <a:xfrm>
            <a:off x="8069263" y="1592263"/>
            <a:ext cx="42545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A379227-DCA4-41AB-BEC2-0C1F6C3CDC08}" type="datetime'3''4''''''''''''''''.2''''''''''''%'''''''''''''''''''''''''">
              <a:rPr lang="en-US" sz="1200">
                <a:sym typeface="+mn-lt"/>
              </a:rPr>
              <a:pPr marL="0" indent="0" algn="ctr">
                <a:spcBef>
                  <a:spcPct val="0"/>
                </a:spcBef>
                <a:spcAft>
                  <a:spcPct val="0"/>
                </a:spcAft>
                <a:buNone/>
              </a:pPr>
              <a:t>34.2%</a:t>
            </a:fld>
            <a:endParaRPr lang="en-US" sz="1200" dirty="0">
              <a:sym typeface="+mn-lt"/>
            </a:endParaRPr>
          </a:p>
        </p:txBody>
      </p:sp>
      <p:sp>
        <p:nvSpPr>
          <p:cNvPr id="53" name="Text Placeholder 64"/>
          <p:cNvSpPr>
            <a:spLocks noGrp="1"/>
          </p:cNvSpPr>
          <p:nvPr>
            <p:custDataLst>
              <p:tags r:id="rId10"/>
            </p:custDataLst>
          </p:nvPr>
        </p:nvSpPr>
        <p:spPr bwMode="auto">
          <a:xfrm>
            <a:off x="7286625" y="5064125"/>
            <a:ext cx="525463"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800" dirty="0" smtClean="0">
                <a:sym typeface="+mn-lt"/>
              </a:rPr>
              <a:t>ハリヤーナー</a:t>
            </a:r>
            <a:endParaRPr lang="en-US" sz="800" dirty="0">
              <a:sym typeface="+mn-lt"/>
            </a:endParaRPr>
          </a:p>
        </p:txBody>
      </p:sp>
      <p:sp>
        <p:nvSpPr>
          <p:cNvPr id="8" name="Text Placeholder 28"/>
          <p:cNvSpPr>
            <a:spLocks noGrp="1"/>
          </p:cNvSpPr>
          <p:nvPr>
            <p:custDataLst>
              <p:tags r:id="rId11"/>
            </p:custDataLst>
          </p:nvPr>
        </p:nvSpPr>
        <p:spPr bwMode="gray">
          <a:xfrm>
            <a:off x="2260600" y="3973513"/>
            <a:ext cx="3476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4A176A0-B974-48AC-A80C-C9C0DFB6EFC9}" type="datetime'''''8''''''''''''''''''''.''''1''''''''''''''''''''''''%'">
              <a:rPr lang="en-US" sz="1200">
                <a:sym typeface="+mn-lt"/>
              </a:rPr>
              <a:pPr marL="0" indent="0" algn="ctr">
                <a:spcBef>
                  <a:spcPct val="0"/>
                </a:spcBef>
                <a:spcAft>
                  <a:spcPct val="0"/>
                </a:spcAft>
                <a:buNone/>
              </a:pPr>
              <a:t>8.1%</a:t>
            </a:fld>
            <a:endParaRPr lang="en-US" sz="1200" dirty="0">
              <a:sym typeface="+mn-lt"/>
            </a:endParaRPr>
          </a:p>
        </p:txBody>
      </p:sp>
      <p:sp>
        <p:nvSpPr>
          <p:cNvPr id="28" name="Text Placeholder 39"/>
          <p:cNvSpPr>
            <a:spLocks noGrp="1"/>
          </p:cNvSpPr>
          <p:nvPr>
            <p:custDataLst>
              <p:tags r:id="rId12"/>
            </p:custDataLst>
          </p:nvPr>
        </p:nvSpPr>
        <p:spPr bwMode="gray">
          <a:xfrm>
            <a:off x="4411663" y="3440113"/>
            <a:ext cx="42545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6602CBA-F74E-45E1-8AFB-2C99341C4494}" type="datetime'1''''''''''''''''4''''''''''''.''''''''''''''''''''''0%'''">
              <a:rPr lang="en-US" sz="1200">
                <a:sym typeface="+mn-lt"/>
              </a:rPr>
              <a:pPr marL="0" indent="0" algn="ctr">
                <a:spcBef>
                  <a:spcPct val="0"/>
                </a:spcBef>
                <a:spcAft>
                  <a:spcPct val="0"/>
                </a:spcAft>
                <a:buNone/>
              </a:pPr>
              <a:t>14.0%</a:t>
            </a:fld>
            <a:endParaRPr lang="en-US" sz="1200" dirty="0">
              <a:sym typeface="+mn-lt"/>
            </a:endParaRPr>
          </a:p>
        </p:txBody>
      </p:sp>
      <p:sp>
        <p:nvSpPr>
          <p:cNvPr id="25" name="Text Placeholder 36"/>
          <p:cNvSpPr>
            <a:spLocks noGrp="1"/>
          </p:cNvSpPr>
          <p:nvPr>
            <p:custDataLst>
              <p:tags r:id="rId13"/>
            </p:custDataLst>
          </p:nvPr>
        </p:nvSpPr>
        <p:spPr bwMode="auto">
          <a:xfrm>
            <a:off x="3684588" y="5064125"/>
            <a:ext cx="414338"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800" dirty="0" smtClean="0">
                <a:sym typeface="+mn-lt"/>
              </a:rPr>
              <a:t>シッキム</a:t>
            </a:r>
            <a:endParaRPr lang="en-US" sz="800" dirty="0">
              <a:sym typeface="+mn-lt"/>
            </a:endParaRPr>
          </a:p>
        </p:txBody>
      </p:sp>
      <p:sp>
        <p:nvSpPr>
          <p:cNvPr id="27" name="Text Placeholder 38"/>
          <p:cNvSpPr>
            <a:spLocks noGrp="1"/>
          </p:cNvSpPr>
          <p:nvPr>
            <p:custDataLst>
              <p:tags r:id="rId14"/>
            </p:custDataLst>
          </p:nvPr>
        </p:nvSpPr>
        <p:spPr bwMode="auto">
          <a:xfrm>
            <a:off x="4402138" y="5064125"/>
            <a:ext cx="446088"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800" dirty="0" smtClean="0">
                <a:sym typeface="+mn-lt"/>
              </a:rPr>
              <a:t>トリプラ</a:t>
            </a:r>
            <a:endParaRPr lang="en-US" sz="800" dirty="0">
              <a:sym typeface="+mn-lt"/>
            </a:endParaRPr>
          </a:p>
        </p:txBody>
      </p:sp>
      <p:sp>
        <p:nvSpPr>
          <p:cNvPr id="7" name="Text Placeholder 22"/>
          <p:cNvSpPr>
            <a:spLocks noGrp="1"/>
          </p:cNvSpPr>
          <p:nvPr>
            <p:custDataLst>
              <p:tags r:id="rId15"/>
            </p:custDataLst>
          </p:nvPr>
        </p:nvSpPr>
        <p:spPr bwMode="auto">
          <a:xfrm>
            <a:off x="2892425" y="5064125"/>
            <a:ext cx="541338"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800" dirty="0" smtClean="0">
                <a:sym typeface="+mn-lt"/>
              </a:rPr>
              <a:t>マンプル</a:t>
            </a:r>
            <a:endParaRPr lang="en-US" sz="800" dirty="0">
              <a:sym typeface="+mn-lt"/>
            </a:endParaRPr>
          </a:p>
        </p:txBody>
      </p:sp>
      <p:sp>
        <p:nvSpPr>
          <p:cNvPr id="36" name="Text Placeholder 3"/>
          <p:cNvSpPr>
            <a:spLocks noGrp="1"/>
          </p:cNvSpPr>
          <p:nvPr>
            <p:custDataLst>
              <p:tags r:id="rId16"/>
            </p:custDataLst>
          </p:nvPr>
        </p:nvSpPr>
        <p:spPr bwMode="gray">
          <a:xfrm>
            <a:off x="5145088" y="2840038"/>
            <a:ext cx="42545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51AC4A5-6A9B-40C7-A370-2DAC740761B7}" type="datetime'''''''''''''2''''0''''''.''''''5''''%'''''''''''">
              <a:rPr lang="en-US" sz="1200">
                <a:sym typeface="+mn-lt"/>
              </a:rPr>
              <a:pPr marL="0" indent="0" algn="ctr">
                <a:spcBef>
                  <a:spcPct val="0"/>
                </a:spcBef>
                <a:spcAft>
                  <a:spcPct val="0"/>
                </a:spcAft>
                <a:buNone/>
              </a:pPr>
              <a:t>20.5%</a:t>
            </a:fld>
            <a:endParaRPr lang="en-US" sz="1200" dirty="0">
              <a:sym typeface="+mn-lt"/>
            </a:endParaRPr>
          </a:p>
        </p:txBody>
      </p:sp>
      <p:sp>
        <p:nvSpPr>
          <p:cNvPr id="17" name="Text Placeholder 29"/>
          <p:cNvSpPr>
            <a:spLocks noGrp="1"/>
          </p:cNvSpPr>
          <p:nvPr>
            <p:custDataLst>
              <p:tags r:id="rId17"/>
            </p:custDataLst>
          </p:nvPr>
        </p:nvSpPr>
        <p:spPr bwMode="gray">
          <a:xfrm>
            <a:off x="2949575" y="3735388"/>
            <a:ext cx="42545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5873009-EB2E-4450-9182-AF875BBBD69E}" type="datetime'''''''1''''''0''''''.''7''''''%'''''''''''''''''''''''''''''">
              <a:rPr lang="en-US" sz="1200">
                <a:sym typeface="+mn-lt"/>
              </a:rPr>
              <a:pPr marL="0" indent="0" algn="ctr">
                <a:spcBef>
                  <a:spcPct val="0"/>
                </a:spcBef>
                <a:spcAft>
                  <a:spcPct val="0"/>
                </a:spcAft>
                <a:buNone/>
              </a:pPr>
              <a:t>10.7%</a:t>
            </a:fld>
            <a:endParaRPr lang="en-US" sz="1200" dirty="0">
              <a:sym typeface="+mn-lt"/>
            </a:endParaRPr>
          </a:p>
        </p:txBody>
      </p:sp>
      <p:sp>
        <p:nvSpPr>
          <p:cNvPr id="26" name="Text Placeholder 37"/>
          <p:cNvSpPr>
            <a:spLocks noGrp="1"/>
          </p:cNvSpPr>
          <p:nvPr>
            <p:custDataLst>
              <p:tags r:id="rId18"/>
            </p:custDataLst>
          </p:nvPr>
        </p:nvSpPr>
        <p:spPr bwMode="gray">
          <a:xfrm>
            <a:off x="3678238" y="3544888"/>
            <a:ext cx="42545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65A8E83-36BF-44C8-A6E3-1843608E121C}" type="datetime'''''''''1''''''''''2''''.''''''''''''''''''''''8''''''''%'">
              <a:rPr lang="en-US" sz="1200">
                <a:sym typeface="+mn-lt"/>
              </a:rPr>
              <a:pPr/>
              <a:t>12.8%</a:t>
            </a:fld>
            <a:endParaRPr lang="en-US" sz="1200" dirty="0">
              <a:sym typeface="+mn-lt"/>
            </a:endParaRPr>
          </a:p>
        </p:txBody>
      </p:sp>
      <p:sp>
        <p:nvSpPr>
          <p:cNvPr id="11" name="Text Placeholder 21"/>
          <p:cNvSpPr>
            <a:spLocks noGrp="1"/>
          </p:cNvSpPr>
          <p:nvPr>
            <p:custDataLst>
              <p:tags r:id="rId19"/>
            </p:custDataLst>
          </p:nvPr>
        </p:nvSpPr>
        <p:spPr bwMode="auto">
          <a:xfrm>
            <a:off x="2154238" y="5064125"/>
            <a:ext cx="560388"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800" dirty="0" smtClean="0">
                <a:sym typeface="+mn-lt"/>
              </a:rPr>
              <a:t>ミゾラム</a:t>
            </a:r>
            <a:endParaRPr lang="en-US" sz="800" dirty="0">
              <a:sym typeface="+mn-lt"/>
            </a:endParaRPr>
          </a:p>
        </p:txBody>
      </p:sp>
      <p:sp>
        <p:nvSpPr>
          <p:cNvPr id="33" name="Text Placeholder 44"/>
          <p:cNvSpPr>
            <a:spLocks noGrp="1"/>
          </p:cNvSpPr>
          <p:nvPr>
            <p:custDataLst>
              <p:tags r:id="rId20"/>
            </p:custDataLst>
          </p:nvPr>
        </p:nvSpPr>
        <p:spPr bwMode="auto">
          <a:xfrm>
            <a:off x="6524625" y="5064125"/>
            <a:ext cx="592138"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800" dirty="0" smtClean="0">
                <a:sym typeface="+mn-lt"/>
              </a:rPr>
              <a:t>ナガランド</a:t>
            </a:r>
            <a:endParaRPr lang="en-US" sz="800" dirty="0">
              <a:sym typeface="+mn-lt"/>
            </a:endParaRPr>
          </a:p>
        </p:txBody>
      </p:sp>
      <p:sp>
        <p:nvSpPr>
          <p:cNvPr id="54" name="Text Placeholder 65"/>
          <p:cNvSpPr>
            <a:spLocks noGrp="1"/>
          </p:cNvSpPr>
          <p:nvPr>
            <p:custDataLst>
              <p:tags r:id="rId21"/>
            </p:custDataLst>
          </p:nvPr>
        </p:nvSpPr>
        <p:spPr bwMode="gray">
          <a:xfrm>
            <a:off x="7335838" y="1849438"/>
            <a:ext cx="42545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5460DA6-8303-4DA0-87E1-238A93F91A76}" type="datetime'''''''3''''''''''1''''''''''''.''''''''''4''%'''">
              <a:rPr lang="en-US" sz="1200">
                <a:sym typeface="+mn-lt"/>
              </a:rPr>
              <a:pPr marL="0" indent="0" algn="ctr">
                <a:spcBef>
                  <a:spcPct val="0"/>
                </a:spcBef>
                <a:spcAft>
                  <a:spcPct val="0"/>
                </a:spcAft>
                <a:buNone/>
              </a:pPr>
              <a:t>31.4%</a:t>
            </a:fld>
            <a:endParaRPr lang="en-US" sz="1200" dirty="0">
              <a:sym typeface="+mn-lt"/>
            </a:endParaRPr>
          </a:p>
        </p:txBody>
      </p:sp>
      <p:sp>
        <p:nvSpPr>
          <p:cNvPr id="52" name="Text Placeholder 63"/>
          <p:cNvSpPr>
            <a:spLocks noGrp="1"/>
          </p:cNvSpPr>
          <p:nvPr>
            <p:custDataLst>
              <p:tags r:id="rId22"/>
            </p:custDataLst>
          </p:nvPr>
        </p:nvSpPr>
        <p:spPr bwMode="gray">
          <a:xfrm>
            <a:off x="5878513" y="2820988"/>
            <a:ext cx="42545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1CDB4B9-2221-4849-85B8-D325A50418F5}" type="datetime'''''2''''''''''0''''''''.''''''7''''''''''%'''''''''''''''''''">
              <a:rPr lang="en-US" sz="1200">
                <a:sym typeface="+mn-lt"/>
              </a:rPr>
              <a:pPr marL="0" indent="0" algn="ctr">
                <a:spcBef>
                  <a:spcPct val="0"/>
                </a:spcBef>
                <a:spcAft>
                  <a:spcPct val="0"/>
                </a:spcAft>
                <a:buNone/>
              </a:pPr>
              <a:t>20.7%</a:t>
            </a:fld>
            <a:endParaRPr lang="en-US" sz="1200" dirty="0">
              <a:sym typeface="+mn-lt"/>
            </a:endParaRPr>
          </a:p>
        </p:txBody>
      </p:sp>
      <p:sp>
        <p:nvSpPr>
          <p:cNvPr id="51" name="Text Placeholder 62"/>
          <p:cNvSpPr>
            <a:spLocks noGrp="1"/>
          </p:cNvSpPr>
          <p:nvPr>
            <p:custDataLst>
              <p:tags r:id="rId23"/>
            </p:custDataLst>
          </p:nvPr>
        </p:nvSpPr>
        <p:spPr bwMode="auto">
          <a:xfrm>
            <a:off x="5872163" y="5064125"/>
            <a:ext cx="439738"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800" dirty="0" smtClean="0">
                <a:sym typeface="+mn-lt"/>
              </a:rPr>
              <a:t>パンジャーブ</a:t>
            </a:r>
            <a:endParaRPr lang="en-US" sz="800" dirty="0">
              <a:sym typeface="+mn-lt"/>
            </a:endParaRPr>
          </a:p>
        </p:txBody>
      </p:sp>
      <p:sp>
        <p:nvSpPr>
          <p:cNvPr id="41" name="Text Placeholder 52"/>
          <p:cNvSpPr>
            <a:spLocks noGrp="1"/>
          </p:cNvSpPr>
          <p:nvPr>
            <p:custDataLst>
              <p:tags r:id="rId24"/>
            </p:custDataLst>
          </p:nvPr>
        </p:nvSpPr>
        <p:spPr bwMode="gray">
          <a:xfrm>
            <a:off x="6607175" y="2573338"/>
            <a:ext cx="42545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b"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4292B4F-5C62-4CF9-88E2-6DF15C1F8FD9}" type="datetime'''''2''''''''''''''''''3.''''5''''''''''%'">
              <a:rPr lang="en-US" sz="1200">
                <a:sym typeface="+mn-lt"/>
              </a:rPr>
              <a:pPr marL="0" indent="0" algn="ctr">
                <a:spcBef>
                  <a:spcPct val="0"/>
                </a:spcBef>
                <a:spcAft>
                  <a:spcPct val="0"/>
                </a:spcAft>
                <a:buNone/>
              </a:pPr>
              <a:t>23.5%</a:t>
            </a:fld>
            <a:endParaRPr lang="en-US" sz="1200" dirty="0">
              <a:sym typeface="+mn-lt"/>
            </a:endParaRPr>
          </a:p>
        </p:txBody>
      </p:sp>
      <p:sp>
        <p:nvSpPr>
          <p:cNvPr id="23" name="TextBox 22"/>
          <p:cNvSpPr txBox="1"/>
          <p:nvPr/>
        </p:nvSpPr>
        <p:spPr>
          <a:xfrm>
            <a:off x="342900" y="1241268"/>
            <a:ext cx="4686301" cy="457200"/>
          </a:xfrm>
          <a:prstGeom prst="rect">
            <a:avLst/>
          </a:prstGeom>
          <a:noFill/>
        </p:spPr>
        <p:txBody>
          <a:bodyPr wrap="square" lIns="0" tIns="0" rIns="0" bIns="0" rtlCol="0">
            <a:noAutofit/>
          </a:bodyPr>
          <a:lstStyle/>
          <a:p>
            <a:pPr marL="213952" indent="-213952"/>
            <a:r>
              <a:rPr lang="ja-JP" altLang="en-US" sz="1292" b="1" dirty="0" smtClean="0"/>
              <a:t>トイレにアクセスできない人</a:t>
            </a:r>
            <a:endParaRPr lang="en-US" sz="1292" b="1" dirty="0"/>
          </a:p>
          <a:p>
            <a:pPr marL="213952" indent="-213952"/>
            <a:r>
              <a:rPr lang="ja-JP" altLang="en-US" sz="1292" i="1" dirty="0" smtClean="0"/>
              <a:t>割合、</a:t>
            </a:r>
            <a:r>
              <a:rPr lang="en-US" sz="1292" i="1" dirty="0" smtClean="0"/>
              <a:t>2011</a:t>
            </a:r>
            <a:r>
              <a:rPr lang="ja-JP" altLang="en-US" sz="1292" i="1" dirty="0" smtClean="0"/>
              <a:t>年</a:t>
            </a:r>
            <a:endParaRPr lang="en-US" sz="1292" i="1" dirty="0"/>
          </a:p>
        </p:txBody>
      </p:sp>
      <p:sp>
        <p:nvSpPr>
          <p:cNvPr id="32" name="Rounded Rectangular Callout 31"/>
          <p:cNvSpPr/>
          <p:nvPr/>
        </p:nvSpPr>
        <p:spPr>
          <a:xfrm>
            <a:off x="875981" y="2433594"/>
            <a:ext cx="3222945" cy="977367"/>
          </a:xfrm>
          <a:prstGeom prst="wedgeRoundRectCallout">
            <a:avLst>
              <a:gd name="adj1" fmla="val 35390"/>
              <a:gd name="adj2" fmla="val 59925"/>
              <a:gd name="adj3" fmla="val 16667"/>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dirty="0" smtClean="0">
                <a:solidFill>
                  <a:schemeClr val="tx1"/>
                </a:solidFill>
              </a:rPr>
              <a:t>毛管浄化社は</a:t>
            </a:r>
            <a:r>
              <a:rPr lang="en-US" altLang="ja-JP" sz="1200" dirty="0" smtClean="0">
                <a:solidFill>
                  <a:schemeClr val="tx1"/>
                </a:solidFill>
              </a:rPr>
              <a:t>ECOSS</a:t>
            </a:r>
            <a:r>
              <a:rPr lang="ja-JP" altLang="en-US" sz="1200" dirty="0" smtClean="0">
                <a:solidFill>
                  <a:schemeClr val="tx1"/>
                </a:solidFill>
              </a:rPr>
              <a:t>と連携して</a:t>
            </a:r>
            <a:r>
              <a:rPr lang="ja-JP" altLang="en-US" sz="1200" b="1" dirty="0" smtClean="0">
                <a:solidFill>
                  <a:schemeClr val="tx1"/>
                </a:solidFill>
              </a:rPr>
              <a:t>すでにシッキム州で活動している。</a:t>
            </a:r>
            <a:r>
              <a:rPr lang="en-US" sz="1200" dirty="0" smtClean="0">
                <a:solidFill>
                  <a:schemeClr val="tx1"/>
                </a:solidFill>
              </a:rPr>
              <a:t>P.D.</a:t>
            </a:r>
            <a:r>
              <a:rPr lang="ja-JP" altLang="en-US" sz="1200" dirty="0" smtClean="0">
                <a:solidFill>
                  <a:schemeClr val="tx1"/>
                </a:solidFill>
              </a:rPr>
              <a:t>ライ氏（下院議員、シッキム州選出）とよい関係を築くことで州政府からの支援を得られる可能性がある</a:t>
            </a:r>
            <a:endParaRPr lang="en-US" sz="1200" dirty="0">
              <a:solidFill>
                <a:schemeClr val="tx1"/>
              </a:solidFill>
            </a:endParaRPr>
          </a:p>
        </p:txBody>
      </p:sp>
      <p:sp>
        <p:nvSpPr>
          <p:cNvPr id="31" name="Rectangle 30"/>
          <p:cNvSpPr/>
          <p:nvPr/>
        </p:nvSpPr>
        <p:spPr>
          <a:xfrm>
            <a:off x="342562" y="1805719"/>
            <a:ext cx="209725" cy="197170"/>
          </a:xfrm>
          <a:prstGeom prst="rect">
            <a:avLst/>
          </a:prstGeom>
          <a:solidFill>
            <a:srgbClr val="B387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p:cNvSpPr txBox="1"/>
          <p:nvPr/>
        </p:nvSpPr>
        <p:spPr>
          <a:xfrm>
            <a:off x="647699" y="1805719"/>
            <a:ext cx="3173779" cy="197170"/>
          </a:xfrm>
          <a:prstGeom prst="rect">
            <a:avLst/>
          </a:prstGeom>
          <a:noFill/>
        </p:spPr>
        <p:txBody>
          <a:bodyPr wrap="square" lIns="0" tIns="0" rIns="0" bIns="0" rtlCol="0" anchor="ctr">
            <a:noAutofit/>
          </a:bodyPr>
          <a:lstStyle/>
          <a:p>
            <a:pPr marL="213952" indent="-213952"/>
            <a:r>
              <a:rPr lang="en-US" sz="1200" dirty="0" smtClean="0"/>
              <a:t>MJ</a:t>
            </a:r>
            <a:r>
              <a:rPr lang="ja-JP" altLang="en-US" sz="1200" dirty="0" smtClean="0"/>
              <a:t>が最初に注力可能な州</a:t>
            </a:r>
            <a:endParaRPr lang="en-US" sz="1200" i="1" dirty="0"/>
          </a:p>
        </p:txBody>
      </p:sp>
      <p:sp>
        <p:nvSpPr>
          <p:cNvPr id="37" name="TextBox 36"/>
          <p:cNvSpPr txBox="1"/>
          <p:nvPr/>
        </p:nvSpPr>
        <p:spPr>
          <a:xfrm>
            <a:off x="461276" y="5535771"/>
            <a:ext cx="876299" cy="457200"/>
          </a:xfrm>
          <a:prstGeom prst="rect">
            <a:avLst/>
          </a:prstGeom>
          <a:noFill/>
        </p:spPr>
        <p:txBody>
          <a:bodyPr wrap="square" lIns="0" tIns="0" rIns="0" bIns="0" rtlCol="0">
            <a:noAutofit/>
          </a:bodyPr>
          <a:lstStyle/>
          <a:p>
            <a:pPr marL="213952" indent="-213952"/>
            <a:r>
              <a:rPr lang="ja-JP" altLang="en-US" sz="1292" b="1" dirty="0" smtClean="0"/>
              <a:t>人数</a:t>
            </a:r>
            <a:endParaRPr lang="en-US" sz="1292" b="1" dirty="0" smtClean="0"/>
          </a:p>
          <a:p>
            <a:pPr marL="213952" indent="-213952"/>
            <a:r>
              <a:rPr lang="ja-JP" altLang="en-US" sz="800" i="1" dirty="0" smtClean="0"/>
              <a:t>（単位　百万人）</a:t>
            </a:r>
            <a:endParaRPr lang="en-US" sz="800" i="1" dirty="0"/>
          </a:p>
        </p:txBody>
      </p:sp>
      <p:sp>
        <p:nvSpPr>
          <p:cNvPr id="38" name="TextBox 37"/>
          <p:cNvSpPr txBox="1"/>
          <p:nvPr/>
        </p:nvSpPr>
        <p:spPr>
          <a:xfrm>
            <a:off x="1409701" y="5543358"/>
            <a:ext cx="586740" cy="457200"/>
          </a:xfrm>
          <a:prstGeom prst="rect">
            <a:avLst/>
          </a:prstGeom>
          <a:noFill/>
        </p:spPr>
        <p:txBody>
          <a:bodyPr wrap="square" lIns="0" tIns="0" rIns="0" bIns="0" rtlCol="0" anchor="ctr">
            <a:noAutofit/>
          </a:bodyPr>
          <a:lstStyle/>
          <a:p>
            <a:pPr marL="213952" indent="-213952" algn="ctr"/>
            <a:r>
              <a:rPr lang="en-US" sz="1292" dirty="0" smtClean="0"/>
              <a:t>33</a:t>
            </a:r>
            <a:endParaRPr lang="en-US" sz="1292" dirty="0"/>
          </a:p>
        </p:txBody>
      </p:sp>
      <p:sp>
        <p:nvSpPr>
          <p:cNvPr id="39" name="TextBox 38"/>
          <p:cNvSpPr txBox="1"/>
          <p:nvPr/>
        </p:nvSpPr>
        <p:spPr>
          <a:xfrm>
            <a:off x="2140692" y="5535771"/>
            <a:ext cx="586740" cy="457200"/>
          </a:xfrm>
          <a:prstGeom prst="rect">
            <a:avLst/>
          </a:prstGeom>
          <a:noFill/>
        </p:spPr>
        <p:txBody>
          <a:bodyPr wrap="square" lIns="0" tIns="0" rIns="0" bIns="0" rtlCol="0" anchor="ctr">
            <a:noAutofit/>
          </a:bodyPr>
          <a:lstStyle/>
          <a:p>
            <a:pPr marL="213952" indent="-213952" algn="ctr"/>
            <a:r>
              <a:rPr lang="en-US" sz="1292" dirty="0" smtClean="0"/>
              <a:t>1</a:t>
            </a:r>
            <a:endParaRPr lang="en-US" sz="1292" dirty="0"/>
          </a:p>
        </p:txBody>
      </p:sp>
      <p:sp>
        <p:nvSpPr>
          <p:cNvPr id="40" name="TextBox 39"/>
          <p:cNvSpPr txBox="1"/>
          <p:nvPr/>
        </p:nvSpPr>
        <p:spPr>
          <a:xfrm>
            <a:off x="2871683" y="5535771"/>
            <a:ext cx="586740" cy="457200"/>
          </a:xfrm>
          <a:prstGeom prst="rect">
            <a:avLst/>
          </a:prstGeom>
          <a:noFill/>
        </p:spPr>
        <p:txBody>
          <a:bodyPr wrap="square" lIns="0" tIns="0" rIns="0" bIns="0" rtlCol="0" anchor="ctr">
            <a:noAutofit/>
          </a:bodyPr>
          <a:lstStyle/>
          <a:p>
            <a:pPr marL="213952" indent="-213952" algn="ctr"/>
            <a:r>
              <a:rPr lang="en-US" sz="1292" dirty="0" smtClean="0"/>
              <a:t>2.7</a:t>
            </a:r>
            <a:endParaRPr lang="en-US" sz="1292" dirty="0"/>
          </a:p>
        </p:txBody>
      </p:sp>
      <p:sp>
        <p:nvSpPr>
          <p:cNvPr id="42" name="TextBox 41"/>
          <p:cNvSpPr txBox="1"/>
          <p:nvPr/>
        </p:nvSpPr>
        <p:spPr>
          <a:xfrm>
            <a:off x="3602674" y="5535771"/>
            <a:ext cx="586740" cy="457200"/>
          </a:xfrm>
          <a:prstGeom prst="rect">
            <a:avLst/>
          </a:prstGeom>
          <a:noFill/>
        </p:spPr>
        <p:txBody>
          <a:bodyPr wrap="square" lIns="0" tIns="0" rIns="0" bIns="0" rtlCol="0" anchor="ctr">
            <a:noAutofit/>
          </a:bodyPr>
          <a:lstStyle/>
          <a:p>
            <a:pPr marL="213952" indent="-213952" algn="ctr"/>
            <a:r>
              <a:rPr lang="en-US" sz="1292" dirty="0" smtClean="0"/>
              <a:t>.6</a:t>
            </a:r>
            <a:endParaRPr lang="en-US" sz="1292" dirty="0"/>
          </a:p>
        </p:txBody>
      </p:sp>
      <p:sp>
        <p:nvSpPr>
          <p:cNvPr id="43" name="TextBox 42"/>
          <p:cNvSpPr txBox="1"/>
          <p:nvPr/>
        </p:nvSpPr>
        <p:spPr>
          <a:xfrm>
            <a:off x="4333665" y="5535771"/>
            <a:ext cx="586740" cy="457200"/>
          </a:xfrm>
          <a:prstGeom prst="rect">
            <a:avLst/>
          </a:prstGeom>
          <a:noFill/>
        </p:spPr>
        <p:txBody>
          <a:bodyPr wrap="square" lIns="0" tIns="0" rIns="0" bIns="0" rtlCol="0" anchor="ctr">
            <a:noAutofit/>
          </a:bodyPr>
          <a:lstStyle/>
          <a:p>
            <a:pPr marL="213952" indent="-213952" algn="ctr"/>
            <a:r>
              <a:rPr lang="en-US" sz="1292" dirty="0" smtClean="0"/>
              <a:t>3.7</a:t>
            </a:r>
            <a:endParaRPr lang="en-US" sz="1292" dirty="0"/>
          </a:p>
        </p:txBody>
      </p:sp>
      <p:sp>
        <p:nvSpPr>
          <p:cNvPr id="44" name="TextBox 43"/>
          <p:cNvSpPr txBox="1"/>
          <p:nvPr/>
        </p:nvSpPr>
        <p:spPr>
          <a:xfrm>
            <a:off x="5064656" y="5535771"/>
            <a:ext cx="586740" cy="457200"/>
          </a:xfrm>
          <a:prstGeom prst="rect">
            <a:avLst/>
          </a:prstGeom>
          <a:noFill/>
        </p:spPr>
        <p:txBody>
          <a:bodyPr wrap="square" lIns="0" tIns="0" rIns="0" bIns="0" rtlCol="0" anchor="ctr">
            <a:noAutofit/>
          </a:bodyPr>
          <a:lstStyle/>
          <a:p>
            <a:pPr marL="213952" indent="-213952" algn="ctr"/>
            <a:r>
              <a:rPr lang="en-US" sz="1292" dirty="0" smtClean="0"/>
              <a:t>1.5</a:t>
            </a:r>
            <a:endParaRPr lang="en-US" sz="1292" dirty="0"/>
          </a:p>
        </p:txBody>
      </p:sp>
      <p:sp>
        <p:nvSpPr>
          <p:cNvPr id="45" name="TextBox 44"/>
          <p:cNvSpPr txBox="1"/>
          <p:nvPr/>
        </p:nvSpPr>
        <p:spPr>
          <a:xfrm>
            <a:off x="5795647" y="5535771"/>
            <a:ext cx="586740" cy="457200"/>
          </a:xfrm>
          <a:prstGeom prst="rect">
            <a:avLst/>
          </a:prstGeom>
          <a:noFill/>
        </p:spPr>
        <p:txBody>
          <a:bodyPr wrap="square" lIns="0" tIns="0" rIns="0" bIns="0" rtlCol="0" anchor="ctr">
            <a:noAutofit/>
          </a:bodyPr>
          <a:lstStyle/>
          <a:p>
            <a:pPr marL="213952" indent="-213952" algn="ctr"/>
            <a:r>
              <a:rPr lang="en-US" sz="1292" dirty="0" smtClean="0"/>
              <a:t>28</a:t>
            </a:r>
            <a:endParaRPr lang="en-US" sz="1292" dirty="0"/>
          </a:p>
        </p:txBody>
      </p:sp>
      <p:sp>
        <p:nvSpPr>
          <p:cNvPr id="46" name="TextBox 45"/>
          <p:cNvSpPr txBox="1"/>
          <p:nvPr/>
        </p:nvSpPr>
        <p:spPr>
          <a:xfrm>
            <a:off x="6526638" y="5535771"/>
            <a:ext cx="586740" cy="457200"/>
          </a:xfrm>
          <a:prstGeom prst="rect">
            <a:avLst/>
          </a:prstGeom>
          <a:noFill/>
        </p:spPr>
        <p:txBody>
          <a:bodyPr wrap="square" lIns="0" tIns="0" rIns="0" bIns="0" rtlCol="0" anchor="ctr">
            <a:noAutofit/>
          </a:bodyPr>
          <a:lstStyle/>
          <a:p>
            <a:pPr marL="213952" indent="-213952" algn="ctr"/>
            <a:r>
              <a:rPr lang="en-US" sz="1292" dirty="0" smtClean="0"/>
              <a:t>2</a:t>
            </a:r>
            <a:endParaRPr lang="en-US" sz="1292" dirty="0"/>
          </a:p>
        </p:txBody>
      </p:sp>
      <p:sp>
        <p:nvSpPr>
          <p:cNvPr id="47" name="TextBox 46"/>
          <p:cNvSpPr txBox="1"/>
          <p:nvPr/>
        </p:nvSpPr>
        <p:spPr>
          <a:xfrm>
            <a:off x="7257629" y="5535771"/>
            <a:ext cx="586740" cy="457200"/>
          </a:xfrm>
          <a:prstGeom prst="rect">
            <a:avLst/>
          </a:prstGeom>
          <a:noFill/>
        </p:spPr>
        <p:txBody>
          <a:bodyPr wrap="square" lIns="0" tIns="0" rIns="0" bIns="0" rtlCol="0" anchor="ctr">
            <a:noAutofit/>
          </a:bodyPr>
          <a:lstStyle/>
          <a:p>
            <a:pPr marL="213952" indent="-213952" algn="ctr"/>
            <a:r>
              <a:rPr lang="en-US" sz="1292" dirty="0" smtClean="0"/>
              <a:t>25</a:t>
            </a:r>
            <a:endParaRPr lang="en-US" sz="1292" dirty="0"/>
          </a:p>
        </p:txBody>
      </p:sp>
      <p:sp>
        <p:nvSpPr>
          <p:cNvPr id="48" name="TextBox 47"/>
          <p:cNvSpPr txBox="1"/>
          <p:nvPr/>
        </p:nvSpPr>
        <p:spPr>
          <a:xfrm>
            <a:off x="7988618" y="5535771"/>
            <a:ext cx="586740" cy="457200"/>
          </a:xfrm>
          <a:prstGeom prst="rect">
            <a:avLst/>
          </a:prstGeom>
          <a:noFill/>
        </p:spPr>
        <p:txBody>
          <a:bodyPr wrap="square" lIns="0" tIns="0" rIns="0" bIns="0" rtlCol="0" anchor="ctr">
            <a:noAutofit/>
          </a:bodyPr>
          <a:lstStyle/>
          <a:p>
            <a:pPr marL="213952" indent="-213952" algn="ctr"/>
            <a:r>
              <a:rPr lang="en-US" sz="1292" dirty="0" smtClean="0"/>
              <a:t>10</a:t>
            </a:r>
            <a:endParaRPr lang="en-US" sz="1292" dirty="0"/>
          </a:p>
        </p:txBody>
      </p:sp>
      <p:sp>
        <p:nvSpPr>
          <p:cNvPr id="5" name="Rectangle 4"/>
          <p:cNvSpPr/>
          <p:nvPr/>
        </p:nvSpPr>
        <p:spPr>
          <a:xfrm>
            <a:off x="342562" y="5402580"/>
            <a:ext cx="8420438" cy="670560"/>
          </a:xfrm>
          <a:prstGeom prst="rect">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5604153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558552419"/>
              </p:ext>
            </p:extLst>
          </p:nvPr>
        </p:nvGraphicFramePr>
        <p:xfrm>
          <a:off x="353160" y="265236"/>
          <a:ext cx="1465" cy="1465"/>
        </p:xfrm>
        <a:graphic>
          <a:graphicData uri="http://schemas.openxmlformats.org/presentationml/2006/ole">
            <mc:AlternateContent xmlns:mc="http://schemas.openxmlformats.org/markup-compatibility/2006">
              <mc:Choice xmlns:v="urn:schemas-microsoft-com:vml" Requires="v">
                <p:oleObj spid="_x0000_s935954" name="think-cell Slide" r:id="rId30" imgW="270" imgH="270" progId="TCLayout.ActiveDocument.1">
                  <p:embed/>
                </p:oleObj>
              </mc:Choice>
              <mc:Fallback>
                <p:oleObj name="think-cell Slide" r:id="rId30" imgW="270" imgH="270" progId="TCLayout.ActiveDocument.1">
                  <p:embed/>
                  <p:pic>
                    <p:nvPicPr>
                      <p:cNvPr id="0" name=""/>
                      <p:cNvPicPr/>
                      <p:nvPr/>
                    </p:nvPicPr>
                    <p:blipFill>
                      <a:blip r:embed="rId31"/>
                      <a:stretch>
                        <a:fillRect/>
                      </a:stretch>
                    </p:blipFill>
                    <p:spPr>
                      <a:xfrm>
                        <a:off x="353160" y="265236"/>
                        <a:ext cx="1465" cy="1465"/>
                      </a:xfrm>
                      <a:prstGeom prst="rect">
                        <a:avLst/>
                      </a:prstGeom>
                    </p:spPr>
                  </p:pic>
                </p:oleObj>
              </mc:Fallback>
            </mc:AlternateContent>
          </a:graphicData>
        </a:graphic>
      </p:graphicFrame>
      <p:sp>
        <p:nvSpPr>
          <p:cNvPr id="13" name="Rectangle 12" hidden="1"/>
          <p:cNvSpPr/>
          <p:nvPr>
            <p:custDataLst>
              <p:tags r:id="rId3"/>
            </p:custDataLst>
          </p:nvPr>
        </p:nvSpPr>
        <p:spPr bwMode="auto">
          <a:xfrm>
            <a:off x="351693" y="263769"/>
            <a:ext cx="146538" cy="1465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108">
              <a:latin typeface="Calibri" panose="020F0502020204030204" pitchFamily="34" charset="0"/>
              <a:sym typeface="Calibri" panose="020F0502020204030204" pitchFamily="34" charset="0"/>
            </a:endParaRPr>
          </a:p>
        </p:txBody>
      </p:sp>
      <p:sp>
        <p:nvSpPr>
          <p:cNvPr id="2" name="Title 1"/>
          <p:cNvSpPr>
            <a:spLocks noGrp="1"/>
          </p:cNvSpPr>
          <p:nvPr>
            <p:ph type="title"/>
          </p:nvPr>
        </p:nvSpPr>
        <p:spPr/>
        <p:txBody>
          <a:bodyPr/>
          <a:lstStyle/>
          <a:p>
            <a:r>
              <a:rPr lang="ja-JP" altLang="en-US" dirty="0" smtClean="0"/>
              <a:t>シッキム州政府はトイレへの普遍的アクセスを達成済みであり、</a:t>
            </a:r>
            <a:r>
              <a:rPr lang="en-US" altLang="ja-JP" dirty="0" smtClean="0"/>
              <a:t>MJ</a:t>
            </a:r>
            <a:r>
              <a:rPr lang="ja-JP" altLang="en-US" dirty="0" smtClean="0"/>
              <a:t>と連携して排泄物処理に取り組むことができる</a:t>
            </a:r>
            <a:endParaRPr lang="en-US" dirty="0"/>
          </a:p>
        </p:txBody>
      </p:sp>
      <p:sp>
        <p:nvSpPr>
          <p:cNvPr id="3" name="Text Placeholder 2"/>
          <p:cNvSpPr>
            <a:spLocks noGrp="1"/>
          </p:cNvSpPr>
          <p:nvPr>
            <p:ph type="body" sz="quarter" idx="37"/>
          </p:nvPr>
        </p:nvSpPr>
        <p:spPr>
          <a:xfrm>
            <a:off x="415926" y="6463163"/>
            <a:ext cx="7602658" cy="356934"/>
          </a:xfrm>
        </p:spPr>
        <p:txBody>
          <a:bodyPr/>
          <a:lstStyle/>
          <a:p>
            <a:r>
              <a:rPr lang="ja-JP" altLang="en-US" dirty="0"/>
              <a:t>出典：</a:t>
            </a:r>
            <a:r>
              <a:rPr lang="en-US" altLang="ja-JP" dirty="0"/>
              <a:t>2011</a:t>
            </a:r>
            <a:r>
              <a:rPr lang="ja-JP" altLang="en-US" dirty="0"/>
              <a:t>年インド・センサス、インド中央公害管理局（</a:t>
            </a:r>
            <a:r>
              <a:rPr lang="en-US" altLang="ja-JP" dirty="0"/>
              <a:t>CPCB</a:t>
            </a:r>
            <a:r>
              <a:rPr lang="ja-JP" altLang="en-US" dirty="0"/>
              <a:t>）による「インドにおける下水処理の状況」</a:t>
            </a:r>
            <a:r>
              <a:rPr lang="en-US" altLang="ja-JP" dirty="0"/>
              <a:t>2005</a:t>
            </a:r>
            <a:r>
              <a:rPr lang="ja-JP" altLang="en-US" dirty="0"/>
              <a:t>年・</a:t>
            </a:r>
            <a:r>
              <a:rPr lang="en-US" altLang="ja-JP" dirty="0"/>
              <a:t>2013</a:t>
            </a:r>
            <a:r>
              <a:rPr lang="ja-JP" altLang="en-US" dirty="0"/>
              <a:t>年報告；</a:t>
            </a:r>
            <a:r>
              <a:rPr lang="en-US" altLang="ja-JP" dirty="0" err="1"/>
              <a:t>Dalberg</a:t>
            </a:r>
            <a:r>
              <a:rPr lang="en-US" altLang="ja-JP" dirty="0"/>
              <a:t> </a:t>
            </a:r>
            <a:r>
              <a:rPr lang="en-US" altLang="ja-JP" dirty="0" smtClean="0"/>
              <a:t>analysis</a:t>
            </a:r>
            <a:endParaRPr lang="en-US" altLang="ja-JP" dirty="0"/>
          </a:p>
        </p:txBody>
      </p:sp>
      <p:graphicFrame>
        <p:nvGraphicFramePr>
          <p:cNvPr id="10" name="Object 9"/>
          <p:cNvGraphicFramePr>
            <a:graphicFrameLocks/>
          </p:cNvGraphicFramePr>
          <p:nvPr>
            <p:custDataLst>
              <p:tags r:id="rId4"/>
            </p:custDataLst>
            <p:extLst/>
          </p:nvPr>
        </p:nvGraphicFramePr>
        <p:xfrm>
          <a:off x="949570" y="1881555"/>
          <a:ext cx="1274785" cy="3191611"/>
        </p:xfrm>
        <a:graphic>
          <a:graphicData uri="http://schemas.openxmlformats.org/presentationml/2006/ole">
            <mc:AlternateContent xmlns:mc="http://schemas.openxmlformats.org/markup-compatibility/2006">
              <mc:Choice xmlns:v="urn:schemas-microsoft-com:vml" Requires="v">
                <p:oleObj spid="_x0000_s935955" name="Chart" r:id="rId32" imgW="1381017" imgH="3457579" progId="MSGraph.Chart.8">
                  <p:embed followColorScheme="full"/>
                </p:oleObj>
              </mc:Choice>
              <mc:Fallback>
                <p:oleObj name="Chart" r:id="rId32" imgW="1381017" imgH="3457579" progId="MSGraph.Chart.8">
                  <p:embed followColorScheme="full"/>
                  <p:pic>
                    <p:nvPicPr>
                      <p:cNvPr id="0" name=""/>
                      <p:cNvPicPr/>
                      <p:nvPr/>
                    </p:nvPicPr>
                    <p:blipFill>
                      <a:blip r:embed="rId33"/>
                      <a:stretch>
                        <a:fillRect/>
                      </a:stretch>
                    </p:blipFill>
                    <p:spPr>
                      <a:xfrm>
                        <a:off x="949570" y="1881555"/>
                        <a:ext cx="1274785" cy="3191611"/>
                      </a:xfrm>
                      <a:prstGeom prst="rect">
                        <a:avLst/>
                      </a:prstGeom>
                    </p:spPr>
                  </p:pic>
                </p:oleObj>
              </mc:Fallback>
            </mc:AlternateContent>
          </a:graphicData>
        </a:graphic>
      </p:graphicFrame>
      <p:sp>
        <p:nvSpPr>
          <p:cNvPr id="49" name="Text Placeholder 10"/>
          <p:cNvSpPr>
            <a:spLocks noGrp="1"/>
          </p:cNvSpPr>
          <p:nvPr>
            <p:custDataLst>
              <p:tags r:id="rId5"/>
            </p:custDataLst>
          </p:nvPr>
        </p:nvSpPr>
        <p:spPr bwMode="gray">
          <a:xfrm>
            <a:off x="1399443" y="2055935"/>
            <a:ext cx="331177" cy="196362"/>
          </a:xfrm>
          <a:prstGeom prst="rect">
            <a:avLst/>
          </a:prstGeom>
          <a:noFill/>
          <a:extLst>
            <a:ext uri="{909E8E84-426E-40DD-AFC4-6F175D3DCCD1}">
              <a14:hiddenFill xmlns:a14="http://schemas.microsoft.com/office/drawing/2010/main">
                <a:solidFill>
                  <a:scrgbClr r="0" g="0" b="0"/>
                </a:solidFill>
              </a14:hiddenFill>
            </a:ext>
          </a:extLst>
        </p:spPr>
        <p:txBody>
          <a:bodyPr wrap="none" lIns="23446" tIns="0" rIns="23446"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B57EC6B-4908-4B08-8317-96564D421776}" type="datetime'''''''''1''''''''1''%'''''''''''''''''''''''''''''''''''''''">
              <a:rPr lang="en-US" sz="1292">
                <a:solidFill>
                  <a:schemeClr val="bg1"/>
                </a:solidFill>
                <a:sym typeface="+mn-lt"/>
              </a:rPr>
              <a:pPr marL="0" indent="0" algn="ctr">
                <a:spcBef>
                  <a:spcPct val="0"/>
                </a:spcBef>
                <a:spcAft>
                  <a:spcPct val="0"/>
                </a:spcAft>
                <a:buNone/>
              </a:pPr>
              <a:t>11%</a:t>
            </a:fld>
            <a:endParaRPr lang="en-US" sz="1292" dirty="0">
              <a:solidFill>
                <a:schemeClr val="bg1"/>
              </a:solidFill>
              <a:sym typeface="+mn-lt"/>
            </a:endParaRPr>
          </a:p>
        </p:txBody>
      </p:sp>
      <p:sp>
        <p:nvSpPr>
          <p:cNvPr id="45" name="Text Placeholder 9"/>
          <p:cNvSpPr>
            <a:spLocks noGrp="1"/>
          </p:cNvSpPr>
          <p:nvPr>
            <p:custDataLst>
              <p:tags r:id="rId6"/>
            </p:custDataLst>
          </p:nvPr>
        </p:nvSpPr>
        <p:spPr bwMode="gray">
          <a:xfrm>
            <a:off x="1399443" y="2429608"/>
            <a:ext cx="331177" cy="196362"/>
          </a:xfrm>
          <a:prstGeom prst="rect">
            <a:avLst/>
          </a:prstGeom>
          <a:noFill/>
          <a:extLst>
            <a:ext uri="{909E8E84-426E-40DD-AFC4-6F175D3DCCD1}">
              <a14:hiddenFill xmlns:a14="http://schemas.microsoft.com/office/drawing/2010/main">
                <a:solidFill>
                  <a:scrgbClr r="0" g="0" b="0"/>
                </a:solidFill>
              </a14:hiddenFill>
            </a:ext>
          </a:extLst>
        </p:spPr>
        <p:txBody>
          <a:bodyPr wrap="none" lIns="23446" tIns="0" rIns="23446"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252E98B0-7429-4BA8-BD44-9AAB0A0313A3}" type="datetime'''''''''''''''''1''''''''''''''''''''''4''''''%'''''">
              <a:rPr lang="en-US" sz="1292">
                <a:sym typeface="+mn-lt"/>
              </a:rPr>
              <a:pPr marL="0" indent="0" algn="ctr">
                <a:spcBef>
                  <a:spcPct val="0"/>
                </a:spcBef>
                <a:spcAft>
                  <a:spcPct val="0"/>
                </a:spcAft>
                <a:buNone/>
              </a:pPr>
              <a:t>14%</a:t>
            </a:fld>
            <a:endParaRPr lang="en-US" sz="1292" dirty="0">
              <a:sym typeface="+mn-lt"/>
            </a:endParaRPr>
          </a:p>
        </p:txBody>
      </p:sp>
      <p:sp>
        <p:nvSpPr>
          <p:cNvPr id="44" name="Text Placeholder 4"/>
          <p:cNvSpPr>
            <a:spLocks noGrp="1"/>
          </p:cNvSpPr>
          <p:nvPr>
            <p:custDataLst>
              <p:tags r:id="rId7"/>
            </p:custDataLst>
          </p:nvPr>
        </p:nvSpPr>
        <p:spPr bwMode="gray">
          <a:xfrm>
            <a:off x="1399443" y="3757246"/>
            <a:ext cx="331177" cy="196362"/>
          </a:xfrm>
          <a:prstGeom prst="rect">
            <a:avLst/>
          </a:prstGeom>
          <a:noFill/>
          <a:extLst>
            <a:ext uri="{909E8E84-426E-40DD-AFC4-6F175D3DCCD1}">
              <a14:hiddenFill xmlns:a14="http://schemas.microsoft.com/office/drawing/2010/main">
                <a:solidFill>
                  <a:scrgbClr r="0" g="0" b="0"/>
                </a:solidFill>
              </a14:hiddenFill>
            </a:ext>
          </a:extLst>
        </p:spPr>
        <p:txBody>
          <a:bodyPr wrap="none" lIns="23446" tIns="0" rIns="23446"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E6F84527-06B9-4301-BF01-4006FAC0AE86}" type="datetime'7''''''''''''''''5''''''''''''''''%'''''''''''''''''''">
              <a:rPr lang="en-US" sz="1292">
                <a:sym typeface="+mn-lt"/>
              </a:rPr>
              <a:pPr marL="0" indent="0" algn="ctr">
                <a:spcBef>
                  <a:spcPct val="0"/>
                </a:spcBef>
                <a:spcAft>
                  <a:spcPct val="0"/>
                </a:spcAft>
                <a:buNone/>
              </a:pPr>
              <a:t>75%</a:t>
            </a:fld>
            <a:endParaRPr lang="en-US" sz="1292" dirty="0">
              <a:sym typeface="+mn-lt"/>
            </a:endParaRPr>
          </a:p>
        </p:txBody>
      </p:sp>
      <p:sp>
        <p:nvSpPr>
          <p:cNvPr id="38" name="Rectangle 37"/>
          <p:cNvSpPr/>
          <p:nvPr>
            <p:custDataLst>
              <p:tags r:id="rId8"/>
            </p:custDataLst>
          </p:nvPr>
        </p:nvSpPr>
        <p:spPr bwMode="gray">
          <a:xfrm>
            <a:off x="1437543" y="1795097"/>
            <a:ext cx="256443" cy="168520"/>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20515" tIns="0" rIns="20515" bIns="0" rtlCol="0" anchor="b"/>
          <a:lstStyle/>
          <a:p>
            <a:pPr algn="ctr">
              <a:spcBef>
                <a:spcPct val="0"/>
              </a:spcBef>
              <a:spcAft>
                <a:spcPct val="0"/>
              </a:spcAft>
            </a:pPr>
            <a:fld id="{0403C3D4-17A6-4BF5-8673-DE2C71D031AE}" type="datetime'''''''''1''''''''''28'''''''''''''''''''''''">
              <a:rPr lang="en-US" sz="1108">
                <a:solidFill>
                  <a:schemeClr val="tx1"/>
                </a:solidFill>
              </a:rPr>
              <a:pPr/>
              <a:t>128</a:t>
            </a:fld>
            <a:endParaRPr lang="en-US" sz="1108" dirty="0">
              <a:solidFill>
                <a:schemeClr val="tx1"/>
              </a:solidFill>
              <a:sym typeface="+mn-lt"/>
            </a:endParaRPr>
          </a:p>
        </p:txBody>
      </p:sp>
      <p:sp>
        <p:nvSpPr>
          <p:cNvPr id="46" name="Rectangle 45"/>
          <p:cNvSpPr/>
          <p:nvPr>
            <p:custDataLst>
              <p:tags r:id="rId9"/>
            </p:custDataLst>
          </p:nvPr>
        </p:nvSpPr>
        <p:spPr bwMode="auto">
          <a:xfrm>
            <a:off x="574431" y="3686908"/>
            <a:ext cx="578827" cy="337038"/>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ja-JP" altLang="en-US" sz="1108" dirty="0" smtClean="0">
                <a:solidFill>
                  <a:schemeClr val="tx1"/>
                </a:solidFill>
              </a:rPr>
              <a:t>改良トイレ</a:t>
            </a:r>
            <a:endParaRPr lang="en-US" sz="1108" dirty="0">
              <a:solidFill>
                <a:schemeClr val="tx1"/>
              </a:solidFill>
              <a:sym typeface="+mn-lt"/>
            </a:endParaRPr>
          </a:p>
        </p:txBody>
      </p:sp>
      <p:sp>
        <p:nvSpPr>
          <p:cNvPr id="40" name="Rectangle 39"/>
          <p:cNvSpPr/>
          <p:nvPr>
            <p:custDataLst>
              <p:tags r:id="rId10"/>
            </p:custDataLst>
          </p:nvPr>
        </p:nvSpPr>
        <p:spPr bwMode="auto">
          <a:xfrm>
            <a:off x="430823" y="2370992"/>
            <a:ext cx="722435" cy="505558"/>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ja-JP" altLang="en-US" sz="1108" dirty="0" smtClean="0">
                <a:solidFill>
                  <a:schemeClr val="tx1"/>
                </a:solidFill>
              </a:rPr>
              <a:t>非改良</a:t>
            </a:r>
          </a:p>
          <a:p>
            <a:pPr algn="r">
              <a:spcBef>
                <a:spcPct val="0"/>
              </a:spcBef>
              <a:spcAft>
                <a:spcPct val="0"/>
              </a:spcAft>
            </a:pPr>
            <a:r>
              <a:rPr lang="ja-JP" altLang="en-US" sz="1108" dirty="0" smtClean="0">
                <a:solidFill>
                  <a:schemeClr val="tx1"/>
                </a:solidFill>
              </a:rPr>
              <a:t>トイレ</a:t>
            </a:r>
            <a:endParaRPr lang="en-US" sz="1108" dirty="0">
              <a:solidFill>
                <a:schemeClr val="tx1"/>
              </a:solidFill>
              <a:sym typeface="+mn-lt"/>
            </a:endParaRPr>
          </a:p>
        </p:txBody>
      </p:sp>
      <p:sp>
        <p:nvSpPr>
          <p:cNvPr id="37" name="Rectangle 36"/>
          <p:cNvSpPr/>
          <p:nvPr>
            <p:custDataLst>
              <p:tags r:id="rId11"/>
            </p:custDataLst>
          </p:nvPr>
        </p:nvSpPr>
        <p:spPr bwMode="auto">
          <a:xfrm>
            <a:off x="549520" y="1987062"/>
            <a:ext cx="603738" cy="337038"/>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ja-JP" altLang="en-US" sz="1108" dirty="0" smtClean="0">
                <a:solidFill>
                  <a:schemeClr val="tx1"/>
                </a:solidFill>
                <a:sym typeface="+mn-lt"/>
              </a:rPr>
              <a:t>野外排泄</a:t>
            </a:r>
            <a:endParaRPr lang="en-US" sz="1108" dirty="0">
              <a:solidFill>
                <a:schemeClr val="tx1"/>
              </a:solidFill>
              <a:sym typeface="+mn-lt"/>
            </a:endParaRPr>
          </a:p>
        </p:txBody>
      </p:sp>
      <p:cxnSp>
        <p:nvCxnSpPr>
          <p:cNvPr id="17" name="Straight Connector 16"/>
          <p:cNvCxnSpPr/>
          <p:nvPr/>
        </p:nvCxnSpPr>
        <p:spPr bwMode="auto">
          <a:xfrm flipV="1">
            <a:off x="4062047" y="1987062"/>
            <a:ext cx="79131" cy="11723"/>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773723" y="4959068"/>
            <a:ext cx="1617785" cy="675249"/>
          </a:xfrm>
          <a:prstGeom prst="rect">
            <a:avLst/>
          </a:prstGeom>
          <a:noFill/>
        </p:spPr>
        <p:txBody>
          <a:bodyPr wrap="square" lIns="84406" tIns="84406" rIns="0" bIns="0" rtlCol="0">
            <a:noAutofit/>
          </a:bodyPr>
          <a:lstStyle/>
          <a:p>
            <a:r>
              <a:rPr lang="ja-JP" altLang="en-US" sz="1015" b="1" dirty="0" smtClean="0">
                <a:solidFill>
                  <a:srgbClr val="000000"/>
                </a:solidFill>
              </a:rPr>
              <a:t>インドの家庭でアクセスできるトイレのタイプ</a:t>
            </a:r>
            <a:r>
              <a:rPr lang="en-GB" sz="1015" b="1" baseline="30000" dirty="0" smtClean="0">
                <a:solidFill>
                  <a:srgbClr val="000000"/>
                </a:solidFill>
              </a:rPr>
              <a:t>1</a:t>
            </a:r>
            <a:endParaRPr lang="en-GB" sz="1015" b="1" baseline="30000" dirty="0">
              <a:solidFill>
                <a:srgbClr val="000000"/>
              </a:solidFill>
            </a:endParaRPr>
          </a:p>
          <a:p>
            <a:pPr marL="213952" indent="-213952"/>
            <a:r>
              <a:rPr lang="ja-JP" altLang="en-US" sz="923" i="1" dirty="0" smtClean="0">
                <a:solidFill>
                  <a:srgbClr val="000000"/>
                </a:solidFill>
              </a:rPr>
              <a:t>（単位　千世帯）</a:t>
            </a:r>
            <a:endParaRPr lang="en-GB" sz="923" i="1" dirty="0">
              <a:solidFill>
                <a:srgbClr val="000000"/>
              </a:solidFill>
            </a:endParaRPr>
          </a:p>
        </p:txBody>
      </p:sp>
      <p:graphicFrame>
        <p:nvGraphicFramePr>
          <p:cNvPr id="98" name="Object 97"/>
          <p:cNvGraphicFramePr>
            <a:graphicFrameLocks/>
          </p:cNvGraphicFramePr>
          <p:nvPr>
            <p:custDataLst>
              <p:tags r:id="rId12"/>
            </p:custDataLst>
            <p:extLst/>
          </p:nvPr>
        </p:nvGraphicFramePr>
        <p:xfrm>
          <a:off x="3798277" y="1881555"/>
          <a:ext cx="1274785" cy="3191611"/>
        </p:xfrm>
        <a:graphic>
          <a:graphicData uri="http://schemas.openxmlformats.org/presentationml/2006/ole">
            <mc:AlternateContent xmlns:mc="http://schemas.openxmlformats.org/markup-compatibility/2006">
              <mc:Choice xmlns:v="urn:schemas-microsoft-com:vml" Requires="v">
                <p:oleObj spid="_x0000_s935956" name="Chart" r:id="rId34" imgW="1381017" imgH="3457579" progId="MSGraph.Chart.8">
                  <p:embed followColorScheme="full"/>
                </p:oleObj>
              </mc:Choice>
              <mc:Fallback>
                <p:oleObj name="Chart" r:id="rId34" imgW="1381017" imgH="3457579" progId="MSGraph.Chart.8">
                  <p:embed followColorScheme="full"/>
                  <p:pic>
                    <p:nvPicPr>
                      <p:cNvPr id="0" name=""/>
                      <p:cNvPicPr/>
                      <p:nvPr/>
                    </p:nvPicPr>
                    <p:blipFill>
                      <a:blip r:embed="rId35"/>
                      <a:stretch>
                        <a:fillRect/>
                      </a:stretch>
                    </p:blipFill>
                    <p:spPr>
                      <a:xfrm>
                        <a:off x="3798277" y="1881555"/>
                        <a:ext cx="1274785" cy="3191611"/>
                      </a:xfrm>
                      <a:prstGeom prst="rect">
                        <a:avLst/>
                      </a:prstGeom>
                    </p:spPr>
                  </p:pic>
                </p:oleObj>
              </mc:Fallback>
            </mc:AlternateContent>
          </a:graphicData>
        </a:graphic>
      </p:graphicFrame>
      <p:sp>
        <p:nvSpPr>
          <p:cNvPr id="69" name="Text Placeholder 34"/>
          <p:cNvSpPr>
            <a:spLocks noGrp="1"/>
          </p:cNvSpPr>
          <p:nvPr>
            <p:custDataLst>
              <p:tags r:id="rId13"/>
            </p:custDataLst>
          </p:nvPr>
        </p:nvSpPr>
        <p:spPr bwMode="gray">
          <a:xfrm>
            <a:off x="4324351" y="1992923"/>
            <a:ext cx="196362" cy="155331"/>
          </a:xfrm>
          <a:prstGeom prst="rect">
            <a:avLst/>
          </a:prstGeom>
          <a:noFill/>
          <a:extLst>
            <a:ext uri="{909E8E84-426E-40DD-AFC4-6F175D3DCCD1}">
              <a14:hiddenFill xmlns:a14="http://schemas.microsoft.com/office/drawing/2010/main">
                <a:solidFill>
                  <a:scrgbClr r="0" g="0" b="0"/>
                </a:solidFill>
              </a14:hiddenFill>
            </a:ext>
          </a:extLst>
        </p:spPr>
        <p:txBody>
          <a:bodyPr wrap="none" lIns="19050" tIns="0" rIns="1905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CB7F4F1-B85A-4E78-8CC8-5C64294CAB65}" type="datetime'''''''''''''''''''''''''''''''''''''''''6''''%'''''''''''''">
              <a:rPr lang="en-US" sz="1015">
                <a:solidFill>
                  <a:schemeClr val="bg1"/>
                </a:solidFill>
              </a:rPr>
              <a:pPr marL="0" indent="0" algn="ctr">
                <a:spcBef>
                  <a:spcPct val="0"/>
                </a:spcBef>
                <a:spcAft>
                  <a:spcPct val="0"/>
                </a:spcAft>
                <a:buNone/>
              </a:pPr>
              <a:t>6%</a:t>
            </a:fld>
            <a:endParaRPr lang="en-US" sz="1015" dirty="0">
              <a:solidFill>
                <a:schemeClr val="bg1"/>
              </a:solidFill>
              <a:latin typeface="Calibri" panose="020F0502020204030204" pitchFamily="34" charset="0"/>
              <a:sym typeface="Calibri" panose="020F0502020204030204" pitchFamily="34" charset="0"/>
            </a:endParaRPr>
          </a:p>
        </p:txBody>
      </p:sp>
      <p:sp>
        <p:nvSpPr>
          <p:cNvPr id="68" name="Text Placeholder 33"/>
          <p:cNvSpPr>
            <a:spLocks noGrp="1"/>
          </p:cNvSpPr>
          <p:nvPr>
            <p:custDataLst>
              <p:tags r:id="rId14"/>
            </p:custDataLst>
          </p:nvPr>
        </p:nvSpPr>
        <p:spPr bwMode="gray">
          <a:xfrm>
            <a:off x="4292113" y="2283070"/>
            <a:ext cx="262304" cy="155331"/>
          </a:xfrm>
          <a:prstGeom prst="rect">
            <a:avLst/>
          </a:prstGeom>
          <a:noFill/>
          <a:extLst>
            <a:ext uri="{909E8E84-426E-40DD-AFC4-6F175D3DCCD1}">
              <a14:hiddenFill xmlns:a14="http://schemas.microsoft.com/office/drawing/2010/main">
                <a:solidFill>
                  <a:scrgbClr r="0" g="0" b="0"/>
                </a:solidFill>
              </a14:hiddenFill>
            </a:ext>
          </a:extLst>
        </p:spPr>
        <p:txBody>
          <a:bodyPr wrap="none" lIns="19050" tIns="0" rIns="1905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2BDCB560-6E54-44D1-8818-5465470FDF4C}" type="datetime'''''1''''''''''''''''''''''''''4''''%'">
              <a:rPr lang="en-US" sz="1015">
                <a:solidFill>
                  <a:schemeClr val="bg1"/>
                </a:solidFill>
              </a:rPr>
              <a:pPr marL="0" indent="0" algn="ctr">
                <a:spcBef>
                  <a:spcPct val="0"/>
                </a:spcBef>
                <a:spcAft>
                  <a:spcPct val="0"/>
                </a:spcAft>
                <a:buNone/>
              </a:pPr>
              <a:t>14%</a:t>
            </a:fld>
            <a:endParaRPr lang="en-US" sz="1015" dirty="0">
              <a:solidFill>
                <a:schemeClr val="bg1"/>
              </a:solidFill>
              <a:latin typeface="Calibri" panose="020F0502020204030204" pitchFamily="34" charset="0"/>
              <a:sym typeface="Calibri" panose="020F0502020204030204" pitchFamily="34" charset="0"/>
            </a:endParaRPr>
          </a:p>
        </p:txBody>
      </p:sp>
      <p:sp>
        <p:nvSpPr>
          <p:cNvPr id="67" name="Text Placeholder 32"/>
          <p:cNvSpPr>
            <a:spLocks noGrp="1"/>
          </p:cNvSpPr>
          <p:nvPr>
            <p:custDataLst>
              <p:tags r:id="rId15"/>
            </p:custDataLst>
          </p:nvPr>
        </p:nvSpPr>
        <p:spPr bwMode="gray">
          <a:xfrm>
            <a:off x="4292113" y="3496408"/>
            <a:ext cx="262304" cy="155331"/>
          </a:xfrm>
          <a:prstGeom prst="rect">
            <a:avLst/>
          </a:prstGeom>
          <a:noFill/>
          <a:extLst>
            <a:ext uri="{909E8E84-426E-40DD-AFC4-6F175D3DCCD1}">
              <a14:hiddenFill xmlns:a14="http://schemas.microsoft.com/office/drawing/2010/main">
                <a:solidFill>
                  <a:srgbClr val="969696"/>
                </a:solidFill>
              </a14:hiddenFill>
            </a:ext>
          </a:extLst>
        </p:spPr>
        <p:txBody>
          <a:bodyPr wrap="none" lIns="19050" tIns="0" rIns="1905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49158765-42A0-439C-A511-BCF8B4E65202}" type="datetime'''''6''''''''''''''''7''''''''''''''''''''''%'''">
              <a:rPr lang="en-US" sz="1015"/>
              <a:pPr marL="0" indent="0" algn="ctr">
                <a:spcBef>
                  <a:spcPct val="0"/>
                </a:spcBef>
                <a:spcAft>
                  <a:spcPct val="0"/>
                </a:spcAft>
                <a:buNone/>
              </a:pPr>
              <a:t>67%</a:t>
            </a:fld>
            <a:endParaRPr lang="en-US" sz="1015" dirty="0">
              <a:sym typeface="+mn-lt"/>
            </a:endParaRPr>
          </a:p>
        </p:txBody>
      </p:sp>
      <p:sp>
        <p:nvSpPr>
          <p:cNvPr id="61" name="Text Placeholder 29"/>
          <p:cNvSpPr>
            <a:spLocks noGrp="1"/>
          </p:cNvSpPr>
          <p:nvPr>
            <p:custDataLst>
              <p:tags r:id="rId16"/>
            </p:custDataLst>
          </p:nvPr>
        </p:nvSpPr>
        <p:spPr bwMode="auto">
          <a:xfrm>
            <a:off x="3527181" y="4700954"/>
            <a:ext cx="511420" cy="155331"/>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ja-JP" altLang="en-US" sz="1015" dirty="0" smtClean="0">
                <a:sym typeface="+mn-lt"/>
              </a:rPr>
              <a:t>下水施設</a:t>
            </a:r>
            <a:endParaRPr lang="en-US" sz="1015" dirty="0">
              <a:sym typeface="+mn-lt"/>
            </a:endParaRPr>
          </a:p>
        </p:txBody>
      </p:sp>
      <p:sp>
        <p:nvSpPr>
          <p:cNvPr id="60" name="Text Placeholder 28"/>
          <p:cNvSpPr>
            <a:spLocks noGrp="1"/>
          </p:cNvSpPr>
          <p:nvPr>
            <p:custDataLst>
              <p:tags r:id="rId17"/>
            </p:custDataLst>
          </p:nvPr>
        </p:nvSpPr>
        <p:spPr bwMode="auto">
          <a:xfrm>
            <a:off x="3412882" y="3496408"/>
            <a:ext cx="625720" cy="155331"/>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ja-JP" altLang="en-US" sz="1015" dirty="0" smtClean="0">
                <a:sym typeface="+mn-lt"/>
              </a:rPr>
              <a:t>浄化槽</a:t>
            </a:r>
            <a:endParaRPr lang="en-US" sz="1015" dirty="0">
              <a:sym typeface="+mn-lt"/>
            </a:endParaRPr>
          </a:p>
        </p:txBody>
      </p:sp>
      <p:sp>
        <p:nvSpPr>
          <p:cNvPr id="58" name="Text Placeholder 26"/>
          <p:cNvSpPr>
            <a:spLocks noGrp="1"/>
          </p:cNvSpPr>
          <p:nvPr>
            <p:custDataLst>
              <p:tags r:id="rId18"/>
            </p:custDataLst>
          </p:nvPr>
        </p:nvSpPr>
        <p:spPr bwMode="auto">
          <a:xfrm>
            <a:off x="3640015" y="1992923"/>
            <a:ext cx="398585" cy="155331"/>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ja-JP" altLang="en-US" sz="1015" baseline="30000" dirty="0" smtClean="0">
                <a:sym typeface="+mn-lt"/>
              </a:rPr>
              <a:t>その他</a:t>
            </a:r>
            <a:r>
              <a:rPr lang="en-US" sz="1015" baseline="30000" dirty="0" smtClean="0">
                <a:sym typeface="+mn-lt"/>
              </a:rPr>
              <a:t>2</a:t>
            </a:r>
            <a:endParaRPr lang="en-US" sz="1015" baseline="30000" dirty="0">
              <a:sym typeface="+mn-lt"/>
            </a:endParaRPr>
          </a:p>
        </p:txBody>
      </p:sp>
      <p:sp>
        <p:nvSpPr>
          <p:cNvPr id="66" name="Text Placeholder 31"/>
          <p:cNvSpPr>
            <a:spLocks noGrp="1"/>
          </p:cNvSpPr>
          <p:nvPr>
            <p:custDataLst>
              <p:tags r:id="rId19"/>
            </p:custDataLst>
          </p:nvPr>
        </p:nvSpPr>
        <p:spPr bwMode="gray">
          <a:xfrm>
            <a:off x="4292113" y="4700954"/>
            <a:ext cx="262304" cy="155331"/>
          </a:xfrm>
          <a:prstGeom prst="rect">
            <a:avLst/>
          </a:prstGeom>
          <a:noFill/>
          <a:extLst>
            <a:ext uri="{909E8E84-426E-40DD-AFC4-6F175D3DCCD1}">
              <a14:hiddenFill xmlns:a14="http://schemas.microsoft.com/office/drawing/2010/main">
                <a:solidFill>
                  <a:srgbClr val="C0C0C0"/>
                </a:solidFill>
              </a14:hiddenFill>
            </a:ext>
          </a:extLst>
        </p:spPr>
        <p:txBody>
          <a:bodyPr wrap="none" lIns="19050" tIns="0" rIns="1905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0297E2FB-E17A-44B5-9492-5D982069C15C}" type="datetime'''''''''13%'''''''''''''''''''''''''">
              <a:rPr lang="en-US" sz="1015"/>
              <a:pPr marL="0" indent="0" algn="ctr">
                <a:spcBef>
                  <a:spcPct val="0"/>
                </a:spcBef>
                <a:spcAft>
                  <a:spcPct val="0"/>
                </a:spcAft>
                <a:buNone/>
              </a:pPr>
              <a:t>13%</a:t>
            </a:fld>
            <a:endParaRPr lang="en-US" sz="1015" dirty="0">
              <a:sym typeface="+mn-lt"/>
            </a:endParaRPr>
          </a:p>
        </p:txBody>
      </p:sp>
      <p:sp>
        <p:nvSpPr>
          <p:cNvPr id="62" name="Text Placeholder 30"/>
          <p:cNvSpPr>
            <a:spLocks noGrp="1"/>
          </p:cNvSpPr>
          <p:nvPr>
            <p:custDataLst>
              <p:tags r:id="rId20"/>
            </p:custDataLst>
          </p:nvPr>
        </p:nvSpPr>
        <p:spPr bwMode="gray">
          <a:xfrm>
            <a:off x="4305300" y="1808285"/>
            <a:ext cx="235927" cy="155331"/>
          </a:xfrm>
          <a:prstGeom prst="rect">
            <a:avLst/>
          </a:prstGeom>
          <a:noFill/>
          <a:extLst>
            <a:ext uri="{909E8E84-426E-40DD-AFC4-6F175D3DCCD1}">
              <a14:hiddenFill xmlns:a14="http://schemas.microsoft.com/office/drawing/2010/main">
                <a:solidFill>
                  <a:scrgbClr r="0" g="0" b="0"/>
                </a:solidFill>
              </a14:hiddenFill>
            </a:ext>
          </a:extLst>
        </p:spPr>
        <p:txBody>
          <a:bodyPr wrap="none" lIns="19050" tIns="0" rIns="19050" bIns="0" numCol="1" spcCol="0" anchor="b"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353AD5B-C288-453A-B936-D84E4F3E0435}" type="datetime'''''''1''''''''''''''''''1''''''''''''''''''4'">
              <a:rPr lang="en-US" sz="1015"/>
              <a:pPr marL="0" indent="0" algn="ctr">
                <a:spcBef>
                  <a:spcPct val="0"/>
                </a:spcBef>
                <a:spcAft>
                  <a:spcPct val="0"/>
                </a:spcAft>
                <a:buNone/>
              </a:pPr>
              <a:t>114</a:t>
            </a:fld>
            <a:endParaRPr lang="en-US" sz="1015" dirty="0">
              <a:sym typeface="+mn-lt"/>
            </a:endParaRPr>
          </a:p>
        </p:txBody>
      </p:sp>
      <p:sp>
        <p:nvSpPr>
          <p:cNvPr id="59" name="Text Placeholder 27"/>
          <p:cNvSpPr>
            <a:spLocks noGrp="1"/>
          </p:cNvSpPr>
          <p:nvPr>
            <p:custDataLst>
              <p:tags r:id="rId21"/>
            </p:custDataLst>
          </p:nvPr>
        </p:nvSpPr>
        <p:spPr bwMode="auto">
          <a:xfrm>
            <a:off x="3546231" y="2283070"/>
            <a:ext cx="492369" cy="155331"/>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ja-JP" altLang="en-US" sz="1015" dirty="0" smtClean="0">
                <a:sym typeface="+mn-lt"/>
              </a:rPr>
              <a:t>ピットトイレ</a:t>
            </a:r>
            <a:endParaRPr lang="en-US" sz="1015" dirty="0">
              <a:sym typeface="+mn-lt"/>
            </a:endParaRPr>
          </a:p>
        </p:txBody>
      </p:sp>
      <p:sp>
        <p:nvSpPr>
          <p:cNvPr id="113" name="TextBox 112"/>
          <p:cNvSpPr txBox="1"/>
          <p:nvPr/>
        </p:nvSpPr>
        <p:spPr>
          <a:xfrm>
            <a:off x="3616669" y="4959068"/>
            <a:ext cx="1799393" cy="675249"/>
          </a:xfrm>
          <a:prstGeom prst="rect">
            <a:avLst/>
          </a:prstGeom>
          <a:noFill/>
        </p:spPr>
        <p:txBody>
          <a:bodyPr wrap="square" lIns="84406" tIns="84406" rIns="0" bIns="0" rtlCol="0">
            <a:noAutofit/>
          </a:bodyPr>
          <a:lstStyle/>
          <a:p>
            <a:r>
              <a:rPr lang="ja-JP" altLang="en-US" sz="1015" b="1" dirty="0" smtClean="0">
                <a:solidFill>
                  <a:srgbClr val="000000"/>
                </a:solidFill>
              </a:rPr>
              <a:t>インドでトイレを利用する家庭での排泄物の処理方法</a:t>
            </a:r>
            <a:endParaRPr lang="en-GB" sz="1015" b="1" dirty="0">
              <a:solidFill>
                <a:srgbClr val="000000"/>
              </a:solidFill>
            </a:endParaRPr>
          </a:p>
          <a:p>
            <a:pPr marL="213952" indent="-213952"/>
            <a:r>
              <a:rPr lang="ja-JP" altLang="en-US" sz="923" i="1" dirty="0" smtClean="0">
                <a:solidFill>
                  <a:srgbClr val="000000"/>
                </a:solidFill>
              </a:rPr>
              <a:t>（単位　千世帯）</a:t>
            </a:r>
            <a:endParaRPr lang="en-GB" sz="923" i="1" dirty="0">
              <a:solidFill>
                <a:srgbClr val="000000"/>
              </a:solidFill>
            </a:endParaRPr>
          </a:p>
        </p:txBody>
      </p:sp>
      <p:sp>
        <p:nvSpPr>
          <p:cNvPr id="33" name="Text Placeholder 1"/>
          <p:cNvSpPr>
            <a:spLocks noGrp="1"/>
          </p:cNvSpPr>
          <p:nvPr/>
        </p:nvSpPr>
        <p:spPr bwMode="gray">
          <a:xfrm>
            <a:off x="492370" y="1113692"/>
            <a:ext cx="2570285" cy="533400"/>
          </a:xfrm>
          <a:prstGeom prst="chevron">
            <a:avLst>
              <a:gd name="adj" fmla="val 18132"/>
            </a:avLst>
          </a:prstGeom>
          <a:solidFill>
            <a:schemeClr val="bg1">
              <a:lumMod val="75000"/>
            </a:schemeClr>
          </a:solidFill>
          <a:ln w="9525">
            <a:noFill/>
          </a:ln>
          <a:extLst/>
        </p:spPr>
        <p:txBody>
          <a:bodyPr wrap="square" lIns="41031" tIns="123092" rIns="0" bIns="123092"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1292" b="1" dirty="0" smtClean="0">
                <a:solidFill>
                  <a:srgbClr val="FFFFFF"/>
                </a:solidFill>
                <a:sym typeface="+mn-lt"/>
              </a:rPr>
              <a:t>アクセス</a:t>
            </a:r>
            <a:r>
              <a:rPr lang="en-GB" sz="1292" b="1" dirty="0" smtClean="0">
                <a:solidFill>
                  <a:srgbClr val="FFFFFF"/>
                </a:solidFill>
                <a:sym typeface="+mn-lt"/>
              </a:rPr>
              <a:t> </a:t>
            </a:r>
            <a:endParaRPr lang="en-GB" sz="1292" b="1" dirty="0">
              <a:solidFill>
                <a:srgbClr val="FFFFFF"/>
              </a:solidFill>
              <a:sym typeface="+mn-lt"/>
            </a:endParaRPr>
          </a:p>
        </p:txBody>
      </p:sp>
      <p:sp>
        <p:nvSpPr>
          <p:cNvPr id="34" name="Text Placeholder 1"/>
          <p:cNvSpPr>
            <a:spLocks noGrp="1"/>
          </p:cNvSpPr>
          <p:nvPr>
            <p:custDataLst>
              <p:tags r:id="rId22"/>
            </p:custDataLst>
          </p:nvPr>
        </p:nvSpPr>
        <p:spPr bwMode="gray">
          <a:xfrm>
            <a:off x="5739912" y="1107831"/>
            <a:ext cx="2919046" cy="539262"/>
          </a:xfrm>
          <a:prstGeom prst="chevron">
            <a:avLst>
              <a:gd name="adj" fmla="val 18207"/>
            </a:avLst>
          </a:prstGeom>
          <a:solidFill>
            <a:srgbClr val="67103F"/>
          </a:solidFill>
          <a:ln w="9525">
            <a:noFill/>
          </a:ln>
          <a:extLst>
            <a:ext uri="{91240B29-F687-4F45-9708-019B960494DF}">
              <a14:hiddenLine xmlns:a14="http://schemas.microsoft.com/office/drawing/2010/main" w="9525">
                <a:solidFill>
                  <a:schemeClr val="tx1"/>
                </a:solidFill>
              </a14:hiddenLine>
            </a:ext>
          </a:extLst>
        </p:spPr>
        <p:txBody>
          <a:bodyPr wrap="square" lIns="41031" tIns="123092" rIns="0" bIns="123092"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1292" b="1" dirty="0" smtClean="0">
                <a:solidFill>
                  <a:srgbClr val="FFFFFF"/>
                </a:solidFill>
                <a:sym typeface="+mn-lt"/>
              </a:rPr>
              <a:t>処理と再利用</a:t>
            </a:r>
            <a:endParaRPr lang="en-GB" sz="1292" b="1" dirty="0">
              <a:solidFill>
                <a:srgbClr val="FFFFFF"/>
              </a:solidFill>
              <a:sym typeface="+mn-lt"/>
            </a:endParaRPr>
          </a:p>
        </p:txBody>
      </p:sp>
      <p:sp>
        <p:nvSpPr>
          <p:cNvPr id="35" name="Text Placeholder 1"/>
          <p:cNvSpPr>
            <a:spLocks noGrp="1"/>
          </p:cNvSpPr>
          <p:nvPr/>
        </p:nvSpPr>
        <p:spPr bwMode="gray">
          <a:xfrm>
            <a:off x="3027485" y="1107831"/>
            <a:ext cx="2718289" cy="533400"/>
          </a:xfrm>
          <a:prstGeom prst="chevron">
            <a:avLst>
              <a:gd name="adj" fmla="val 18132"/>
            </a:avLst>
          </a:prstGeom>
          <a:solidFill>
            <a:schemeClr val="bg1">
              <a:lumMod val="75000"/>
            </a:schemeClr>
          </a:solidFill>
          <a:ln w="9525">
            <a:noFill/>
          </a:ln>
          <a:extLst/>
        </p:spPr>
        <p:txBody>
          <a:bodyPr wrap="square" lIns="39566" tIns="121627" rIns="0" bIns="123092"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1292" b="1" dirty="0" smtClean="0">
                <a:solidFill>
                  <a:srgbClr val="FFFFFF"/>
                </a:solidFill>
                <a:sym typeface="+mn-lt"/>
              </a:rPr>
              <a:t>収集と運搬</a:t>
            </a:r>
            <a:r>
              <a:rPr lang="en-GB" sz="1292" b="1" dirty="0" smtClean="0">
                <a:solidFill>
                  <a:srgbClr val="FFFFFF"/>
                </a:solidFill>
                <a:sym typeface="+mn-lt"/>
              </a:rPr>
              <a:t> </a:t>
            </a:r>
            <a:endParaRPr lang="en-GB" sz="1292" b="1" dirty="0">
              <a:solidFill>
                <a:srgbClr val="FFFFFF"/>
              </a:solidFill>
              <a:sym typeface="+mn-lt"/>
            </a:endParaRPr>
          </a:p>
        </p:txBody>
      </p:sp>
      <p:graphicFrame>
        <p:nvGraphicFramePr>
          <p:cNvPr id="11" name="Object 10"/>
          <p:cNvGraphicFramePr>
            <a:graphicFrameLocks/>
          </p:cNvGraphicFramePr>
          <p:nvPr>
            <p:custDataLst>
              <p:tags r:id="rId23"/>
            </p:custDataLst>
            <p:extLst>
              <p:ext uri="{D42A27DB-BD31-4B8C-83A1-F6EECF244321}">
                <p14:modId xmlns:p14="http://schemas.microsoft.com/office/powerpoint/2010/main" val="2055561343"/>
              </p:ext>
            </p:extLst>
          </p:nvPr>
        </p:nvGraphicFramePr>
        <p:xfrm>
          <a:off x="6477000" y="1866900"/>
          <a:ext cx="1381017" cy="3190885"/>
        </p:xfrm>
        <a:graphic>
          <a:graphicData uri="http://schemas.openxmlformats.org/presentationml/2006/ole">
            <mc:AlternateContent xmlns:mc="http://schemas.openxmlformats.org/markup-compatibility/2006">
              <mc:Choice xmlns:v="urn:schemas-microsoft-com:vml" Requires="v">
                <p:oleObj spid="_x0000_s935957" name="Chart" r:id="rId36" imgW="1381017" imgH="3190885" progId="MSGraph.Chart.8">
                  <p:embed followColorScheme="full"/>
                </p:oleObj>
              </mc:Choice>
              <mc:Fallback>
                <p:oleObj name="Chart" r:id="rId36" imgW="1381017" imgH="3190885" progId="MSGraph.Chart.8">
                  <p:embed followColorScheme="full"/>
                  <p:pic>
                    <p:nvPicPr>
                      <p:cNvPr id="0" name=""/>
                      <p:cNvPicPr/>
                      <p:nvPr/>
                    </p:nvPicPr>
                    <p:blipFill>
                      <a:blip r:embed="rId37"/>
                      <a:stretch>
                        <a:fillRect/>
                      </a:stretch>
                    </p:blipFill>
                    <p:spPr>
                      <a:xfrm>
                        <a:off x="6477000" y="1866900"/>
                        <a:ext cx="1381017" cy="3190885"/>
                      </a:xfrm>
                      <a:prstGeom prst="rect">
                        <a:avLst/>
                      </a:prstGeom>
                    </p:spPr>
                  </p:pic>
                </p:oleObj>
              </mc:Fallback>
            </mc:AlternateContent>
          </a:graphicData>
        </a:graphic>
      </p:graphicFrame>
      <p:sp>
        <p:nvSpPr>
          <p:cNvPr id="7" name="Rectangle 6"/>
          <p:cNvSpPr/>
          <p:nvPr>
            <p:custDataLst>
              <p:tags r:id="rId24"/>
            </p:custDataLst>
          </p:nvPr>
        </p:nvSpPr>
        <p:spPr bwMode="auto">
          <a:xfrm>
            <a:off x="6242050" y="4294188"/>
            <a:ext cx="446088" cy="337038"/>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ja-JP" altLang="en-US" sz="1108" dirty="0" smtClean="0">
                <a:solidFill>
                  <a:schemeClr val="tx1"/>
                </a:solidFill>
                <a:latin typeface="Calibri"/>
                <a:sym typeface="Calibri"/>
              </a:rPr>
              <a:t>処理済み</a:t>
            </a:r>
            <a:endParaRPr lang="en-US" sz="1108" dirty="0">
              <a:solidFill>
                <a:schemeClr val="tx1"/>
              </a:solidFill>
              <a:latin typeface="Calibri"/>
              <a:sym typeface="Calibri"/>
            </a:endParaRPr>
          </a:p>
        </p:txBody>
      </p:sp>
      <p:sp>
        <p:nvSpPr>
          <p:cNvPr id="63" name="Rectangle 62"/>
          <p:cNvSpPr/>
          <p:nvPr>
            <p:custDataLst>
              <p:tags r:id="rId25"/>
            </p:custDataLst>
          </p:nvPr>
        </p:nvSpPr>
        <p:spPr bwMode="auto">
          <a:xfrm>
            <a:off x="6097588" y="2808288"/>
            <a:ext cx="590550" cy="337038"/>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ja-JP" altLang="en-US" sz="1108" dirty="0" smtClean="0">
                <a:solidFill>
                  <a:schemeClr val="tx1"/>
                </a:solidFill>
                <a:sym typeface="+mn-lt"/>
              </a:rPr>
              <a:t>未処理</a:t>
            </a:r>
            <a:endParaRPr lang="en-US" sz="1108" dirty="0">
              <a:solidFill>
                <a:schemeClr val="tx1"/>
              </a:solidFill>
              <a:sym typeface="+mn-lt"/>
            </a:endParaRPr>
          </a:p>
        </p:txBody>
      </p:sp>
      <p:sp>
        <p:nvSpPr>
          <p:cNvPr id="64" name="Rectangle 63"/>
          <p:cNvSpPr/>
          <p:nvPr>
            <p:custDataLst>
              <p:tags r:id="rId26"/>
            </p:custDataLst>
          </p:nvPr>
        </p:nvSpPr>
        <p:spPr bwMode="gray">
          <a:xfrm>
            <a:off x="6894513" y="1797050"/>
            <a:ext cx="433388" cy="168520"/>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20638" tIns="0" rIns="20638" bIns="0" rtlCol="0" anchor="b"/>
          <a:lstStyle/>
          <a:p>
            <a:pPr algn="ctr">
              <a:spcBef>
                <a:spcPct val="0"/>
              </a:spcBef>
              <a:spcAft>
                <a:spcPct val="0"/>
              </a:spcAft>
            </a:pPr>
            <a:fld id="{51F7B051-9AFC-40EE-9EE6-46C9E2DDB156}" type="datetime'91,''''1''''''1''''''''''''''6'">
              <a:rPr lang="en-US" sz="1108">
                <a:solidFill>
                  <a:schemeClr val="tx1"/>
                </a:solidFill>
              </a:rPr>
              <a:pPr/>
              <a:t>91,116</a:t>
            </a:fld>
            <a:endParaRPr lang="en-US" sz="1108" dirty="0">
              <a:solidFill>
                <a:schemeClr val="tx1"/>
              </a:solidFill>
              <a:sym typeface="+mn-lt"/>
            </a:endParaRPr>
          </a:p>
        </p:txBody>
      </p:sp>
      <p:sp>
        <p:nvSpPr>
          <p:cNvPr id="70" name="Text Placeholder 43"/>
          <p:cNvSpPr>
            <a:spLocks noGrp="1"/>
          </p:cNvSpPr>
          <p:nvPr>
            <p:custDataLst>
              <p:tags r:id="rId27"/>
            </p:custDataLst>
          </p:nvPr>
        </p:nvSpPr>
        <p:spPr bwMode="gray">
          <a:xfrm>
            <a:off x="6945313" y="2878138"/>
            <a:ext cx="330200" cy="196362"/>
          </a:xfrm>
          <a:prstGeom prst="rect">
            <a:avLst/>
          </a:prstGeom>
          <a:noFill/>
          <a:extLst>
            <a:ext uri="{909E8E84-426E-40DD-AFC4-6F175D3DCCD1}">
              <a14:hiddenFill xmlns:a14="http://schemas.microsoft.com/office/drawing/2010/main">
                <a:solidFill>
                  <a:scrgbClr r="0" g="0" b="0"/>
                </a:solidFill>
              </a14:hiddenFill>
            </a:ext>
          </a:extLst>
        </p:spPr>
        <p:txBody>
          <a:bodyPr wrap="none" lIns="23813" tIns="0" rIns="23813"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91D735C-8183-4F12-AE14-D823FEA9AF75}" type="datetime'''''''''''''''''''''6''''6''''''''''''''''''''''''''''%'''">
              <a:rPr lang="en-US" sz="1292">
                <a:solidFill>
                  <a:schemeClr val="bg1"/>
                </a:solidFill>
                <a:sym typeface="+mn-lt"/>
              </a:rPr>
              <a:pPr marL="0" indent="0" algn="ctr">
                <a:spcBef>
                  <a:spcPct val="0"/>
                </a:spcBef>
                <a:spcAft>
                  <a:spcPct val="0"/>
                </a:spcAft>
                <a:buNone/>
              </a:pPr>
              <a:t>66%</a:t>
            </a:fld>
            <a:endParaRPr lang="en-US" sz="1292" dirty="0">
              <a:solidFill>
                <a:schemeClr val="bg1"/>
              </a:solidFill>
              <a:sym typeface="+mn-lt"/>
            </a:endParaRPr>
          </a:p>
        </p:txBody>
      </p:sp>
      <p:sp>
        <p:nvSpPr>
          <p:cNvPr id="65" name="Text Placeholder 42"/>
          <p:cNvSpPr>
            <a:spLocks noGrp="1"/>
          </p:cNvSpPr>
          <p:nvPr>
            <p:custDataLst>
              <p:tags r:id="rId28"/>
            </p:custDataLst>
          </p:nvPr>
        </p:nvSpPr>
        <p:spPr bwMode="gray">
          <a:xfrm>
            <a:off x="6945313" y="4364038"/>
            <a:ext cx="330200" cy="196362"/>
          </a:xfrm>
          <a:prstGeom prst="rect">
            <a:avLst/>
          </a:prstGeom>
          <a:noFill/>
          <a:extLst>
            <a:ext uri="{909E8E84-426E-40DD-AFC4-6F175D3DCCD1}">
              <a14:hiddenFill xmlns:a14="http://schemas.microsoft.com/office/drawing/2010/main">
                <a:solidFill>
                  <a:scrgbClr r="0" g="0" b="0"/>
                </a:solidFill>
              </a14:hiddenFill>
            </a:ext>
          </a:extLst>
        </p:spPr>
        <p:txBody>
          <a:bodyPr wrap="none" lIns="23813" tIns="0" rIns="23813"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2614C61-24A7-47ED-ACCA-F2115C508357}" type="datetime'''''3''''''''''''''''4''''''''''''''%'''''''''''''''">
              <a:rPr lang="en-US" sz="1292">
                <a:sym typeface="+mn-lt"/>
              </a:rPr>
              <a:pPr marL="0" indent="0" algn="ctr">
                <a:spcBef>
                  <a:spcPct val="0"/>
                </a:spcBef>
                <a:spcAft>
                  <a:spcPct val="0"/>
                </a:spcAft>
                <a:buNone/>
              </a:pPr>
              <a:t>34%</a:t>
            </a:fld>
            <a:endParaRPr lang="en-US" sz="1292" dirty="0">
              <a:sym typeface="+mn-lt"/>
            </a:endParaRPr>
          </a:p>
        </p:txBody>
      </p:sp>
      <p:sp>
        <p:nvSpPr>
          <p:cNvPr id="104" name="TextBox 103"/>
          <p:cNvSpPr txBox="1"/>
          <p:nvPr/>
        </p:nvSpPr>
        <p:spPr>
          <a:xfrm>
            <a:off x="6427277" y="4959068"/>
            <a:ext cx="1731985" cy="675249"/>
          </a:xfrm>
          <a:prstGeom prst="rect">
            <a:avLst/>
          </a:prstGeom>
          <a:noFill/>
        </p:spPr>
        <p:txBody>
          <a:bodyPr wrap="square" lIns="84406" tIns="84406" rIns="0" bIns="0" rtlCol="0">
            <a:noAutofit/>
          </a:bodyPr>
          <a:lstStyle/>
          <a:p>
            <a:r>
              <a:rPr lang="ja-JP" altLang="en-US" sz="1015" b="1" dirty="0" smtClean="0">
                <a:solidFill>
                  <a:srgbClr val="000000"/>
                </a:solidFill>
              </a:rPr>
              <a:t>インドの下水処理の分析</a:t>
            </a:r>
            <a:r>
              <a:rPr lang="en-GB" sz="1015" b="1" baseline="30000" dirty="0" smtClean="0">
                <a:solidFill>
                  <a:srgbClr val="000000"/>
                </a:solidFill>
              </a:rPr>
              <a:t>3,4</a:t>
            </a:r>
            <a:r>
              <a:rPr lang="en-GB" sz="1015" b="1" baseline="30000" dirty="0">
                <a:solidFill>
                  <a:srgbClr val="000000"/>
                </a:solidFill>
              </a:rPr>
              <a:t>,</a:t>
            </a:r>
          </a:p>
          <a:p>
            <a:pPr marL="213952" indent="-213952"/>
            <a:r>
              <a:rPr lang="ja-JP" altLang="en-US" sz="923" i="1" dirty="0" smtClean="0">
                <a:solidFill>
                  <a:srgbClr val="000000"/>
                </a:solidFill>
              </a:rPr>
              <a:t>（単位　</a:t>
            </a:r>
            <a:r>
              <a:rPr lang="en-US" altLang="ja-JP" sz="923" i="1" dirty="0" smtClean="0">
                <a:solidFill>
                  <a:srgbClr val="000000"/>
                </a:solidFill>
              </a:rPr>
              <a:t>100</a:t>
            </a:r>
            <a:r>
              <a:rPr lang="ja-JP" altLang="en-US" sz="923" i="1" dirty="0" smtClean="0">
                <a:solidFill>
                  <a:srgbClr val="000000"/>
                </a:solidFill>
              </a:rPr>
              <a:t>万リットル／日）</a:t>
            </a:r>
            <a:endParaRPr lang="en-GB" sz="923" i="1" dirty="0">
              <a:solidFill>
                <a:srgbClr val="000000"/>
              </a:solidFill>
            </a:endParaRPr>
          </a:p>
        </p:txBody>
      </p:sp>
      <p:sp>
        <p:nvSpPr>
          <p:cNvPr id="29" name="Rounded Rectangular Callout 28"/>
          <p:cNvSpPr/>
          <p:nvPr/>
        </p:nvSpPr>
        <p:spPr>
          <a:xfrm>
            <a:off x="7524751" y="2188530"/>
            <a:ext cx="1170513" cy="1307878"/>
          </a:xfrm>
          <a:prstGeom prst="wedgeRoundRectCallout">
            <a:avLst>
              <a:gd name="adj1" fmla="val -46585"/>
              <a:gd name="adj2" fmla="val 82254"/>
              <a:gd name="adj3" fmla="val 16667"/>
            </a:avLst>
          </a:prstGeom>
          <a:solidFill>
            <a:schemeClr val="bg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3231" tIns="33231" rIns="33231" bIns="33231" rtlCol="0" anchor="ctr"/>
          <a:lstStyle/>
          <a:p>
            <a:r>
              <a:rPr lang="ja-JP" altLang="en-US" sz="1015" dirty="0" smtClean="0">
                <a:solidFill>
                  <a:schemeClr val="tx1"/>
                </a:solidFill>
              </a:rPr>
              <a:t>ガントクなど大都市の処理能力の向上に伴い、都市部では設備の排泄物の処理能力が</a:t>
            </a:r>
            <a:r>
              <a:rPr lang="en-US" altLang="ja-JP" sz="1015" dirty="0" smtClean="0">
                <a:solidFill>
                  <a:schemeClr val="tx1"/>
                </a:solidFill>
              </a:rPr>
              <a:t>100</a:t>
            </a:r>
            <a:r>
              <a:rPr lang="ja-JP" altLang="en-US" sz="1015" dirty="0" smtClean="0">
                <a:solidFill>
                  <a:schemeClr val="tx1"/>
                </a:solidFill>
              </a:rPr>
              <a:t>％に達した</a:t>
            </a:r>
            <a:endParaRPr lang="en-US" sz="1015" dirty="0">
              <a:solidFill>
                <a:schemeClr val="tx1"/>
              </a:solidFill>
            </a:endParaRPr>
          </a:p>
        </p:txBody>
      </p:sp>
      <p:sp>
        <p:nvSpPr>
          <p:cNvPr id="20" name="TextBox 19"/>
          <p:cNvSpPr txBox="1"/>
          <p:nvPr/>
        </p:nvSpPr>
        <p:spPr>
          <a:xfrm>
            <a:off x="416169" y="5539154"/>
            <a:ext cx="8242789" cy="281354"/>
          </a:xfrm>
          <a:prstGeom prst="rect">
            <a:avLst/>
          </a:prstGeom>
          <a:noFill/>
        </p:spPr>
        <p:txBody>
          <a:bodyPr wrap="square" lIns="0" tIns="0" rIns="0" bIns="0" rtlCol="0" anchor="ctr">
            <a:noAutofit/>
          </a:bodyPr>
          <a:lstStyle/>
          <a:p>
            <a:r>
              <a:rPr lang="ja-JP" altLang="en-US" sz="1015" b="1" u="sng" dirty="0" smtClean="0"/>
              <a:t>注：上記推計は</a:t>
            </a:r>
            <a:r>
              <a:rPr lang="en-US" altLang="ja-JP" sz="1015" b="1" u="sng" dirty="0" smtClean="0"/>
              <a:t>2011</a:t>
            </a:r>
            <a:r>
              <a:rPr lang="ja-JP" altLang="en-US" sz="1015" b="1" u="sng" dirty="0" smtClean="0"/>
              <a:t>年実施のセンサスに基づく。ただしメディアの最近の報告によればシッキム州は野外排泄を根絶したとのことである</a:t>
            </a:r>
            <a:endParaRPr lang="en-US" sz="1015" b="1" u="sng" dirty="0"/>
          </a:p>
        </p:txBody>
      </p:sp>
    </p:spTree>
    <p:extLst>
      <p:ext uri="{BB962C8B-B14F-4D97-AF65-F5344CB8AC3E}">
        <p14:creationId xmlns:p14="http://schemas.microsoft.com/office/powerpoint/2010/main" val="200493942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a:t>アジェンダ</a:t>
            </a:r>
            <a:endParaRPr lang="en-US" dirty="0"/>
          </a:p>
        </p:txBody>
      </p:sp>
      <p:sp>
        <p:nvSpPr>
          <p:cNvPr id="6" name="Rectangle 5"/>
          <p:cNvSpPr>
            <a:spLocks noChangeArrowheads="1"/>
          </p:cNvSpPr>
          <p:nvPr>
            <p:custDataLst>
              <p:tags r:id="rId1"/>
            </p:custDataLst>
          </p:nvPr>
        </p:nvSpPr>
        <p:spPr bwMode="auto">
          <a:xfrm>
            <a:off x="1066876" y="2385981"/>
            <a:ext cx="6450388" cy="427724"/>
          </a:xfrm>
          <a:prstGeom prst="rect">
            <a:avLst/>
          </a:prstGeom>
          <a:noFill/>
          <a:ln w="12700" algn="ctr">
            <a:noFill/>
            <a:miter lim="800000"/>
            <a:headEnd/>
            <a:tailEnd/>
          </a:ln>
        </p:spPr>
        <p:txBody>
          <a:bodyPr lIns="77893" tIns="38947" rIns="77893" bIns="38947" anchor="ctr"/>
          <a:lstStyle/>
          <a:p>
            <a:pPr marL="97389" defTabSz="779842"/>
            <a:r>
              <a:rPr lang="en-US" sz="1600" dirty="0">
                <a:solidFill>
                  <a:srgbClr val="000000"/>
                </a:solidFill>
                <a:latin typeface="Calibri" pitchFamily="34" charset="0"/>
              </a:rPr>
              <a:t>1</a:t>
            </a:r>
            <a:r>
              <a:rPr lang="en-US" sz="1600" dirty="0" smtClean="0">
                <a:solidFill>
                  <a:srgbClr val="000000"/>
                </a:solidFill>
                <a:latin typeface="Calibri" pitchFamily="34" charset="0"/>
              </a:rPr>
              <a:t>. </a:t>
            </a:r>
            <a:r>
              <a:rPr lang="ja-JP" altLang="en-US" sz="1600" dirty="0" smtClean="0">
                <a:solidFill>
                  <a:srgbClr val="000000"/>
                </a:solidFill>
                <a:latin typeface="Calibri" pitchFamily="34" charset="0"/>
              </a:rPr>
              <a:t>毛管浄化社が提供する技術</a:t>
            </a:r>
            <a:endParaRPr lang="en-GB" sz="1600" dirty="0">
              <a:solidFill>
                <a:srgbClr val="000000"/>
              </a:solidFill>
              <a:latin typeface="Calibri" pitchFamily="34" charset="0"/>
            </a:endParaRPr>
          </a:p>
        </p:txBody>
      </p:sp>
      <p:sp>
        <p:nvSpPr>
          <p:cNvPr id="5" name="Rectangle 4"/>
          <p:cNvSpPr>
            <a:spLocks noChangeArrowheads="1"/>
          </p:cNvSpPr>
          <p:nvPr>
            <p:custDataLst>
              <p:tags r:id="rId2"/>
            </p:custDataLst>
          </p:nvPr>
        </p:nvSpPr>
        <p:spPr bwMode="auto">
          <a:xfrm>
            <a:off x="1066876" y="3031085"/>
            <a:ext cx="6450388" cy="427724"/>
          </a:xfrm>
          <a:prstGeom prst="rect">
            <a:avLst/>
          </a:prstGeom>
          <a:noFill/>
          <a:ln w="12700" algn="ctr">
            <a:noFill/>
            <a:miter lim="800000"/>
            <a:headEnd/>
            <a:tailEnd/>
          </a:ln>
        </p:spPr>
        <p:txBody>
          <a:bodyPr lIns="77893" tIns="38947" rIns="77893" bIns="38947" anchor="ctr"/>
          <a:lstStyle/>
          <a:p>
            <a:pPr marL="97389" defTabSz="779842"/>
            <a:r>
              <a:rPr lang="en-US" sz="1600" dirty="0">
                <a:solidFill>
                  <a:srgbClr val="000000"/>
                </a:solidFill>
                <a:latin typeface="Calibri" pitchFamily="34" charset="0"/>
              </a:rPr>
              <a:t>2</a:t>
            </a:r>
            <a:r>
              <a:rPr lang="en-US" sz="1600" dirty="0" smtClean="0">
                <a:solidFill>
                  <a:srgbClr val="000000"/>
                </a:solidFill>
                <a:latin typeface="Calibri" pitchFamily="34" charset="0"/>
              </a:rPr>
              <a:t>. </a:t>
            </a:r>
            <a:r>
              <a:rPr lang="ja-JP" altLang="en-US" sz="1600" dirty="0" smtClean="0">
                <a:solidFill>
                  <a:srgbClr val="000000"/>
                </a:solidFill>
                <a:latin typeface="Calibri" pitchFamily="34" charset="0"/>
              </a:rPr>
              <a:t>インド市場の分析</a:t>
            </a:r>
            <a:endParaRPr lang="en-GB" sz="1600" dirty="0">
              <a:solidFill>
                <a:srgbClr val="000000"/>
              </a:solidFill>
              <a:latin typeface="Calibri" pitchFamily="34" charset="0"/>
            </a:endParaRPr>
          </a:p>
        </p:txBody>
      </p:sp>
      <p:sp>
        <p:nvSpPr>
          <p:cNvPr id="12" name="Rectangle 11"/>
          <p:cNvSpPr>
            <a:spLocks noChangeArrowheads="1"/>
          </p:cNvSpPr>
          <p:nvPr>
            <p:custDataLst>
              <p:tags r:id="rId3"/>
            </p:custDataLst>
          </p:nvPr>
        </p:nvSpPr>
        <p:spPr bwMode="auto">
          <a:xfrm>
            <a:off x="1066876" y="3676189"/>
            <a:ext cx="6450388" cy="427724"/>
          </a:xfrm>
          <a:prstGeom prst="rect">
            <a:avLst/>
          </a:prstGeom>
          <a:solidFill>
            <a:srgbClr val="67103F"/>
          </a:solidFill>
          <a:ln w="12700" algn="ctr">
            <a:noFill/>
            <a:miter lim="800000"/>
            <a:headEnd/>
            <a:tailEnd/>
          </a:ln>
        </p:spPr>
        <p:txBody>
          <a:bodyPr lIns="77893" tIns="38947" rIns="77893" bIns="38947" anchor="ctr"/>
          <a:lstStyle/>
          <a:p>
            <a:pPr marL="97389" defTabSz="779842"/>
            <a:r>
              <a:rPr lang="en-US" sz="1600" b="1" dirty="0">
                <a:solidFill>
                  <a:schemeClr val="bg1"/>
                </a:solidFill>
                <a:latin typeface="Calibri" pitchFamily="34" charset="0"/>
              </a:rPr>
              <a:t>3</a:t>
            </a:r>
            <a:r>
              <a:rPr lang="en-US" sz="1600" b="1" dirty="0" smtClean="0">
                <a:solidFill>
                  <a:schemeClr val="bg1"/>
                </a:solidFill>
                <a:latin typeface="Calibri" pitchFamily="34" charset="0"/>
              </a:rPr>
              <a:t>. </a:t>
            </a:r>
            <a:r>
              <a:rPr lang="ja-JP" altLang="en-US" sz="1600" b="1" dirty="0" smtClean="0">
                <a:solidFill>
                  <a:schemeClr val="bg1"/>
                </a:solidFill>
                <a:latin typeface="Calibri" pitchFamily="34" charset="0"/>
              </a:rPr>
              <a:t>契約に向けたビジネスモデルの可能性</a:t>
            </a:r>
            <a:endParaRPr lang="en-GB" sz="1600" b="1" dirty="0">
              <a:solidFill>
                <a:schemeClr val="bg1"/>
              </a:solidFill>
              <a:latin typeface="Calibri" pitchFamily="34" charset="0"/>
            </a:endParaRPr>
          </a:p>
        </p:txBody>
      </p:sp>
      <p:sp>
        <p:nvSpPr>
          <p:cNvPr id="13" name="Rectangle 12"/>
          <p:cNvSpPr>
            <a:spLocks noChangeArrowheads="1"/>
          </p:cNvSpPr>
          <p:nvPr>
            <p:custDataLst>
              <p:tags r:id="rId4"/>
            </p:custDataLst>
          </p:nvPr>
        </p:nvSpPr>
        <p:spPr bwMode="auto">
          <a:xfrm>
            <a:off x="1066876" y="4321293"/>
            <a:ext cx="6450388" cy="427724"/>
          </a:xfrm>
          <a:prstGeom prst="rect">
            <a:avLst/>
          </a:prstGeom>
          <a:noFill/>
          <a:ln w="12700" algn="ctr">
            <a:noFill/>
            <a:miter lim="800000"/>
            <a:headEnd/>
            <a:tailEnd/>
          </a:ln>
        </p:spPr>
        <p:txBody>
          <a:bodyPr lIns="77893" tIns="38947" rIns="77893" bIns="38947" anchor="ctr"/>
          <a:lstStyle/>
          <a:p>
            <a:pPr marL="97389" defTabSz="779842"/>
            <a:r>
              <a:rPr lang="en-US" sz="1600" dirty="0">
                <a:solidFill>
                  <a:srgbClr val="000000"/>
                </a:solidFill>
                <a:latin typeface="Calibri" pitchFamily="34" charset="0"/>
              </a:rPr>
              <a:t>4</a:t>
            </a:r>
            <a:r>
              <a:rPr lang="en-US" sz="1600" dirty="0" smtClean="0">
                <a:solidFill>
                  <a:srgbClr val="000000"/>
                </a:solidFill>
                <a:latin typeface="Calibri" pitchFamily="34" charset="0"/>
              </a:rPr>
              <a:t>. </a:t>
            </a:r>
            <a:r>
              <a:rPr lang="ja-JP" altLang="en-US" sz="1600" dirty="0" smtClean="0">
                <a:solidFill>
                  <a:srgbClr val="000000"/>
                </a:solidFill>
                <a:latin typeface="Calibri" pitchFamily="34" charset="0"/>
              </a:rPr>
              <a:t>次のステップ</a:t>
            </a:r>
            <a:endParaRPr lang="en-GB" sz="1600" dirty="0">
              <a:solidFill>
                <a:srgbClr val="000000"/>
              </a:solidFill>
              <a:latin typeface="Calibri" pitchFamily="34" charset="0"/>
            </a:endParaRPr>
          </a:p>
        </p:txBody>
      </p:sp>
    </p:spTree>
    <p:extLst>
      <p:ext uri="{BB962C8B-B14F-4D97-AF65-F5344CB8AC3E}">
        <p14:creationId xmlns:p14="http://schemas.microsoft.com/office/powerpoint/2010/main" val="2081725446"/>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毛管浄化社の衛生関連市場は必要なシステムの大きさと種類により</a:t>
            </a:r>
            <a:r>
              <a:rPr lang="en-US" altLang="ja-JP" dirty="0" smtClean="0"/>
              <a:t>4</a:t>
            </a:r>
            <a:r>
              <a:rPr lang="ja-JP" altLang="en-US" dirty="0" err="1" smtClean="0"/>
              <a:t>つの</a:t>
            </a:r>
            <a:r>
              <a:rPr lang="ja-JP" altLang="en-US" dirty="0" smtClean="0"/>
              <a:t>セグメントに分類できる</a:t>
            </a:r>
            <a:endParaRPr lang="en-US" dirty="0"/>
          </a:p>
        </p:txBody>
      </p:sp>
      <p:sp>
        <p:nvSpPr>
          <p:cNvPr id="13" name="Rounded Rectangle 12"/>
          <p:cNvSpPr/>
          <p:nvPr/>
        </p:nvSpPr>
        <p:spPr>
          <a:xfrm>
            <a:off x="529270" y="1280803"/>
            <a:ext cx="2188763" cy="73152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dirty="0" smtClean="0">
                <a:solidFill>
                  <a:schemeClr val="tx1"/>
                </a:solidFill>
              </a:rPr>
              <a:t>家庭用システム</a:t>
            </a:r>
            <a:endParaRPr lang="en-US" sz="1200" b="1" dirty="0">
              <a:solidFill>
                <a:schemeClr val="tx1"/>
              </a:solidFill>
            </a:endParaRPr>
          </a:p>
        </p:txBody>
      </p:sp>
      <p:sp>
        <p:nvSpPr>
          <p:cNvPr id="14" name="Oval 13"/>
          <p:cNvSpPr/>
          <p:nvPr/>
        </p:nvSpPr>
        <p:spPr>
          <a:xfrm>
            <a:off x="415637" y="1202325"/>
            <a:ext cx="274320" cy="274320"/>
          </a:xfrm>
          <a:prstGeom prst="ellipse">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1</a:t>
            </a:r>
            <a:endParaRPr lang="en-US" sz="1200" b="1" dirty="0"/>
          </a:p>
        </p:txBody>
      </p:sp>
      <p:pic>
        <p:nvPicPr>
          <p:cNvPr id="16" name="Picture 63"/>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226734" y="2794079"/>
            <a:ext cx="1403350" cy="1051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2" descr="二次公害対策装置"/>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7226734" y="5256007"/>
            <a:ext cx="1485900" cy="1089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Box 18"/>
          <p:cNvSpPr txBox="1"/>
          <p:nvPr/>
        </p:nvSpPr>
        <p:spPr>
          <a:xfrm>
            <a:off x="7226734" y="2496129"/>
            <a:ext cx="1501630" cy="251670"/>
          </a:xfrm>
          <a:prstGeom prst="rect">
            <a:avLst/>
          </a:prstGeom>
          <a:noFill/>
        </p:spPr>
        <p:txBody>
          <a:bodyPr wrap="square" lIns="0" tIns="0" rIns="0" bIns="0" rtlCol="0">
            <a:noAutofit/>
          </a:bodyPr>
          <a:lstStyle/>
          <a:p>
            <a:pPr marL="231775" indent="-231775"/>
            <a:r>
              <a:rPr lang="ja-JP" altLang="en-US" sz="1200" b="1" dirty="0" smtClean="0"/>
              <a:t>ニイミトレンチ</a:t>
            </a:r>
            <a:endParaRPr lang="en-US" sz="1200" b="1" dirty="0" smtClean="0"/>
          </a:p>
        </p:txBody>
      </p:sp>
      <p:sp>
        <p:nvSpPr>
          <p:cNvPr id="20" name="TextBox 19"/>
          <p:cNvSpPr txBox="1"/>
          <p:nvPr/>
        </p:nvSpPr>
        <p:spPr>
          <a:xfrm>
            <a:off x="7226734" y="4942063"/>
            <a:ext cx="1501630" cy="251670"/>
          </a:xfrm>
          <a:prstGeom prst="rect">
            <a:avLst/>
          </a:prstGeom>
          <a:noFill/>
        </p:spPr>
        <p:txBody>
          <a:bodyPr wrap="square" lIns="0" tIns="0" rIns="0" bIns="0" rtlCol="0">
            <a:noAutofit/>
          </a:bodyPr>
          <a:lstStyle/>
          <a:p>
            <a:pPr marL="231775" indent="-231775"/>
            <a:r>
              <a:rPr lang="ja-JP" altLang="en-US" sz="1200" b="1" smtClean="0"/>
              <a:t>ニイミシステム</a:t>
            </a:r>
            <a:endParaRPr lang="en-US" sz="1200" b="1" dirty="0" smtClean="0"/>
          </a:p>
        </p:txBody>
      </p:sp>
      <p:sp>
        <p:nvSpPr>
          <p:cNvPr id="10" name="Rounded Rectangle 9"/>
          <p:cNvSpPr/>
          <p:nvPr/>
        </p:nvSpPr>
        <p:spPr>
          <a:xfrm>
            <a:off x="529270" y="2247170"/>
            <a:ext cx="2188763" cy="1070663"/>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dirty="0" smtClean="0">
                <a:solidFill>
                  <a:schemeClr val="tx1"/>
                </a:solidFill>
              </a:rPr>
              <a:t>営利施設用システム</a:t>
            </a:r>
            <a:endParaRPr lang="en-US" sz="1200" b="1" dirty="0" smtClean="0">
              <a:solidFill>
                <a:schemeClr val="tx1"/>
              </a:solidFill>
            </a:endParaRPr>
          </a:p>
        </p:txBody>
      </p:sp>
      <p:sp>
        <p:nvSpPr>
          <p:cNvPr id="11" name="Oval 10"/>
          <p:cNvSpPr/>
          <p:nvPr/>
        </p:nvSpPr>
        <p:spPr>
          <a:xfrm>
            <a:off x="415637" y="2168692"/>
            <a:ext cx="274320" cy="274320"/>
          </a:xfrm>
          <a:prstGeom prst="ellipse">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2</a:t>
            </a:r>
            <a:endParaRPr lang="en-US" sz="1200" b="1" dirty="0"/>
          </a:p>
        </p:txBody>
      </p:sp>
      <p:sp>
        <p:nvSpPr>
          <p:cNvPr id="12" name="Rounded Rectangle 11"/>
          <p:cNvSpPr/>
          <p:nvPr/>
        </p:nvSpPr>
        <p:spPr>
          <a:xfrm>
            <a:off x="529270" y="3521719"/>
            <a:ext cx="2188763" cy="1070663"/>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dirty="0" smtClean="0">
                <a:solidFill>
                  <a:schemeClr val="tx1"/>
                </a:solidFill>
              </a:rPr>
              <a:t>公共施設用システム</a:t>
            </a:r>
            <a:endParaRPr lang="en-US" sz="1200" b="1" dirty="0">
              <a:solidFill>
                <a:schemeClr val="tx1"/>
              </a:solidFill>
            </a:endParaRPr>
          </a:p>
        </p:txBody>
      </p:sp>
      <p:sp>
        <p:nvSpPr>
          <p:cNvPr id="15" name="Oval 14"/>
          <p:cNvSpPr/>
          <p:nvPr/>
        </p:nvSpPr>
        <p:spPr>
          <a:xfrm>
            <a:off x="415637" y="3443242"/>
            <a:ext cx="274320" cy="274320"/>
          </a:xfrm>
          <a:prstGeom prst="ellipse">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3</a:t>
            </a:r>
            <a:endParaRPr lang="en-US" sz="1200" b="1" dirty="0"/>
          </a:p>
        </p:txBody>
      </p:sp>
      <p:sp>
        <p:nvSpPr>
          <p:cNvPr id="18" name="Rounded Rectangle 17"/>
          <p:cNvSpPr/>
          <p:nvPr/>
        </p:nvSpPr>
        <p:spPr>
          <a:xfrm>
            <a:off x="529270" y="5325078"/>
            <a:ext cx="2188763" cy="635666"/>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dirty="0" smtClean="0">
                <a:solidFill>
                  <a:schemeClr val="tx1"/>
                </a:solidFill>
              </a:rPr>
              <a:t>小規模都市</a:t>
            </a:r>
            <a:endParaRPr lang="en-US" sz="1200" i="1" dirty="0">
              <a:solidFill>
                <a:schemeClr val="tx1"/>
              </a:solidFill>
            </a:endParaRPr>
          </a:p>
        </p:txBody>
      </p:sp>
      <p:sp>
        <p:nvSpPr>
          <p:cNvPr id="21" name="Oval 20"/>
          <p:cNvSpPr/>
          <p:nvPr/>
        </p:nvSpPr>
        <p:spPr>
          <a:xfrm>
            <a:off x="415637" y="5246600"/>
            <a:ext cx="274320" cy="274320"/>
          </a:xfrm>
          <a:prstGeom prst="ellipse">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4</a:t>
            </a:r>
          </a:p>
        </p:txBody>
      </p:sp>
      <p:sp>
        <p:nvSpPr>
          <p:cNvPr id="22" name="TextBox 21"/>
          <p:cNvSpPr txBox="1"/>
          <p:nvPr/>
        </p:nvSpPr>
        <p:spPr>
          <a:xfrm>
            <a:off x="2889627" y="1280803"/>
            <a:ext cx="3793113" cy="1152004"/>
          </a:xfrm>
          <a:prstGeom prst="rect">
            <a:avLst/>
          </a:prstGeom>
          <a:noFill/>
        </p:spPr>
        <p:txBody>
          <a:bodyPr wrap="square" lIns="0" tIns="0" rIns="0" bIns="0" rtlCol="0">
            <a:noAutofit/>
          </a:bodyPr>
          <a:lstStyle/>
          <a:p>
            <a:pPr marL="171450" indent="-171450">
              <a:buFont typeface="Arial" panose="020B0604020202020204" pitchFamily="34" charset="0"/>
              <a:buChar char="•"/>
            </a:pPr>
            <a:r>
              <a:rPr lang="en-US" altLang="ja-JP" sz="1200" dirty="0" smtClean="0"/>
              <a:t>1</a:t>
            </a:r>
            <a:r>
              <a:rPr lang="ja-JP" altLang="en-US" sz="1200" dirty="0" smtClean="0"/>
              <a:t>～</a:t>
            </a:r>
            <a:r>
              <a:rPr lang="en-US" altLang="ja-JP" sz="1200" dirty="0" smtClean="0"/>
              <a:t>2</a:t>
            </a:r>
            <a:r>
              <a:rPr lang="ja-JP" altLang="en-US" sz="1200" dirty="0" smtClean="0"/>
              <a:t>カ所のトイレに接続できる（</a:t>
            </a:r>
            <a:r>
              <a:rPr lang="en-US" altLang="ja-JP" sz="1200" dirty="0" smtClean="0"/>
              <a:t>5</a:t>
            </a:r>
            <a:r>
              <a:rPr lang="ja-JP" altLang="en-US" sz="1200" dirty="0" smtClean="0"/>
              <a:t>～</a:t>
            </a:r>
            <a:r>
              <a:rPr lang="en-US" altLang="ja-JP" sz="1200" dirty="0" smtClean="0"/>
              <a:t>8</a:t>
            </a:r>
            <a:r>
              <a:rPr lang="ja-JP" altLang="en-US" sz="1200" dirty="0" smtClean="0"/>
              <a:t>人で使用）</a:t>
            </a:r>
            <a:endParaRPr lang="en-US" sz="1200" dirty="0" smtClean="0"/>
          </a:p>
          <a:p>
            <a:pPr marL="171450" indent="-171450">
              <a:buFont typeface="Arial" panose="020B0604020202020204" pitchFamily="34" charset="0"/>
              <a:buChar char="•"/>
            </a:pPr>
            <a:r>
              <a:rPr lang="ja-JP" altLang="en-US" sz="1200" dirty="0" smtClean="0"/>
              <a:t>自家用に個人住宅に設置</a:t>
            </a:r>
            <a:endParaRPr lang="en-US" sz="1200" dirty="0" smtClean="0"/>
          </a:p>
          <a:p>
            <a:pPr marL="171450" indent="-171450">
              <a:buFont typeface="Arial" panose="020B0604020202020204" pitchFamily="34" charset="0"/>
              <a:buChar char="•"/>
            </a:pPr>
            <a:r>
              <a:rPr lang="ja-JP" altLang="en-US" sz="1200" dirty="0" smtClean="0"/>
              <a:t>想定される場所は必要なスペース（</a:t>
            </a:r>
            <a:r>
              <a:rPr lang="en-US" altLang="ja-JP" sz="1200" dirty="0" smtClean="0"/>
              <a:t>20</a:t>
            </a:r>
            <a:r>
              <a:rPr lang="ja-JP" altLang="en-US" sz="1200" dirty="0" smtClean="0"/>
              <a:t>平方メートル以下）が確保できる周辺都市／農村地域</a:t>
            </a:r>
            <a:endParaRPr lang="en-US" sz="1200" dirty="0" smtClean="0"/>
          </a:p>
        </p:txBody>
      </p:sp>
      <p:sp>
        <p:nvSpPr>
          <p:cNvPr id="4" name="Right Brace 3"/>
          <p:cNvSpPr/>
          <p:nvPr/>
        </p:nvSpPr>
        <p:spPr>
          <a:xfrm>
            <a:off x="6911339" y="1416660"/>
            <a:ext cx="143801" cy="3151934"/>
          </a:xfrm>
          <a:prstGeom prst="rightBrac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3" name="Right Brace 22"/>
          <p:cNvSpPr/>
          <p:nvPr/>
        </p:nvSpPr>
        <p:spPr>
          <a:xfrm>
            <a:off x="6911339" y="5060164"/>
            <a:ext cx="143801" cy="1105685"/>
          </a:xfrm>
          <a:prstGeom prst="rightBrac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4" name="TextBox 23"/>
          <p:cNvSpPr txBox="1"/>
          <p:nvPr/>
        </p:nvSpPr>
        <p:spPr>
          <a:xfrm>
            <a:off x="2889627" y="2247170"/>
            <a:ext cx="3793113" cy="1070663"/>
          </a:xfrm>
          <a:prstGeom prst="rect">
            <a:avLst/>
          </a:prstGeom>
          <a:noFill/>
        </p:spPr>
        <p:txBody>
          <a:bodyPr wrap="square" lIns="0" tIns="0" rIns="0" bIns="0" rtlCol="0">
            <a:noAutofit/>
          </a:bodyPr>
          <a:lstStyle/>
          <a:p>
            <a:pPr marL="171450" indent="-171450">
              <a:buFont typeface="Arial" panose="020B0604020202020204" pitchFamily="34" charset="0"/>
              <a:buChar char="•"/>
            </a:pPr>
            <a:r>
              <a:rPr lang="en-US" altLang="ja-JP" sz="1200" dirty="0" smtClean="0"/>
              <a:t>1</a:t>
            </a:r>
            <a:r>
              <a:rPr lang="ja-JP" altLang="en-US" sz="1200" dirty="0" smtClean="0"/>
              <a:t>日</a:t>
            </a:r>
            <a:r>
              <a:rPr lang="en-US" altLang="ja-JP" sz="1200" dirty="0" smtClean="0"/>
              <a:t>25</a:t>
            </a:r>
            <a:r>
              <a:rPr lang="ja-JP" altLang="en-US" sz="1200" dirty="0" smtClean="0"/>
              <a:t>～</a:t>
            </a:r>
            <a:r>
              <a:rPr lang="en-US" altLang="ja-JP" sz="1200" dirty="0" smtClean="0"/>
              <a:t>30</a:t>
            </a:r>
            <a:r>
              <a:rPr lang="ja-JP" altLang="en-US" sz="1200" dirty="0" smtClean="0"/>
              <a:t>人の利用が可能</a:t>
            </a:r>
            <a:endParaRPr lang="en-US" sz="1200" dirty="0" smtClean="0"/>
          </a:p>
          <a:p>
            <a:pPr marL="171450" indent="-171450">
              <a:buFont typeface="Arial" panose="020B0604020202020204" pitchFamily="34" charset="0"/>
              <a:buChar char="•"/>
            </a:pPr>
            <a:r>
              <a:rPr lang="ja-JP" altLang="en-US" sz="1200" dirty="0" smtClean="0"/>
              <a:t>想定される場所は市内から遠いホテル／リゾート地、幹線道路の休憩施設など</a:t>
            </a:r>
            <a:endParaRPr lang="en-US" sz="1200" dirty="0" smtClean="0"/>
          </a:p>
          <a:p>
            <a:pPr marL="171450" indent="-171450">
              <a:buFont typeface="Arial" panose="020B0604020202020204" pitchFamily="34" charset="0"/>
              <a:buChar char="•"/>
            </a:pPr>
            <a:r>
              <a:rPr lang="ja-JP" altLang="en-US" sz="1200" dirty="0" smtClean="0"/>
              <a:t>施設は営利目的なので、利用者はシステムをしっかり管理しようという強い動機を持つと考えられる</a:t>
            </a:r>
            <a:endParaRPr lang="en-US" sz="1200" dirty="0" smtClean="0"/>
          </a:p>
          <a:p>
            <a:pPr marL="171450" indent="-171450">
              <a:buFont typeface="Arial" panose="020B0604020202020204" pitchFamily="34" charset="0"/>
              <a:buChar char="•"/>
            </a:pPr>
            <a:endParaRPr lang="en-US" sz="1200" dirty="0" smtClean="0"/>
          </a:p>
        </p:txBody>
      </p:sp>
      <p:sp>
        <p:nvSpPr>
          <p:cNvPr id="25" name="TextBox 24"/>
          <p:cNvSpPr txBox="1"/>
          <p:nvPr/>
        </p:nvSpPr>
        <p:spPr>
          <a:xfrm>
            <a:off x="2889627" y="3521719"/>
            <a:ext cx="3793113" cy="1111381"/>
          </a:xfrm>
          <a:prstGeom prst="rect">
            <a:avLst/>
          </a:prstGeom>
          <a:noFill/>
        </p:spPr>
        <p:txBody>
          <a:bodyPr wrap="square" lIns="0" tIns="0" rIns="0" bIns="0" rtlCol="0">
            <a:noAutofit/>
          </a:bodyPr>
          <a:lstStyle/>
          <a:p>
            <a:pPr marL="171450" indent="-171450">
              <a:buFont typeface="Arial" panose="020B0604020202020204" pitchFamily="34" charset="0"/>
              <a:buChar char="•"/>
            </a:pPr>
            <a:r>
              <a:rPr lang="en-US" altLang="ja-JP" sz="1200" dirty="0" smtClean="0"/>
              <a:t>1</a:t>
            </a:r>
            <a:r>
              <a:rPr lang="ja-JP" altLang="en-US" sz="1200" dirty="0" smtClean="0"/>
              <a:t>日に</a:t>
            </a:r>
            <a:r>
              <a:rPr lang="en-US" altLang="ja-JP" sz="1200" dirty="0" smtClean="0"/>
              <a:t>25</a:t>
            </a:r>
            <a:r>
              <a:rPr lang="ja-JP" altLang="en-US" sz="1200" dirty="0" smtClean="0"/>
              <a:t>～</a:t>
            </a:r>
            <a:r>
              <a:rPr lang="en-US" altLang="ja-JP" sz="1200" dirty="0" smtClean="0"/>
              <a:t>30</a:t>
            </a:r>
            <a:r>
              <a:rPr lang="ja-JP" altLang="en-US" sz="1200" dirty="0" smtClean="0"/>
              <a:t>人の利用が可能</a:t>
            </a:r>
            <a:endParaRPr lang="en-US" sz="1200" dirty="0"/>
          </a:p>
          <a:p>
            <a:pPr marL="171450" indent="-171450">
              <a:buFont typeface="Arial" panose="020B0604020202020204" pitchFamily="34" charset="0"/>
              <a:buChar char="•"/>
            </a:pPr>
            <a:r>
              <a:rPr lang="ja-JP" altLang="en-US" sz="1200" dirty="0" smtClean="0"/>
              <a:t>想定される場所は農村地域／遠隔地の公立学校や診療所、観光地の公衆トイレ</a:t>
            </a:r>
            <a:endParaRPr lang="en-US" sz="1200" dirty="0"/>
          </a:p>
          <a:p>
            <a:pPr marL="171450" indent="-171450">
              <a:buFont typeface="Arial" panose="020B0604020202020204" pitchFamily="34" charset="0"/>
              <a:buChar char="•"/>
            </a:pPr>
            <a:r>
              <a:rPr lang="ja-JP" altLang="en-US" sz="1200" dirty="0" smtClean="0"/>
              <a:t>学校は適切な排泄物処理についてコミュニティの啓蒙活動を行うための強力な基盤となる</a:t>
            </a:r>
            <a:endParaRPr lang="en-US" sz="1200" dirty="0"/>
          </a:p>
        </p:txBody>
      </p:sp>
      <p:sp>
        <p:nvSpPr>
          <p:cNvPr id="26" name="TextBox 25"/>
          <p:cNvSpPr txBox="1"/>
          <p:nvPr/>
        </p:nvSpPr>
        <p:spPr>
          <a:xfrm>
            <a:off x="2889627" y="5325078"/>
            <a:ext cx="3793113" cy="685064"/>
          </a:xfrm>
          <a:prstGeom prst="rect">
            <a:avLst/>
          </a:prstGeom>
          <a:noFill/>
        </p:spPr>
        <p:txBody>
          <a:bodyPr wrap="square" lIns="0" tIns="0" rIns="0" bIns="0" rtlCol="0">
            <a:noAutofit/>
          </a:bodyPr>
          <a:lstStyle/>
          <a:p>
            <a:pPr marL="171450" indent="-171450">
              <a:buFont typeface="Arial" panose="020B0604020202020204" pitchFamily="34" charset="0"/>
              <a:buChar char="•"/>
            </a:pPr>
            <a:r>
              <a:rPr lang="ja-JP" altLang="en-US" sz="1200" dirty="0" smtClean="0"/>
              <a:t>より大きな集団用の下水処理場</a:t>
            </a:r>
            <a:endParaRPr lang="en-US" sz="1200" dirty="0" smtClean="0"/>
          </a:p>
          <a:p>
            <a:pPr marL="171450" indent="-171450">
              <a:buFont typeface="Arial" panose="020B0604020202020204" pitchFamily="34" charset="0"/>
              <a:buChar char="•"/>
            </a:pPr>
            <a:r>
              <a:rPr lang="ja-JP" altLang="en-US" sz="1200" dirty="0" smtClean="0"/>
              <a:t>想定される場所は下水道管へのアクセスが貧弱だが、排泄物の量が非常に多い小規模都市</a:t>
            </a:r>
            <a:r>
              <a:rPr lang="en-US" sz="1200" dirty="0" smtClean="0"/>
              <a:t> </a:t>
            </a:r>
          </a:p>
        </p:txBody>
      </p:sp>
    </p:spTree>
    <p:extLst>
      <p:ext uri="{BB962C8B-B14F-4D97-AF65-F5344CB8AC3E}">
        <p14:creationId xmlns:p14="http://schemas.microsoft.com/office/powerpoint/2010/main" val="260638578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毛管浄化社は各セグメントについてビジネスモデルと実施方法を構築すべき</a:t>
            </a:r>
            <a:endParaRPr lang="en-US" dirty="0"/>
          </a:p>
        </p:txBody>
      </p:sp>
      <p:sp>
        <p:nvSpPr>
          <p:cNvPr id="5" name="Rectangle 4"/>
          <p:cNvSpPr/>
          <p:nvPr/>
        </p:nvSpPr>
        <p:spPr>
          <a:xfrm>
            <a:off x="2907548" y="1249172"/>
            <a:ext cx="3262554" cy="547906"/>
          </a:xfrm>
          <a:prstGeom prst="rect">
            <a:avLst/>
          </a:prstGeom>
          <a:solidFill>
            <a:srgbClr val="6710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smtClean="0">
                <a:solidFill>
                  <a:schemeClr val="bg1"/>
                </a:solidFill>
              </a:rPr>
              <a:t>市場参入計画</a:t>
            </a:r>
            <a:endParaRPr lang="en-US" sz="1400" b="1" dirty="0">
              <a:solidFill>
                <a:schemeClr val="bg1"/>
              </a:solidFill>
            </a:endParaRPr>
          </a:p>
        </p:txBody>
      </p:sp>
      <p:sp>
        <p:nvSpPr>
          <p:cNvPr id="6" name="Rectangle 5"/>
          <p:cNvSpPr/>
          <p:nvPr/>
        </p:nvSpPr>
        <p:spPr>
          <a:xfrm>
            <a:off x="730605" y="2952138"/>
            <a:ext cx="3262554" cy="54790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smtClean="0">
                <a:solidFill>
                  <a:schemeClr val="tx1"/>
                </a:solidFill>
              </a:rPr>
              <a:t>ビジネスモデル</a:t>
            </a:r>
            <a:endParaRPr lang="en-US" sz="1400" b="1" dirty="0">
              <a:solidFill>
                <a:schemeClr val="tx1"/>
              </a:solidFill>
            </a:endParaRPr>
          </a:p>
        </p:txBody>
      </p:sp>
      <p:sp>
        <p:nvSpPr>
          <p:cNvPr id="7" name="Rectangle 6"/>
          <p:cNvSpPr/>
          <p:nvPr/>
        </p:nvSpPr>
        <p:spPr>
          <a:xfrm>
            <a:off x="5084491" y="2952138"/>
            <a:ext cx="3262554" cy="54790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smtClean="0">
                <a:solidFill>
                  <a:schemeClr val="tx1"/>
                </a:solidFill>
              </a:rPr>
              <a:t>実施方法</a:t>
            </a:r>
            <a:endParaRPr lang="en-US" sz="1400" b="1" dirty="0">
              <a:solidFill>
                <a:schemeClr val="tx1"/>
              </a:solidFill>
            </a:endParaRPr>
          </a:p>
        </p:txBody>
      </p:sp>
      <p:cxnSp>
        <p:nvCxnSpPr>
          <p:cNvPr id="9" name="Elbow Connector 8"/>
          <p:cNvCxnSpPr>
            <a:stCxn id="5" idx="2"/>
            <a:endCxn id="6" idx="0"/>
          </p:cNvCxnSpPr>
          <p:nvPr/>
        </p:nvCxnSpPr>
        <p:spPr>
          <a:xfrm rot="5400000">
            <a:off x="2872824" y="1286137"/>
            <a:ext cx="1155060" cy="2176943"/>
          </a:xfrm>
          <a:prstGeom prst="bent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 name="Elbow Connector 10"/>
          <p:cNvCxnSpPr>
            <a:stCxn id="5" idx="2"/>
            <a:endCxn id="7" idx="0"/>
          </p:cNvCxnSpPr>
          <p:nvPr/>
        </p:nvCxnSpPr>
        <p:spPr>
          <a:xfrm rot="16200000" flipH="1">
            <a:off x="5049766" y="1286136"/>
            <a:ext cx="1155060" cy="2176943"/>
          </a:xfrm>
          <a:prstGeom prst="bentConnector3">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730605" y="3637014"/>
            <a:ext cx="3262554" cy="1106508"/>
          </a:xfrm>
          <a:prstGeom prst="rect">
            <a:avLst/>
          </a:prstGeom>
          <a:noFill/>
        </p:spPr>
        <p:txBody>
          <a:bodyPr wrap="square" lIns="0" tIns="0" rIns="0" bIns="0" rtlCol="0">
            <a:noAutofit/>
          </a:bodyPr>
          <a:lstStyle/>
          <a:p>
            <a:pPr marL="171450" indent="-171450">
              <a:buFont typeface="Arial" panose="020B0604020202020204" pitchFamily="34" charset="0"/>
              <a:buChar char="•"/>
            </a:pPr>
            <a:r>
              <a:rPr lang="ja-JP" altLang="en-US" sz="1400" dirty="0" smtClean="0"/>
              <a:t>設置の資本コストはどのように調達できるか</a:t>
            </a:r>
            <a:endParaRPr lang="en-US" sz="1400" dirty="0" smtClean="0"/>
          </a:p>
          <a:p>
            <a:pPr marL="171450" indent="-171450">
              <a:buFont typeface="Arial" panose="020B0604020202020204" pitchFamily="34" charset="0"/>
              <a:buChar char="•"/>
            </a:pPr>
            <a:r>
              <a:rPr lang="ja-JP" altLang="en-US" sz="1400" dirty="0" smtClean="0"/>
              <a:t>維持管理コストは誰が負担するか</a:t>
            </a:r>
            <a:endParaRPr lang="en-US" sz="1400" dirty="0" smtClean="0"/>
          </a:p>
          <a:p>
            <a:pPr marL="171450" indent="-171450">
              <a:buFont typeface="Arial" panose="020B0604020202020204" pitchFamily="34" charset="0"/>
              <a:buChar char="•"/>
            </a:pPr>
            <a:r>
              <a:rPr lang="en-US" sz="1400" dirty="0" smtClean="0"/>
              <a:t>MJ</a:t>
            </a:r>
            <a:r>
              <a:rPr lang="ja-JP" altLang="en-US" sz="1400" dirty="0" err="1" smtClean="0"/>
              <a:t>は当該</a:t>
            </a:r>
            <a:r>
              <a:rPr lang="ja-JP" altLang="en-US" sz="1400" dirty="0" smtClean="0"/>
              <a:t>セグメントからどのように収益を上げることができるか</a:t>
            </a:r>
            <a:endParaRPr lang="en-US" sz="1400" dirty="0" smtClean="0"/>
          </a:p>
        </p:txBody>
      </p:sp>
      <p:sp>
        <p:nvSpPr>
          <p:cNvPr id="13" name="TextBox 12"/>
          <p:cNvSpPr txBox="1"/>
          <p:nvPr/>
        </p:nvSpPr>
        <p:spPr>
          <a:xfrm>
            <a:off x="5084491" y="3637014"/>
            <a:ext cx="3262554" cy="1523191"/>
          </a:xfrm>
          <a:prstGeom prst="rect">
            <a:avLst/>
          </a:prstGeom>
          <a:noFill/>
        </p:spPr>
        <p:txBody>
          <a:bodyPr wrap="square" lIns="0" tIns="0" rIns="0" bIns="0" rtlCol="0">
            <a:noAutofit/>
          </a:bodyPr>
          <a:lstStyle/>
          <a:p>
            <a:pPr marL="171450" indent="-171450">
              <a:buFont typeface="Arial" panose="020B0604020202020204" pitchFamily="34" charset="0"/>
              <a:buChar char="•"/>
            </a:pPr>
            <a:r>
              <a:rPr lang="en-US" sz="1400" dirty="0" smtClean="0"/>
              <a:t>MJ</a:t>
            </a:r>
            <a:r>
              <a:rPr lang="ja-JP" altLang="en-US" sz="1400" dirty="0" smtClean="0"/>
              <a:t>はどのようにして当該市場にアクセスできるか</a:t>
            </a:r>
            <a:endParaRPr lang="en-US" sz="1400" dirty="0" smtClean="0"/>
          </a:p>
          <a:p>
            <a:pPr marL="171450" indent="-171450">
              <a:buFont typeface="Arial" panose="020B0604020202020204" pitchFamily="34" charset="0"/>
              <a:buChar char="•"/>
            </a:pPr>
            <a:r>
              <a:rPr lang="ja-JP" altLang="en-US" sz="1400" dirty="0" smtClean="0"/>
              <a:t>市場にアクセス後、場所の選定はどのように行うか</a:t>
            </a:r>
            <a:endParaRPr lang="en-US" sz="1400" dirty="0" smtClean="0"/>
          </a:p>
          <a:p>
            <a:pPr marL="171450" indent="-171450">
              <a:buFont typeface="Arial" panose="020B0604020202020204" pitchFamily="34" charset="0"/>
              <a:buChar char="•"/>
            </a:pPr>
            <a:r>
              <a:rPr lang="ja-JP" altLang="en-US" sz="1400" dirty="0" smtClean="0"/>
              <a:t>どのようにすれば設置の遂行が可能か</a:t>
            </a:r>
            <a:endParaRPr lang="en-US" sz="1400" dirty="0" smtClean="0"/>
          </a:p>
          <a:p>
            <a:pPr marL="171450" indent="-171450">
              <a:buFont typeface="Arial" panose="020B0604020202020204" pitchFamily="34" charset="0"/>
              <a:buChar char="•"/>
            </a:pPr>
            <a:r>
              <a:rPr lang="ja-JP" altLang="en-US" sz="1400" dirty="0" smtClean="0"/>
              <a:t>毛管浄化社が完成した施設の維持管理やモニタリングに関与する最良の方法は何か</a:t>
            </a:r>
            <a:endParaRPr lang="en-US" sz="1400" dirty="0" smtClean="0"/>
          </a:p>
        </p:txBody>
      </p:sp>
    </p:spTree>
    <p:extLst>
      <p:ext uri="{BB962C8B-B14F-4D97-AF65-F5344CB8AC3E}">
        <p14:creationId xmlns:p14="http://schemas.microsoft.com/office/powerpoint/2010/main" val="137269784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u="sng" dirty="0" smtClean="0"/>
              <a:t>ビジネスモデル：</a:t>
            </a:r>
            <a:r>
              <a:rPr lang="en-US" dirty="0" smtClean="0"/>
              <a:t> </a:t>
            </a:r>
            <a:r>
              <a:rPr lang="ja-JP" altLang="en-US" b="0" i="1" dirty="0" smtClean="0"/>
              <a:t>製品を営利目的で販売する前に、コンセプトの証明としてパイロットを行うための助成金が必要</a:t>
            </a:r>
            <a:endParaRPr lang="en-US" b="0" i="1" dirty="0"/>
          </a:p>
        </p:txBody>
      </p:sp>
      <p:sp>
        <p:nvSpPr>
          <p:cNvPr id="5" name="Rounded Rectangle 4"/>
          <p:cNvSpPr/>
          <p:nvPr/>
        </p:nvSpPr>
        <p:spPr>
          <a:xfrm>
            <a:off x="529271" y="1402265"/>
            <a:ext cx="1559588" cy="109728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dirty="0" smtClean="0">
                <a:solidFill>
                  <a:schemeClr val="tx1"/>
                </a:solidFill>
              </a:rPr>
              <a:t>家庭用システム</a:t>
            </a:r>
            <a:endParaRPr lang="en-US" sz="1200" b="1" dirty="0" smtClean="0">
              <a:solidFill>
                <a:schemeClr val="tx1"/>
              </a:solidFill>
            </a:endParaRPr>
          </a:p>
          <a:p>
            <a:pPr algn="ctr"/>
            <a:r>
              <a:rPr lang="ja-JP" altLang="en-US" sz="1200" i="1" dirty="0" smtClean="0">
                <a:solidFill>
                  <a:schemeClr val="tx1"/>
                </a:solidFill>
              </a:rPr>
              <a:t>（ニイミトレンチ）</a:t>
            </a:r>
            <a:endParaRPr lang="en-US" sz="1200" i="1" dirty="0">
              <a:solidFill>
                <a:schemeClr val="tx1"/>
              </a:solidFill>
            </a:endParaRPr>
          </a:p>
        </p:txBody>
      </p:sp>
      <p:sp>
        <p:nvSpPr>
          <p:cNvPr id="6" name="Oval 5"/>
          <p:cNvSpPr/>
          <p:nvPr/>
        </p:nvSpPr>
        <p:spPr>
          <a:xfrm>
            <a:off x="415637" y="1323789"/>
            <a:ext cx="274320" cy="274320"/>
          </a:xfrm>
          <a:prstGeom prst="ellipse">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1</a:t>
            </a:r>
            <a:endParaRPr lang="en-US" sz="1200" b="1" dirty="0"/>
          </a:p>
        </p:txBody>
      </p:sp>
      <p:sp>
        <p:nvSpPr>
          <p:cNvPr id="7" name="Rounded Rectangle 6"/>
          <p:cNvSpPr/>
          <p:nvPr/>
        </p:nvSpPr>
        <p:spPr>
          <a:xfrm>
            <a:off x="529270" y="2598483"/>
            <a:ext cx="1558946" cy="1202688"/>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dirty="0" smtClean="0">
                <a:solidFill>
                  <a:schemeClr val="tx1"/>
                </a:solidFill>
              </a:rPr>
              <a:t>営利施設用システム</a:t>
            </a:r>
            <a:endParaRPr lang="en-US" sz="1200" b="1" dirty="0" smtClean="0">
              <a:solidFill>
                <a:schemeClr val="tx1"/>
              </a:solidFill>
            </a:endParaRPr>
          </a:p>
          <a:p>
            <a:pPr algn="ctr"/>
            <a:r>
              <a:rPr lang="ja-JP" altLang="en-US" sz="1200" i="1" dirty="0" smtClean="0">
                <a:solidFill>
                  <a:schemeClr val="tx1"/>
                </a:solidFill>
              </a:rPr>
              <a:t>（ニイミトレンチ）</a:t>
            </a:r>
            <a:endParaRPr lang="en-US" sz="1200" b="1" dirty="0">
              <a:solidFill>
                <a:schemeClr val="tx1"/>
              </a:solidFill>
            </a:endParaRPr>
          </a:p>
        </p:txBody>
      </p:sp>
      <p:sp>
        <p:nvSpPr>
          <p:cNvPr id="8" name="Oval 7"/>
          <p:cNvSpPr/>
          <p:nvPr/>
        </p:nvSpPr>
        <p:spPr>
          <a:xfrm>
            <a:off x="415637" y="2520007"/>
            <a:ext cx="274320" cy="274320"/>
          </a:xfrm>
          <a:prstGeom prst="ellipse">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2</a:t>
            </a:r>
            <a:endParaRPr lang="en-US" sz="1200" b="1" dirty="0"/>
          </a:p>
        </p:txBody>
      </p:sp>
      <p:sp>
        <p:nvSpPr>
          <p:cNvPr id="9" name="Rounded Rectangle 8"/>
          <p:cNvSpPr/>
          <p:nvPr/>
        </p:nvSpPr>
        <p:spPr>
          <a:xfrm>
            <a:off x="529270" y="3938013"/>
            <a:ext cx="1558946" cy="109728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dirty="0" smtClean="0">
                <a:solidFill>
                  <a:schemeClr val="tx1"/>
                </a:solidFill>
              </a:rPr>
              <a:t>公共施設用システム</a:t>
            </a:r>
            <a:endParaRPr lang="en-US" sz="1200" b="1" dirty="0" smtClean="0">
              <a:solidFill>
                <a:schemeClr val="tx1"/>
              </a:solidFill>
            </a:endParaRPr>
          </a:p>
          <a:p>
            <a:pPr algn="ctr"/>
            <a:r>
              <a:rPr lang="ja-JP" altLang="en-US" sz="1200" i="1" dirty="0" smtClean="0">
                <a:solidFill>
                  <a:schemeClr val="tx1"/>
                </a:solidFill>
              </a:rPr>
              <a:t>（ニイミトレンチ）</a:t>
            </a:r>
            <a:endParaRPr lang="en-US" sz="1200" b="1" dirty="0">
              <a:solidFill>
                <a:schemeClr val="tx1"/>
              </a:solidFill>
            </a:endParaRPr>
          </a:p>
        </p:txBody>
      </p:sp>
      <p:sp>
        <p:nvSpPr>
          <p:cNvPr id="10" name="Oval 9"/>
          <p:cNvSpPr/>
          <p:nvPr/>
        </p:nvSpPr>
        <p:spPr>
          <a:xfrm>
            <a:off x="415637" y="3859537"/>
            <a:ext cx="274320" cy="274320"/>
          </a:xfrm>
          <a:prstGeom prst="ellipse">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3</a:t>
            </a:r>
            <a:endParaRPr lang="en-US" sz="1200" b="1" dirty="0"/>
          </a:p>
        </p:txBody>
      </p:sp>
      <p:sp>
        <p:nvSpPr>
          <p:cNvPr id="11" name="Rounded Rectangle 10"/>
          <p:cNvSpPr/>
          <p:nvPr/>
        </p:nvSpPr>
        <p:spPr>
          <a:xfrm>
            <a:off x="529270" y="5172135"/>
            <a:ext cx="1558946" cy="109728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dirty="0" smtClean="0">
                <a:solidFill>
                  <a:schemeClr val="tx1"/>
                </a:solidFill>
              </a:rPr>
              <a:t>小規模都市</a:t>
            </a:r>
            <a:endParaRPr lang="en-US" sz="1200" b="1" dirty="0" smtClean="0">
              <a:solidFill>
                <a:schemeClr val="tx1"/>
              </a:solidFill>
            </a:endParaRPr>
          </a:p>
          <a:p>
            <a:pPr algn="ctr"/>
            <a:r>
              <a:rPr lang="ja-JP" altLang="en-US" sz="1200" i="1" dirty="0" smtClean="0">
                <a:solidFill>
                  <a:schemeClr val="tx1"/>
                </a:solidFill>
              </a:rPr>
              <a:t>（ニイミシステム）</a:t>
            </a:r>
            <a:endParaRPr lang="en-US" sz="1200" i="1" dirty="0">
              <a:solidFill>
                <a:schemeClr val="tx1"/>
              </a:solidFill>
            </a:endParaRPr>
          </a:p>
        </p:txBody>
      </p:sp>
      <p:sp>
        <p:nvSpPr>
          <p:cNvPr id="12" name="Oval 11"/>
          <p:cNvSpPr/>
          <p:nvPr/>
        </p:nvSpPr>
        <p:spPr>
          <a:xfrm>
            <a:off x="415637" y="5093657"/>
            <a:ext cx="274320" cy="274320"/>
          </a:xfrm>
          <a:prstGeom prst="ellipse">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4</a:t>
            </a:r>
          </a:p>
        </p:txBody>
      </p:sp>
      <p:sp>
        <p:nvSpPr>
          <p:cNvPr id="17" name="TextBox 16"/>
          <p:cNvSpPr txBox="1"/>
          <p:nvPr/>
        </p:nvSpPr>
        <p:spPr>
          <a:xfrm>
            <a:off x="2292867" y="1065666"/>
            <a:ext cx="3657600" cy="261036"/>
          </a:xfrm>
          <a:prstGeom prst="rect">
            <a:avLst/>
          </a:prstGeom>
          <a:noFill/>
        </p:spPr>
        <p:txBody>
          <a:bodyPr wrap="square" lIns="0" tIns="0" rIns="0" bIns="0" rtlCol="0">
            <a:noAutofit/>
          </a:bodyPr>
          <a:lstStyle/>
          <a:p>
            <a:r>
              <a:rPr lang="ja-JP" altLang="en-US" sz="1200" b="1" dirty="0" smtClean="0"/>
              <a:t>製品を営利目的で販売するためのビジネスモデル</a:t>
            </a:r>
            <a:endParaRPr lang="en-US" sz="1200" b="1" dirty="0" smtClean="0"/>
          </a:p>
        </p:txBody>
      </p:sp>
      <p:sp>
        <p:nvSpPr>
          <p:cNvPr id="18" name="TextBox 17"/>
          <p:cNvSpPr txBox="1"/>
          <p:nvPr/>
        </p:nvSpPr>
        <p:spPr>
          <a:xfrm>
            <a:off x="6640132" y="1065666"/>
            <a:ext cx="2122867" cy="261036"/>
          </a:xfrm>
          <a:prstGeom prst="rect">
            <a:avLst/>
          </a:prstGeom>
          <a:noFill/>
        </p:spPr>
        <p:txBody>
          <a:bodyPr wrap="square" lIns="0" tIns="0" rIns="0" bIns="0" rtlCol="0">
            <a:noAutofit/>
          </a:bodyPr>
          <a:lstStyle/>
          <a:p>
            <a:r>
              <a:rPr lang="ja-JP" altLang="en-US" sz="1200" b="1" dirty="0" smtClean="0"/>
              <a:t>短期的取り組み</a:t>
            </a:r>
            <a:endParaRPr lang="en-US" sz="1200" b="1" dirty="0" smtClean="0"/>
          </a:p>
        </p:txBody>
      </p:sp>
      <p:cxnSp>
        <p:nvCxnSpPr>
          <p:cNvPr id="38" name="Straight Connector 37"/>
          <p:cNvCxnSpPr/>
          <p:nvPr/>
        </p:nvCxnSpPr>
        <p:spPr>
          <a:xfrm>
            <a:off x="2292867" y="1300320"/>
            <a:ext cx="36576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6640133" y="1300320"/>
            <a:ext cx="2122867"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2292867" y="1402265"/>
            <a:ext cx="3657600" cy="1097280"/>
          </a:xfrm>
          <a:prstGeom prst="rect">
            <a:avLst/>
          </a:prstGeom>
          <a:noFill/>
        </p:spPr>
        <p:txBody>
          <a:bodyPr wrap="square" lIns="0" tIns="0" rIns="0" bIns="0" rtlCol="0">
            <a:noAutofit/>
          </a:bodyPr>
          <a:lstStyle/>
          <a:p>
            <a:r>
              <a:rPr lang="ja-JP" altLang="en-US" sz="1100" b="1" dirty="0" smtClean="0"/>
              <a:t>フランチャイズモデル</a:t>
            </a:r>
            <a:endParaRPr lang="en-US" sz="1100" b="1" dirty="0" smtClean="0"/>
          </a:p>
          <a:p>
            <a:pPr marL="171450" indent="-171450">
              <a:buFont typeface="Arial" panose="020B0604020202020204" pitchFamily="34" charset="0"/>
              <a:buChar char="•"/>
            </a:pPr>
            <a:r>
              <a:rPr lang="ja-JP" altLang="en-US" sz="1000" dirty="0" smtClean="0"/>
              <a:t>地元組織／企業家は毛管浄化社に前払いでライセンス料を払い地域でトレンチの設置・販売を行う</a:t>
            </a:r>
            <a:endParaRPr lang="en-US" sz="1000" dirty="0" smtClean="0"/>
          </a:p>
          <a:p>
            <a:pPr marL="171450" indent="-171450">
              <a:buFont typeface="Arial" panose="020B0604020202020204" pitchFamily="34" charset="0"/>
              <a:buChar char="•"/>
            </a:pPr>
            <a:r>
              <a:rPr lang="ja-JP" altLang="en-US" sz="1000" dirty="0" smtClean="0"/>
              <a:t>フランチャイズ加盟店には利用に応じた支払い、月額料金、希望する活動の関与レベルに基づく従来型の販売モデルの選択肢が与えられる</a:t>
            </a:r>
            <a:endParaRPr lang="en-US" sz="1000" dirty="0" smtClean="0"/>
          </a:p>
          <a:p>
            <a:pPr marL="171450" indent="-171450">
              <a:buFont typeface="Arial" panose="020B0604020202020204" pitchFamily="34" charset="0"/>
              <a:buChar char="•"/>
            </a:pPr>
            <a:r>
              <a:rPr lang="ja-JP" altLang="en-US" sz="1000" dirty="0" smtClean="0"/>
              <a:t>フランチャイズ加盟店はさらコストを抑えるため、家庭が</a:t>
            </a:r>
            <a:r>
              <a:rPr lang="en-US" altLang="ja-JP" sz="1000" dirty="0" smtClean="0"/>
              <a:t>NBA</a:t>
            </a:r>
            <a:r>
              <a:rPr lang="ja-JP" altLang="en-US" sz="1000" dirty="0" smtClean="0"/>
              <a:t>など政府スキームによる補助金を申し込むのに手を貸す</a:t>
            </a:r>
            <a:endParaRPr lang="en-US" sz="1000" dirty="0" smtClean="0"/>
          </a:p>
        </p:txBody>
      </p:sp>
      <p:sp>
        <p:nvSpPr>
          <p:cNvPr id="47" name="TextBox 46"/>
          <p:cNvSpPr txBox="1"/>
          <p:nvPr/>
        </p:nvSpPr>
        <p:spPr>
          <a:xfrm>
            <a:off x="2292867" y="2604961"/>
            <a:ext cx="3657600" cy="1261396"/>
          </a:xfrm>
          <a:prstGeom prst="rect">
            <a:avLst/>
          </a:prstGeom>
          <a:noFill/>
        </p:spPr>
        <p:txBody>
          <a:bodyPr wrap="square" lIns="0" tIns="0" rIns="0" bIns="0" rtlCol="0">
            <a:noAutofit/>
          </a:bodyPr>
          <a:lstStyle/>
          <a:p>
            <a:r>
              <a:rPr lang="ja-JP" altLang="en-US" sz="1100" b="1" dirty="0" smtClean="0"/>
              <a:t>直接販売</a:t>
            </a:r>
            <a:endParaRPr lang="en-US" sz="1100" b="1" dirty="0" smtClean="0"/>
          </a:p>
          <a:p>
            <a:pPr marL="171450" indent="-171450">
              <a:buFont typeface="Arial" panose="020B0604020202020204" pitchFamily="34" charset="0"/>
              <a:buChar char="•"/>
            </a:pPr>
            <a:r>
              <a:rPr lang="ja-JP" altLang="en-US" sz="1000" dirty="0" smtClean="0"/>
              <a:t>地元で強力に事業展開している地元パートナー（ホテル、レストラン、事務所）は手数料を払えば顧客の獲得に手を貸してくれる</a:t>
            </a:r>
            <a:endParaRPr lang="en-US" sz="1000" dirty="0" smtClean="0"/>
          </a:p>
          <a:p>
            <a:pPr marL="171450" indent="-171450">
              <a:buFont typeface="Arial" panose="020B0604020202020204" pitchFamily="34" charset="0"/>
              <a:buChar char="•"/>
            </a:pPr>
            <a:r>
              <a:rPr lang="ja-JP" altLang="en-US" sz="1000" dirty="0" smtClean="0"/>
              <a:t>顧客は設置前に前金を払い、それにより材料費や人件費をまかなう</a:t>
            </a:r>
            <a:endParaRPr lang="en-US" sz="1000" dirty="0" smtClean="0"/>
          </a:p>
          <a:p>
            <a:pPr marL="171450" indent="-171450">
              <a:buFont typeface="Arial" panose="020B0604020202020204" pitchFamily="34" charset="0"/>
              <a:buChar char="•"/>
            </a:pPr>
            <a:r>
              <a:rPr lang="ja-JP" altLang="en-US" sz="1000" dirty="0" smtClean="0"/>
              <a:t>維持管理コストは顧客が負担する。</a:t>
            </a:r>
            <a:r>
              <a:rPr lang="en-US" sz="1000" dirty="0" smtClean="0"/>
              <a:t> MJ</a:t>
            </a:r>
            <a:r>
              <a:rPr lang="ja-JP" altLang="en-US" sz="1000" dirty="0" smtClean="0"/>
              <a:t>は手数料をとって助言によるサポート</a:t>
            </a:r>
            <a:r>
              <a:rPr lang="en-US" sz="1000" baseline="30000" dirty="0" smtClean="0"/>
              <a:t>1 </a:t>
            </a:r>
            <a:r>
              <a:rPr lang="ja-JP" altLang="en-US" sz="1000" dirty="0" smtClean="0"/>
              <a:t>を行うことができる</a:t>
            </a:r>
            <a:endParaRPr lang="en-US" sz="1000" dirty="0"/>
          </a:p>
        </p:txBody>
      </p:sp>
      <p:sp>
        <p:nvSpPr>
          <p:cNvPr id="48" name="TextBox 47"/>
          <p:cNvSpPr txBox="1"/>
          <p:nvPr/>
        </p:nvSpPr>
        <p:spPr>
          <a:xfrm>
            <a:off x="6686026" y="2865983"/>
            <a:ext cx="2042338" cy="1296294"/>
          </a:xfrm>
          <a:prstGeom prst="rect">
            <a:avLst/>
          </a:prstGeom>
          <a:noFill/>
        </p:spPr>
        <p:txBody>
          <a:bodyPr wrap="square" lIns="0" tIns="0" rIns="0" bIns="0" rtlCol="0">
            <a:noAutofit/>
          </a:bodyPr>
          <a:lstStyle/>
          <a:p>
            <a:r>
              <a:rPr lang="ja-JP" altLang="en-US" sz="1100" b="1" dirty="0" smtClean="0"/>
              <a:t>助成金</a:t>
            </a:r>
            <a:endParaRPr lang="en-US" sz="1100" b="1" dirty="0" smtClean="0"/>
          </a:p>
          <a:p>
            <a:pPr marL="171450" indent="-171450">
              <a:buFont typeface="Arial" panose="020B0604020202020204" pitchFamily="34" charset="0"/>
              <a:buChar char="•"/>
            </a:pPr>
            <a:r>
              <a:rPr lang="ja-JP" altLang="en-US" sz="1000" dirty="0" smtClean="0"/>
              <a:t>政府や篤志家からの助成金はパイロットプログラムの構築に利用可能</a:t>
            </a:r>
            <a:endParaRPr lang="en-US" sz="1000" dirty="0" smtClean="0"/>
          </a:p>
          <a:p>
            <a:pPr marL="171450" indent="-171450">
              <a:buFont typeface="Arial" panose="020B0604020202020204" pitchFamily="34" charset="0"/>
              <a:buChar char="•"/>
            </a:pPr>
            <a:r>
              <a:rPr lang="ja-JP" altLang="en-US" sz="1000" dirty="0" smtClean="0"/>
              <a:t>パイロットプログラムが成功すれば地元の中小企業に需要が生まれる</a:t>
            </a:r>
            <a:endParaRPr lang="en-US" sz="1000" dirty="0" smtClean="0"/>
          </a:p>
          <a:p>
            <a:pPr marL="171450" indent="-171450">
              <a:buFont typeface="Arial" panose="020B0604020202020204" pitchFamily="34" charset="0"/>
              <a:buChar char="•"/>
            </a:pPr>
            <a:r>
              <a:rPr lang="ja-JP" altLang="en-US" sz="1000" dirty="0" smtClean="0"/>
              <a:t>維持管理費用は顧客が負担する</a:t>
            </a:r>
            <a:endParaRPr lang="en-US" sz="1000" dirty="0" smtClean="0"/>
          </a:p>
        </p:txBody>
      </p:sp>
      <p:sp>
        <p:nvSpPr>
          <p:cNvPr id="13" name="Isosceles Triangle 12"/>
          <p:cNvSpPr/>
          <p:nvPr/>
        </p:nvSpPr>
        <p:spPr>
          <a:xfrm rot="5400000">
            <a:off x="5396767" y="3609402"/>
            <a:ext cx="1945534" cy="15558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p:cNvSpPr txBox="1"/>
          <p:nvPr/>
        </p:nvSpPr>
        <p:spPr>
          <a:xfrm>
            <a:off x="2292867" y="3938013"/>
            <a:ext cx="3657600" cy="1097280"/>
          </a:xfrm>
          <a:prstGeom prst="rect">
            <a:avLst/>
          </a:prstGeom>
          <a:noFill/>
        </p:spPr>
        <p:txBody>
          <a:bodyPr wrap="square" lIns="0" tIns="0" rIns="0" bIns="0" rtlCol="0">
            <a:noAutofit/>
          </a:bodyPr>
          <a:lstStyle/>
          <a:p>
            <a:r>
              <a:rPr lang="ja-JP" altLang="en-US" sz="1100" b="1" dirty="0" smtClean="0"/>
              <a:t>官民パートナーシップ</a:t>
            </a:r>
            <a:endParaRPr lang="en-US" sz="1100" b="1" dirty="0" smtClean="0"/>
          </a:p>
          <a:p>
            <a:pPr marL="171450" indent="-171450">
              <a:buFont typeface="Arial" panose="020B0604020202020204" pitchFamily="34" charset="0"/>
              <a:buChar char="•"/>
            </a:pPr>
            <a:r>
              <a:rPr lang="ja-JP" altLang="en-US" sz="1000" dirty="0" smtClean="0"/>
              <a:t>政府との一括契約により州内の学校、病院に排泄物処理施設を設置する</a:t>
            </a:r>
            <a:endParaRPr lang="en-US" sz="1000" dirty="0" smtClean="0"/>
          </a:p>
          <a:p>
            <a:pPr marL="171450" indent="-171450">
              <a:buFont typeface="Arial" panose="020B0604020202020204" pitchFamily="34" charset="0"/>
              <a:buChar char="•"/>
            </a:pPr>
            <a:r>
              <a:rPr lang="ja-JP" altLang="en-US" sz="1000" dirty="0" smtClean="0"/>
              <a:t>政府は労働力（</a:t>
            </a:r>
            <a:r>
              <a:rPr lang="en-US" sz="1000" dirty="0" smtClean="0"/>
              <a:t>MGNREGA</a:t>
            </a:r>
            <a:r>
              <a:rPr lang="ja-JP" altLang="en-US" sz="1000" dirty="0" smtClean="0"/>
              <a:t>などの政府スキームに基づいて）及び資材（請負業者を通じて）を提供する</a:t>
            </a:r>
            <a:endParaRPr lang="en-US" sz="1000" dirty="0"/>
          </a:p>
          <a:p>
            <a:pPr marL="171450" indent="-171450">
              <a:buFont typeface="Arial" panose="020B0604020202020204" pitchFamily="34" charset="0"/>
              <a:buChar char="•"/>
            </a:pPr>
            <a:r>
              <a:rPr lang="en-US" sz="1000" dirty="0" smtClean="0"/>
              <a:t>ULB</a:t>
            </a:r>
            <a:r>
              <a:rPr lang="en-US" sz="1000" baseline="30000" dirty="0" smtClean="0"/>
              <a:t>2</a:t>
            </a:r>
            <a:r>
              <a:rPr lang="en-US" sz="1000" dirty="0" smtClean="0"/>
              <a:t> </a:t>
            </a:r>
            <a:r>
              <a:rPr lang="ja-JP" altLang="en-US" sz="1000" dirty="0" smtClean="0"/>
              <a:t>が維持管理コストを負担する</a:t>
            </a:r>
            <a:endParaRPr lang="en-US" sz="1000" dirty="0" smtClean="0"/>
          </a:p>
          <a:p>
            <a:pPr marL="171450" indent="-171450">
              <a:buFont typeface="Arial" panose="020B0604020202020204" pitchFamily="34" charset="0"/>
              <a:buChar char="•"/>
            </a:pPr>
            <a:r>
              <a:rPr lang="en-US" sz="1000" dirty="0" smtClean="0"/>
              <a:t>MJ</a:t>
            </a:r>
            <a:r>
              <a:rPr lang="ja-JP" altLang="en-US" sz="1000" dirty="0" smtClean="0"/>
              <a:t>は手数料をとって助言によるサポートを行うことができる</a:t>
            </a:r>
            <a:endParaRPr lang="en-US" sz="1000" dirty="0"/>
          </a:p>
        </p:txBody>
      </p:sp>
      <p:sp>
        <p:nvSpPr>
          <p:cNvPr id="23" name="TextBox 22"/>
          <p:cNvSpPr txBox="1"/>
          <p:nvPr/>
        </p:nvSpPr>
        <p:spPr>
          <a:xfrm>
            <a:off x="2292867" y="5172134"/>
            <a:ext cx="3657600" cy="1247971"/>
          </a:xfrm>
          <a:prstGeom prst="rect">
            <a:avLst/>
          </a:prstGeom>
          <a:noFill/>
        </p:spPr>
        <p:txBody>
          <a:bodyPr wrap="square" lIns="0" tIns="0" rIns="0" bIns="0" rtlCol="0">
            <a:noAutofit/>
          </a:bodyPr>
          <a:lstStyle/>
          <a:p>
            <a:r>
              <a:rPr lang="ja-JP" altLang="en-US" sz="1100" b="1" dirty="0" smtClean="0"/>
              <a:t>官民パートナーシップ</a:t>
            </a:r>
            <a:endParaRPr lang="en-US" sz="1100" b="1" dirty="0" smtClean="0"/>
          </a:p>
          <a:p>
            <a:pPr marL="171450" indent="-171450">
              <a:buFont typeface="Arial" panose="020B0604020202020204" pitchFamily="34" charset="0"/>
              <a:buChar char="•"/>
            </a:pPr>
            <a:r>
              <a:rPr lang="ja-JP" altLang="en-US" sz="1000" dirty="0" smtClean="0"/>
              <a:t>ニイミシステムの資本コストは開発銀行、篤志家、政府からの助成金により調達する</a:t>
            </a:r>
            <a:endParaRPr lang="en-US" sz="1000" dirty="0" smtClean="0"/>
          </a:p>
          <a:p>
            <a:pPr marL="171450" indent="-171450">
              <a:buFont typeface="Arial" panose="020B0604020202020204" pitchFamily="34" charset="0"/>
              <a:buChar char="•"/>
            </a:pPr>
            <a:r>
              <a:rPr lang="ja-JP" altLang="en-US" sz="1000" dirty="0" smtClean="0"/>
              <a:t>地方自治体や民間建設会社が設置・維持管理を行う</a:t>
            </a:r>
            <a:endParaRPr lang="en-US" sz="1000" dirty="0"/>
          </a:p>
          <a:p>
            <a:pPr marL="171450" indent="-171450">
              <a:buFont typeface="Arial" panose="020B0604020202020204" pitchFamily="34" charset="0"/>
              <a:buChar char="•"/>
            </a:pPr>
            <a:r>
              <a:rPr lang="en-US" sz="1000" dirty="0" smtClean="0"/>
              <a:t>MJ</a:t>
            </a:r>
            <a:r>
              <a:rPr lang="ja-JP" altLang="en-US" sz="1000" dirty="0" smtClean="0"/>
              <a:t>は手数料をとって助言によるサポートを行うことができる</a:t>
            </a:r>
            <a:endParaRPr lang="en-US" sz="1000" dirty="0"/>
          </a:p>
          <a:p>
            <a:pPr marL="171450" indent="-171450">
              <a:buFont typeface="Arial" panose="020B0604020202020204" pitchFamily="34" charset="0"/>
              <a:buChar char="•"/>
            </a:pPr>
            <a:r>
              <a:rPr lang="ja-JP" altLang="en-US" sz="1000" dirty="0" smtClean="0"/>
              <a:t>アウトプット本位の援助、ソーシャルインパクト債のような画期的な資金調達も検討可能</a:t>
            </a:r>
            <a:endParaRPr lang="en-US" sz="1000" dirty="0"/>
          </a:p>
        </p:txBody>
      </p:sp>
    </p:spTree>
    <p:extLst>
      <p:ext uri="{BB962C8B-B14F-4D97-AF65-F5344CB8AC3E}">
        <p14:creationId xmlns:p14="http://schemas.microsoft.com/office/powerpoint/2010/main" val="285172988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アジェンダ</a:t>
            </a:r>
            <a:endParaRPr lang="en-US" dirty="0"/>
          </a:p>
        </p:txBody>
      </p:sp>
      <p:sp>
        <p:nvSpPr>
          <p:cNvPr id="6" name="Rectangle 5"/>
          <p:cNvSpPr>
            <a:spLocks noChangeArrowheads="1"/>
          </p:cNvSpPr>
          <p:nvPr>
            <p:custDataLst>
              <p:tags r:id="rId1"/>
            </p:custDataLst>
          </p:nvPr>
        </p:nvSpPr>
        <p:spPr bwMode="auto">
          <a:xfrm>
            <a:off x="1066876" y="2385981"/>
            <a:ext cx="6450388" cy="427724"/>
          </a:xfrm>
          <a:prstGeom prst="rect">
            <a:avLst/>
          </a:prstGeom>
          <a:solidFill>
            <a:srgbClr val="67103F"/>
          </a:solidFill>
          <a:ln w="12700" algn="ctr">
            <a:noFill/>
            <a:miter lim="800000"/>
            <a:headEnd/>
            <a:tailEnd/>
          </a:ln>
        </p:spPr>
        <p:txBody>
          <a:bodyPr lIns="77893" tIns="38947" rIns="77893" bIns="38947" anchor="ctr"/>
          <a:lstStyle/>
          <a:p>
            <a:pPr marL="97389" defTabSz="779842"/>
            <a:r>
              <a:rPr lang="en-US" sz="1600" b="1" dirty="0">
                <a:solidFill>
                  <a:schemeClr val="bg1"/>
                </a:solidFill>
                <a:latin typeface="Calibri" pitchFamily="34" charset="0"/>
              </a:rPr>
              <a:t>1</a:t>
            </a:r>
            <a:r>
              <a:rPr lang="en-US" sz="1600" b="1" dirty="0" smtClean="0">
                <a:solidFill>
                  <a:schemeClr val="bg1"/>
                </a:solidFill>
                <a:latin typeface="Calibri" pitchFamily="34" charset="0"/>
              </a:rPr>
              <a:t>. </a:t>
            </a:r>
            <a:r>
              <a:rPr lang="ja-JP" altLang="en-US" sz="1600" b="1" dirty="0" smtClean="0">
                <a:solidFill>
                  <a:schemeClr val="bg1"/>
                </a:solidFill>
                <a:latin typeface="Calibri" pitchFamily="34" charset="0"/>
              </a:rPr>
              <a:t>毛管浄化社が提供する技術</a:t>
            </a:r>
            <a:endParaRPr lang="en-GB" sz="1600" b="1" dirty="0">
              <a:solidFill>
                <a:schemeClr val="bg1"/>
              </a:solidFill>
              <a:latin typeface="Calibri" pitchFamily="34" charset="0"/>
            </a:endParaRPr>
          </a:p>
        </p:txBody>
      </p:sp>
      <p:sp>
        <p:nvSpPr>
          <p:cNvPr id="5" name="Rectangle 4"/>
          <p:cNvSpPr>
            <a:spLocks noChangeArrowheads="1"/>
          </p:cNvSpPr>
          <p:nvPr>
            <p:custDataLst>
              <p:tags r:id="rId2"/>
            </p:custDataLst>
          </p:nvPr>
        </p:nvSpPr>
        <p:spPr bwMode="auto">
          <a:xfrm>
            <a:off x="1066876" y="3031085"/>
            <a:ext cx="6450388" cy="427724"/>
          </a:xfrm>
          <a:prstGeom prst="rect">
            <a:avLst/>
          </a:prstGeom>
          <a:noFill/>
          <a:ln w="12700" algn="ctr">
            <a:noFill/>
            <a:miter lim="800000"/>
            <a:headEnd/>
            <a:tailEnd/>
          </a:ln>
        </p:spPr>
        <p:txBody>
          <a:bodyPr lIns="77893" tIns="38947" rIns="77893" bIns="38947" anchor="ctr"/>
          <a:lstStyle/>
          <a:p>
            <a:pPr marL="97389" defTabSz="779842"/>
            <a:r>
              <a:rPr lang="en-US" sz="1600" dirty="0">
                <a:solidFill>
                  <a:srgbClr val="000000"/>
                </a:solidFill>
                <a:latin typeface="Calibri" pitchFamily="34" charset="0"/>
              </a:rPr>
              <a:t>2</a:t>
            </a:r>
            <a:r>
              <a:rPr lang="en-US" sz="1600" dirty="0" smtClean="0">
                <a:solidFill>
                  <a:srgbClr val="000000"/>
                </a:solidFill>
                <a:latin typeface="Calibri" pitchFamily="34" charset="0"/>
              </a:rPr>
              <a:t>. </a:t>
            </a:r>
            <a:r>
              <a:rPr lang="ja-JP" altLang="en-US" sz="1600" dirty="0" smtClean="0">
                <a:solidFill>
                  <a:srgbClr val="000000"/>
                </a:solidFill>
                <a:latin typeface="Calibri" pitchFamily="34" charset="0"/>
              </a:rPr>
              <a:t>インド市場の分析</a:t>
            </a:r>
            <a:endParaRPr lang="en-GB" sz="1600" dirty="0">
              <a:solidFill>
                <a:srgbClr val="000000"/>
              </a:solidFill>
              <a:latin typeface="Calibri" pitchFamily="34" charset="0"/>
            </a:endParaRPr>
          </a:p>
        </p:txBody>
      </p:sp>
      <p:sp>
        <p:nvSpPr>
          <p:cNvPr id="12" name="Rectangle 11"/>
          <p:cNvSpPr>
            <a:spLocks noChangeArrowheads="1"/>
          </p:cNvSpPr>
          <p:nvPr>
            <p:custDataLst>
              <p:tags r:id="rId3"/>
            </p:custDataLst>
          </p:nvPr>
        </p:nvSpPr>
        <p:spPr bwMode="auto">
          <a:xfrm>
            <a:off x="1066876" y="3676189"/>
            <a:ext cx="6450388" cy="427724"/>
          </a:xfrm>
          <a:prstGeom prst="rect">
            <a:avLst/>
          </a:prstGeom>
          <a:noFill/>
          <a:ln w="12700" algn="ctr">
            <a:noFill/>
            <a:miter lim="800000"/>
            <a:headEnd/>
            <a:tailEnd/>
          </a:ln>
        </p:spPr>
        <p:txBody>
          <a:bodyPr lIns="77893" tIns="38947" rIns="77893" bIns="38947" anchor="ctr"/>
          <a:lstStyle/>
          <a:p>
            <a:pPr marL="97389" defTabSz="779842"/>
            <a:r>
              <a:rPr lang="en-US" sz="1600" dirty="0">
                <a:solidFill>
                  <a:srgbClr val="000000"/>
                </a:solidFill>
                <a:latin typeface="Calibri" pitchFamily="34" charset="0"/>
              </a:rPr>
              <a:t>3</a:t>
            </a:r>
            <a:r>
              <a:rPr lang="en-US" sz="1600" dirty="0" smtClean="0">
                <a:solidFill>
                  <a:srgbClr val="000000"/>
                </a:solidFill>
                <a:latin typeface="Calibri" pitchFamily="34" charset="0"/>
              </a:rPr>
              <a:t>. </a:t>
            </a:r>
            <a:r>
              <a:rPr lang="ja-JP" altLang="en-US" sz="1600" dirty="0" smtClean="0">
                <a:solidFill>
                  <a:srgbClr val="000000"/>
                </a:solidFill>
                <a:latin typeface="Calibri" pitchFamily="34" charset="0"/>
              </a:rPr>
              <a:t>契約に向けたビジネスモデルの可能性</a:t>
            </a:r>
            <a:endParaRPr lang="en-GB" sz="1600" dirty="0">
              <a:solidFill>
                <a:srgbClr val="000000"/>
              </a:solidFill>
              <a:latin typeface="Calibri" pitchFamily="34" charset="0"/>
            </a:endParaRPr>
          </a:p>
        </p:txBody>
      </p:sp>
      <p:sp>
        <p:nvSpPr>
          <p:cNvPr id="13" name="Rectangle 12"/>
          <p:cNvSpPr>
            <a:spLocks noChangeArrowheads="1"/>
          </p:cNvSpPr>
          <p:nvPr>
            <p:custDataLst>
              <p:tags r:id="rId4"/>
            </p:custDataLst>
          </p:nvPr>
        </p:nvSpPr>
        <p:spPr bwMode="auto">
          <a:xfrm>
            <a:off x="1066876" y="4321293"/>
            <a:ext cx="6450388" cy="427724"/>
          </a:xfrm>
          <a:prstGeom prst="rect">
            <a:avLst/>
          </a:prstGeom>
          <a:noFill/>
          <a:ln w="12700" algn="ctr">
            <a:noFill/>
            <a:miter lim="800000"/>
            <a:headEnd/>
            <a:tailEnd/>
          </a:ln>
        </p:spPr>
        <p:txBody>
          <a:bodyPr lIns="77893" tIns="38947" rIns="77893" bIns="38947" anchor="ctr"/>
          <a:lstStyle/>
          <a:p>
            <a:pPr marL="97389" defTabSz="779842"/>
            <a:r>
              <a:rPr lang="en-US" sz="1600" dirty="0">
                <a:solidFill>
                  <a:srgbClr val="000000"/>
                </a:solidFill>
                <a:latin typeface="Calibri" pitchFamily="34" charset="0"/>
              </a:rPr>
              <a:t>4</a:t>
            </a:r>
            <a:r>
              <a:rPr lang="en-US" sz="1600" dirty="0" smtClean="0">
                <a:solidFill>
                  <a:srgbClr val="000000"/>
                </a:solidFill>
                <a:latin typeface="Calibri" pitchFamily="34" charset="0"/>
              </a:rPr>
              <a:t>. </a:t>
            </a:r>
            <a:r>
              <a:rPr lang="ja-JP" altLang="en-US" sz="1600" dirty="0" smtClean="0">
                <a:solidFill>
                  <a:srgbClr val="000000"/>
                </a:solidFill>
                <a:latin typeface="Calibri" pitchFamily="34" charset="0"/>
              </a:rPr>
              <a:t>次のステップ</a:t>
            </a:r>
            <a:endParaRPr lang="en-GB" sz="1600" dirty="0">
              <a:solidFill>
                <a:srgbClr val="000000"/>
              </a:solidFill>
              <a:latin typeface="Calibri" pitchFamily="34" charset="0"/>
            </a:endParaRPr>
          </a:p>
        </p:txBody>
      </p:sp>
    </p:spTree>
    <p:extLst>
      <p:ext uri="{BB962C8B-B14F-4D97-AF65-F5344CB8AC3E}">
        <p14:creationId xmlns:p14="http://schemas.microsoft.com/office/powerpoint/2010/main" val="1998809848"/>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40182292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53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9" name="Rectangle 58"/>
          <p:cNvSpPr/>
          <p:nvPr/>
        </p:nvSpPr>
        <p:spPr>
          <a:xfrm>
            <a:off x="2292867" y="3266558"/>
            <a:ext cx="1490472" cy="516068"/>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60" name="Rectangle 59"/>
          <p:cNvSpPr/>
          <p:nvPr/>
        </p:nvSpPr>
        <p:spPr>
          <a:xfrm>
            <a:off x="2292867" y="2726679"/>
            <a:ext cx="1490472" cy="51606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55" name="Rectangle 54"/>
          <p:cNvSpPr/>
          <p:nvPr/>
        </p:nvSpPr>
        <p:spPr>
          <a:xfrm>
            <a:off x="5589487" y="5702885"/>
            <a:ext cx="1490472" cy="572173"/>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56" name="Rectangle 55"/>
          <p:cNvSpPr/>
          <p:nvPr/>
        </p:nvSpPr>
        <p:spPr>
          <a:xfrm>
            <a:off x="5589487" y="5177776"/>
            <a:ext cx="1490472" cy="51031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1" name="Rectangle 30"/>
          <p:cNvSpPr/>
          <p:nvPr/>
        </p:nvSpPr>
        <p:spPr>
          <a:xfrm>
            <a:off x="5589487" y="3174648"/>
            <a:ext cx="1490472" cy="658368"/>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2" name="Rectangle 31"/>
          <p:cNvSpPr/>
          <p:nvPr/>
        </p:nvSpPr>
        <p:spPr>
          <a:xfrm>
            <a:off x="5589487" y="2735733"/>
            <a:ext cx="1490472" cy="438914"/>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26" name="TextBox 25"/>
          <p:cNvSpPr txBox="1"/>
          <p:nvPr/>
        </p:nvSpPr>
        <p:spPr>
          <a:xfrm>
            <a:off x="5589487" y="2735734"/>
            <a:ext cx="1490568" cy="1097281"/>
          </a:xfrm>
          <a:prstGeom prst="rect">
            <a:avLst/>
          </a:prstGeom>
          <a:noFill/>
        </p:spPr>
        <p:txBody>
          <a:bodyPr wrap="square" lIns="0" tIns="0" rIns="0" bIns="0" rtlCol="0">
            <a:noAutofit/>
          </a:bodyPr>
          <a:lstStyle/>
          <a:p>
            <a:r>
              <a:rPr lang="ja-JP" altLang="en-US" sz="1100" dirty="0" smtClean="0"/>
              <a:t>現場で</a:t>
            </a:r>
            <a:r>
              <a:rPr lang="ja-JP" altLang="en-US" sz="1100" b="1" dirty="0" smtClean="0"/>
              <a:t>設置を監督する。資材や労働力の手配は顧客が行う</a:t>
            </a:r>
            <a:endParaRPr lang="en-US" sz="1100" b="1" dirty="0" smtClean="0"/>
          </a:p>
        </p:txBody>
      </p:sp>
      <p:sp>
        <p:nvSpPr>
          <p:cNvPr id="48" name="Rectangle 47"/>
          <p:cNvSpPr/>
          <p:nvPr/>
        </p:nvSpPr>
        <p:spPr>
          <a:xfrm>
            <a:off x="7237796" y="2612605"/>
            <a:ext cx="1490472" cy="122040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54" name="Rectangle 53"/>
          <p:cNvSpPr/>
          <p:nvPr/>
        </p:nvSpPr>
        <p:spPr>
          <a:xfrm>
            <a:off x="7237796" y="1495135"/>
            <a:ext cx="1490472" cy="111747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46" name="Rectangle 45"/>
          <p:cNvSpPr/>
          <p:nvPr/>
        </p:nvSpPr>
        <p:spPr>
          <a:xfrm>
            <a:off x="7237796" y="4303395"/>
            <a:ext cx="1490472" cy="753581"/>
          </a:xfrm>
          <a:prstGeom prst="rect">
            <a:avLst/>
          </a:prstGeom>
          <a:solidFill>
            <a:srgbClr val="FFE9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47" name="Rectangle 46"/>
          <p:cNvSpPr/>
          <p:nvPr/>
        </p:nvSpPr>
        <p:spPr>
          <a:xfrm>
            <a:off x="7237796" y="3976332"/>
            <a:ext cx="1490472" cy="295631"/>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28" name="Rectangle 27"/>
          <p:cNvSpPr/>
          <p:nvPr/>
        </p:nvSpPr>
        <p:spPr>
          <a:xfrm>
            <a:off x="2292867" y="1509226"/>
            <a:ext cx="1490472" cy="51606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4" name="Rectangle 3"/>
          <p:cNvSpPr/>
          <p:nvPr/>
        </p:nvSpPr>
        <p:spPr>
          <a:xfrm>
            <a:off x="2292867" y="2096537"/>
            <a:ext cx="1490472" cy="516068"/>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2" name="Title 1"/>
          <p:cNvSpPr>
            <a:spLocks noGrp="1"/>
          </p:cNvSpPr>
          <p:nvPr>
            <p:ph type="title"/>
          </p:nvPr>
        </p:nvSpPr>
        <p:spPr/>
        <p:txBody>
          <a:bodyPr/>
          <a:lstStyle/>
          <a:p>
            <a:r>
              <a:rPr lang="ja-JP" altLang="en-US" u="sng" dirty="0" smtClean="0"/>
              <a:t>実施計画：</a:t>
            </a:r>
            <a:r>
              <a:rPr lang="en-US" dirty="0" smtClean="0"/>
              <a:t> </a:t>
            </a:r>
            <a:r>
              <a:rPr lang="en-US" b="0" i="1" dirty="0" smtClean="0"/>
              <a:t>MJ</a:t>
            </a:r>
            <a:r>
              <a:rPr lang="ja-JP" altLang="en-US" b="0" i="1" dirty="0" smtClean="0"/>
              <a:t>は新規プロジェクト獲得のため最初のアウトリーチ活動に注力すべき。実施するのは地元パートナー</a:t>
            </a:r>
            <a:endParaRPr lang="en-US" b="0" i="1" dirty="0"/>
          </a:p>
        </p:txBody>
      </p:sp>
      <p:sp>
        <p:nvSpPr>
          <p:cNvPr id="5" name="Rounded Rectangle 4"/>
          <p:cNvSpPr/>
          <p:nvPr/>
        </p:nvSpPr>
        <p:spPr>
          <a:xfrm>
            <a:off x="529271" y="1495136"/>
            <a:ext cx="1559588" cy="109728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dirty="0" smtClean="0">
                <a:solidFill>
                  <a:schemeClr val="tx1"/>
                </a:solidFill>
              </a:rPr>
              <a:t>家庭用システム</a:t>
            </a:r>
            <a:endParaRPr lang="en-US" sz="1200" b="1" dirty="0" smtClean="0">
              <a:solidFill>
                <a:schemeClr val="tx1"/>
              </a:solidFill>
            </a:endParaRPr>
          </a:p>
          <a:p>
            <a:pPr algn="ctr"/>
            <a:r>
              <a:rPr lang="ja-JP" altLang="en-US" sz="1200" i="1" dirty="0" smtClean="0">
                <a:solidFill>
                  <a:schemeClr val="tx1"/>
                </a:solidFill>
              </a:rPr>
              <a:t>（ニイミトレンチ）</a:t>
            </a:r>
            <a:endParaRPr lang="en-US" sz="1200" b="1" dirty="0">
              <a:solidFill>
                <a:schemeClr val="tx1"/>
              </a:solidFill>
            </a:endParaRPr>
          </a:p>
        </p:txBody>
      </p:sp>
      <p:sp>
        <p:nvSpPr>
          <p:cNvPr id="6" name="Oval 5"/>
          <p:cNvSpPr/>
          <p:nvPr/>
        </p:nvSpPr>
        <p:spPr>
          <a:xfrm>
            <a:off x="415637" y="1416660"/>
            <a:ext cx="274320" cy="274320"/>
          </a:xfrm>
          <a:prstGeom prst="ellipse">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1</a:t>
            </a:r>
            <a:endParaRPr lang="en-US" sz="1200" b="1" dirty="0"/>
          </a:p>
        </p:txBody>
      </p:sp>
      <p:sp>
        <p:nvSpPr>
          <p:cNvPr id="7" name="Rounded Rectangle 6"/>
          <p:cNvSpPr/>
          <p:nvPr/>
        </p:nvSpPr>
        <p:spPr>
          <a:xfrm>
            <a:off x="529270" y="2735735"/>
            <a:ext cx="1558946" cy="109728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dirty="0" smtClean="0">
                <a:solidFill>
                  <a:schemeClr val="tx1"/>
                </a:solidFill>
              </a:rPr>
              <a:t>営利施設用システム</a:t>
            </a:r>
            <a:endParaRPr lang="en-US" sz="1200" b="1" dirty="0" smtClean="0">
              <a:solidFill>
                <a:schemeClr val="tx1"/>
              </a:solidFill>
            </a:endParaRPr>
          </a:p>
          <a:p>
            <a:pPr algn="ctr"/>
            <a:r>
              <a:rPr lang="ja-JP" altLang="en-US" sz="1200" i="1" dirty="0" smtClean="0">
                <a:solidFill>
                  <a:schemeClr val="tx1"/>
                </a:solidFill>
              </a:rPr>
              <a:t>（ニイミトレンチ）</a:t>
            </a:r>
            <a:endParaRPr lang="en-US" sz="1200" b="1" dirty="0" smtClean="0">
              <a:solidFill>
                <a:schemeClr val="tx1"/>
              </a:solidFill>
            </a:endParaRPr>
          </a:p>
        </p:txBody>
      </p:sp>
      <p:sp>
        <p:nvSpPr>
          <p:cNvPr id="8" name="Oval 7"/>
          <p:cNvSpPr/>
          <p:nvPr/>
        </p:nvSpPr>
        <p:spPr>
          <a:xfrm>
            <a:off x="415637" y="2657257"/>
            <a:ext cx="274320" cy="274320"/>
          </a:xfrm>
          <a:prstGeom prst="ellipse">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2</a:t>
            </a:r>
            <a:endParaRPr lang="en-US" sz="1200" b="1" dirty="0"/>
          </a:p>
        </p:txBody>
      </p:sp>
      <p:sp>
        <p:nvSpPr>
          <p:cNvPr id="9" name="Rounded Rectangle 8"/>
          <p:cNvSpPr/>
          <p:nvPr/>
        </p:nvSpPr>
        <p:spPr>
          <a:xfrm>
            <a:off x="529270" y="3941105"/>
            <a:ext cx="1558946" cy="109728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dirty="0" smtClean="0">
                <a:solidFill>
                  <a:schemeClr val="tx1"/>
                </a:solidFill>
              </a:rPr>
              <a:t>公共施設用システム</a:t>
            </a:r>
            <a:endParaRPr lang="en-US" sz="1200" b="1" dirty="0" smtClean="0">
              <a:solidFill>
                <a:schemeClr val="tx1"/>
              </a:solidFill>
            </a:endParaRPr>
          </a:p>
          <a:p>
            <a:pPr algn="ctr"/>
            <a:r>
              <a:rPr lang="ja-JP" altLang="en-US" sz="1200" i="1" dirty="0" smtClean="0">
                <a:solidFill>
                  <a:schemeClr val="tx1"/>
                </a:solidFill>
              </a:rPr>
              <a:t>（ニイミトレンチ）</a:t>
            </a:r>
            <a:endParaRPr lang="en-US" sz="1200" b="1" dirty="0" smtClean="0">
              <a:solidFill>
                <a:schemeClr val="tx1"/>
              </a:solidFill>
            </a:endParaRPr>
          </a:p>
        </p:txBody>
      </p:sp>
      <p:sp>
        <p:nvSpPr>
          <p:cNvPr id="10" name="Oval 9"/>
          <p:cNvSpPr/>
          <p:nvPr/>
        </p:nvSpPr>
        <p:spPr>
          <a:xfrm>
            <a:off x="415637" y="3862627"/>
            <a:ext cx="274320" cy="274320"/>
          </a:xfrm>
          <a:prstGeom prst="ellipse">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t>3</a:t>
            </a:r>
            <a:endParaRPr lang="en-US" sz="1200" b="1" dirty="0"/>
          </a:p>
        </p:txBody>
      </p:sp>
      <p:sp>
        <p:nvSpPr>
          <p:cNvPr id="11" name="Rounded Rectangle 10"/>
          <p:cNvSpPr/>
          <p:nvPr/>
        </p:nvSpPr>
        <p:spPr>
          <a:xfrm>
            <a:off x="529270" y="5135114"/>
            <a:ext cx="1558946" cy="109728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dirty="0" smtClean="0">
                <a:solidFill>
                  <a:schemeClr val="tx1"/>
                </a:solidFill>
              </a:rPr>
              <a:t>小規模都市</a:t>
            </a:r>
            <a:endParaRPr lang="en-US" sz="1200" b="1" dirty="0" smtClean="0">
              <a:solidFill>
                <a:schemeClr val="tx1"/>
              </a:solidFill>
            </a:endParaRPr>
          </a:p>
          <a:p>
            <a:pPr algn="ctr"/>
            <a:r>
              <a:rPr lang="ja-JP" altLang="en-US" sz="1200" i="1" dirty="0" smtClean="0">
                <a:solidFill>
                  <a:schemeClr val="tx1"/>
                </a:solidFill>
              </a:rPr>
              <a:t>（ニイミシステム）</a:t>
            </a:r>
            <a:endParaRPr lang="en-US" sz="1200" i="1" dirty="0">
              <a:solidFill>
                <a:schemeClr val="tx1"/>
              </a:solidFill>
            </a:endParaRPr>
          </a:p>
        </p:txBody>
      </p:sp>
      <p:sp>
        <p:nvSpPr>
          <p:cNvPr id="12" name="Oval 11"/>
          <p:cNvSpPr/>
          <p:nvPr/>
        </p:nvSpPr>
        <p:spPr>
          <a:xfrm>
            <a:off x="415637" y="5056636"/>
            <a:ext cx="274320" cy="274320"/>
          </a:xfrm>
          <a:prstGeom prst="ellipse">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4</a:t>
            </a:r>
          </a:p>
        </p:txBody>
      </p:sp>
      <p:sp>
        <p:nvSpPr>
          <p:cNvPr id="13" name="TextBox 12"/>
          <p:cNvSpPr txBox="1"/>
          <p:nvPr/>
        </p:nvSpPr>
        <p:spPr>
          <a:xfrm>
            <a:off x="2292771" y="1495135"/>
            <a:ext cx="1490568" cy="1097281"/>
          </a:xfrm>
          <a:prstGeom prst="rect">
            <a:avLst/>
          </a:prstGeom>
          <a:noFill/>
        </p:spPr>
        <p:txBody>
          <a:bodyPr wrap="square" lIns="0" tIns="0" rIns="0" bIns="0" rtlCol="0">
            <a:noAutofit/>
          </a:bodyPr>
          <a:lstStyle/>
          <a:p>
            <a:r>
              <a:rPr lang="ja-JP" altLang="en-US" sz="1100" dirty="0" smtClean="0"/>
              <a:t>コミュニティとの結びつきが強い</a:t>
            </a:r>
            <a:r>
              <a:rPr lang="ja-JP" altLang="en-US" sz="1100" b="1" dirty="0" smtClean="0"/>
              <a:t>地元パートナー（例：</a:t>
            </a:r>
            <a:r>
              <a:rPr lang="en-US" altLang="ja-JP" sz="1100" b="1" dirty="0" smtClean="0"/>
              <a:t>ECOSS</a:t>
            </a:r>
            <a:r>
              <a:rPr lang="ja-JP" altLang="en-US" sz="1100" b="1" dirty="0" smtClean="0"/>
              <a:t>）を探す。地元パートナーが</a:t>
            </a:r>
            <a:r>
              <a:rPr lang="ja-JP" altLang="en-US" sz="1100" dirty="0" smtClean="0"/>
              <a:t>ニイミトレンチの</a:t>
            </a:r>
            <a:r>
              <a:rPr lang="ja-JP" altLang="en-US" sz="1100" b="1" dirty="0" smtClean="0"/>
              <a:t>マーケティングや周知活動を行う</a:t>
            </a:r>
            <a:endParaRPr lang="en-US" sz="1100" dirty="0" smtClean="0"/>
          </a:p>
        </p:txBody>
      </p:sp>
      <p:sp>
        <p:nvSpPr>
          <p:cNvPr id="22" name="Pentagon 21"/>
          <p:cNvSpPr/>
          <p:nvPr/>
        </p:nvSpPr>
        <p:spPr>
          <a:xfrm>
            <a:off x="2292867" y="907313"/>
            <a:ext cx="1737360" cy="509529"/>
          </a:xfrm>
          <a:prstGeom prst="homePlate">
            <a:avLst/>
          </a:prstGeom>
          <a:solidFill>
            <a:srgbClr val="6710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dirty="0" smtClean="0"/>
              <a:t>最初のアウトリーチ活動</a:t>
            </a:r>
            <a:endParaRPr lang="en-US" sz="1200" b="1" dirty="0"/>
          </a:p>
        </p:txBody>
      </p:sp>
      <p:sp>
        <p:nvSpPr>
          <p:cNvPr id="23" name="Chevron 22"/>
          <p:cNvSpPr/>
          <p:nvPr/>
        </p:nvSpPr>
        <p:spPr>
          <a:xfrm>
            <a:off x="3865696" y="907313"/>
            <a:ext cx="1737360" cy="509347"/>
          </a:xfrm>
          <a:prstGeom prst="chevron">
            <a:avLst/>
          </a:prstGeom>
          <a:solidFill>
            <a:srgbClr val="6710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dirty="0" smtClean="0"/>
              <a:t>場所の選定</a:t>
            </a:r>
            <a:endParaRPr lang="en-US" sz="1200" b="1" dirty="0"/>
          </a:p>
        </p:txBody>
      </p:sp>
      <p:sp>
        <p:nvSpPr>
          <p:cNvPr id="24" name="Chevron 23"/>
          <p:cNvSpPr/>
          <p:nvPr/>
        </p:nvSpPr>
        <p:spPr>
          <a:xfrm>
            <a:off x="5438525" y="907313"/>
            <a:ext cx="1737360" cy="509347"/>
          </a:xfrm>
          <a:prstGeom prst="chevron">
            <a:avLst/>
          </a:prstGeom>
          <a:solidFill>
            <a:srgbClr val="6710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dirty="0" smtClean="0"/>
              <a:t>設置</a:t>
            </a:r>
            <a:endParaRPr lang="en-US" sz="1200" b="1" dirty="0"/>
          </a:p>
        </p:txBody>
      </p:sp>
      <p:sp>
        <p:nvSpPr>
          <p:cNvPr id="25" name="Chevron 24"/>
          <p:cNvSpPr/>
          <p:nvPr/>
        </p:nvSpPr>
        <p:spPr>
          <a:xfrm>
            <a:off x="7011353" y="907313"/>
            <a:ext cx="1737360" cy="509347"/>
          </a:xfrm>
          <a:prstGeom prst="chevron">
            <a:avLst/>
          </a:prstGeom>
          <a:solidFill>
            <a:srgbClr val="6710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dirty="0" smtClean="0"/>
              <a:t>フォローアップ</a:t>
            </a:r>
            <a:endParaRPr lang="en-US" sz="1200" b="1" dirty="0"/>
          </a:p>
        </p:txBody>
      </p:sp>
      <p:sp>
        <p:nvSpPr>
          <p:cNvPr id="17" name="TextBox 16"/>
          <p:cNvSpPr txBox="1"/>
          <p:nvPr/>
        </p:nvSpPr>
        <p:spPr>
          <a:xfrm>
            <a:off x="3941177" y="1495135"/>
            <a:ext cx="1490568" cy="2328965"/>
          </a:xfrm>
          <a:prstGeom prst="rect">
            <a:avLst/>
          </a:prstGeom>
          <a:solidFill>
            <a:schemeClr val="accent3">
              <a:lumMod val="20000"/>
              <a:lumOff val="80000"/>
            </a:schemeClr>
          </a:solidFill>
        </p:spPr>
        <p:txBody>
          <a:bodyPr wrap="square" lIns="0" tIns="0" rIns="0" bIns="0" rtlCol="0" anchor="ctr">
            <a:noAutofit/>
          </a:bodyPr>
          <a:lstStyle/>
          <a:p>
            <a:r>
              <a:rPr lang="ja-JP" altLang="en-US" sz="1100" b="1" dirty="0" smtClean="0"/>
              <a:t>パートナーに研修を行い重要情報（</a:t>
            </a:r>
            <a:r>
              <a:rPr lang="ja-JP" altLang="en-US" sz="1100" dirty="0" smtClean="0"/>
              <a:t>土壌、利用可能エリア）や写真</a:t>
            </a:r>
            <a:r>
              <a:rPr lang="ja-JP" altLang="en-US" sz="1100" b="1" dirty="0" smtClean="0"/>
              <a:t>を集めてもらえば、</a:t>
            </a:r>
            <a:r>
              <a:rPr lang="en-US" sz="1100" b="1" dirty="0" smtClean="0"/>
              <a:t>MJ</a:t>
            </a:r>
            <a:r>
              <a:rPr lang="ja-JP" altLang="en-US" sz="1100" b="1" dirty="0" smtClean="0"/>
              <a:t>が審査して</a:t>
            </a:r>
            <a:r>
              <a:rPr lang="ja-JP" altLang="en-US" sz="1100" dirty="0" smtClean="0"/>
              <a:t>場所の</a:t>
            </a:r>
            <a:r>
              <a:rPr lang="ja-JP" altLang="en-US" sz="1100" b="1" dirty="0" smtClean="0"/>
              <a:t>最終リストを準備することができる</a:t>
            </a:r>
            <a:endParaRPr lang="en-US" sz="1100" dirty="0" smtClean="0"/>
          </a:p>
        </p:txBody>
      </p:sp>
      <p:sp>
        <p:nvSpPr>
          <p:cNvPr id="18" name="TextBox 17"/>
          <p:cNvSpPr txBox="1"/>
          <p:nvPr/>
        </p:nvSpPr>
        <p:spPr>
          <a:xfrm>
            <a:off x="5589487" y="1495135"/>
            <a:ext cx="1490568" cy="1097281"/>
          </a:xfrm>
          <a:prstGeom prst="rect">
            <a:avLst/>
          </a:prstGeom>
          <a:solidFill>
            <a:schemeClr val="accent3">
              <a:lumMod val="20000"/>
              <a:lumOff val="80000"/>
            </a:schemeClr>
          </a:solidFill>
        </p:spPr>
        <p:txBody>
          <a:bodyPr wrap="square" lIns="0" tIns="0" rIns="0" bIns="0" rtlCol="0">
            <a:noAutofit/>
          </a:bodyPr>
          <a:lstStyle/>
          <a:p>
            <a:r>
              <a:rPr lang="ja-JP" altLang="en-US" sz="1100" dirty="0" smtClean="0"/>
              <a:t>例として</a:t>
            </a:r>
            <a:r>
              <a:rPr lang="en-US" altLang="ja-JP" sz="1100" b="1" dirty="0" smtClean="0"/>
              <a:t>1</a:t>
            </a:r>
            <a:r>
              <a:rPr lang="ja-JP" altLang="en-US" sz="1100" b="1" dirty="0" smtClean="0"/>
              <a:t>カ所の設置を監督すれば、</a:t>
            </a:r>
            <a:r>
              <a:rPr lang="ja-JP" altLang="en-US" sz="1100" dirty="0" smtClean="0"/>
              <a:t>その後</a:t>
            </a:r>
            <a:r>
              <a:rPr lang="ja-JP" altLang="en-US" sz="1100" b="1" dirty="0" smtClean="0"/>
              <a:t>パートナーが</a:t>
            </a:r>
            <a:r>
              <a:rPr lang="ja-JP" altLang="en-US" sz="1100" dirty="0" smtClean="0"/>
              <a:t>労働力、資材を確保して</a:t>
            </a:r>
            <a:r>
              <a:rPr lang="ja-JP" altLang="en-US" sz="1100" b="1" dirty="0" smtClean="0"/>
              <a:t>設置を遂行</a:t>
            </a:r>
            <a:r>
              <a:rPr lang="ja-JP" altLang="en-US" sz="1100" b="1" dirty="0"/>
              <a:t>する</a:t>
            </a:r>
            <a:endParaRPr lang="en-US" sz="1100" dirty="0" smtClean="0"/>
          </a:p>
        </p:txBody>
      </p:sp>
      <p:sp>
        <p:nvSpPr>
          <p:cNvPr id="19" name="TextBox 18"/>
          <p:cNvSpPr txBox="1"/>
          <p:nvPr/>
        </p:nvSpPr>
        <p:spPr>
          <a:xfrm>
            <a:off x="7237796" y="1495135"/>
            <a:ext cx="1490568" cy="2337879"/>
          </a:xfrm>
          <a:prstGeom prst="rect">
            <a:avLst/>
          </a:prstGeom>
          <a:noFill/>
        </p:spPr>
        <p:txBody>
          <a:bodyPr wrap="square" lIns="0" tIns="0" rIns="0" bIns="0" rtlCol="0" anchor="ctr">
            <a:noAutofit/>
          </a:bodyPr>
          <a:lstStyle/>
          <a:p>
            <a:r>
              <a:rPr lang="ja-JP" altLang="en-US" sz="1100" dirty="0" smtClean="0"/>
              <a:t>本格的に稼働したら</a:t>
            </a:r>
            <a:r>
              <a:rPr lang="ja-JP" altLang="en-US" sz="1100" b="1" dirty="0" smtClean="0"/>
              <a:t>進展を監視し、何らかの問題があれば解決するため、年に</a:t>
            </a:r>
            <a:r>
              <a:rPr lang="en-US" altLang="ja-JP" sz="1100" b="1" dirty="0" smtClean="0"/>
              <a:t>2</a:t>
            </a:r>
            <a:r>
              <a:rPr lang="ja-JP" altLang="en-US" sz="1100" b="1" dirty="0" smtClean="0"/>
              <a:t>度訪れる。</a:t>
            </a:r>
            <a:r>
              <a:rPr lang="ja-JP" altLang="en-US" sz="1100" dirty="0" smtClean="0"/>
              <a:t>日々の維持管理は受益者／地元パートナーの責任となる</a:t>
            </a:r>
            <a:endParaRPr lang="en-US" sz="1100" dirty="0" smtClean="0"/>
          </a:p>
        </p:txBody>
      </p:sp>
      <p:sp>
        <p:nvSpPr>
          <p:cNvPr id="20" name="TextBox 19"/>
          <p:cNvSpPr txBox="1"/>
          <p:nvPr/>
        </p:nvSpPr>
        <p:spPr>
          <a:xfrm>
            <a:off x="2292867" y="2735735"/>
            <a:ext cx="1490568" cy="1097281"/>
          </a:xfrm>
          <a:prstGeom prst="rect">
            <a:avLst/>
          </a:prstGeom>
          <a:noFill/>
        </p:spPr>
        <p:txBody>
          <a:bodyPr wrap="square" lIns="0" tIns="0" rIns="0" bIns="0" rtlCol="0">
            <a:noAutofit/>
          </a:bodyPr>
          <a:lstStyle/>
          <a:p>
            <a:r>
              <a:rPr lang="ja-JP" altLang="en-US" sz="1100" dirty="0" smtClean="0"/>
              <a:t>地元ビジネスとの結びつきが強いパートナー組織の助けを借りて</a:t>
            </a:r>
            <a:r>
              <a:rPr lang="ja-JP" altLang="en-US" sz="1100" b="1" dirty="0" smtClean="0"/>
              <a:t>州観光局やホテルチェーンに接触する</a:t>
            </a:r>
            <a:endParaRPr lang="en-US" sz="1100" b="1" dirty="0" smtClean="0"/>
          </a:p>
        </p:txBody>
      </p:sp>
      <p:sp>
        <p:nvSpPr>
          <p:cNvPr id="34" name="TextBox 33"/>
          <p:cNvSpPr txBox="1"/>
          <p:nvPr/>
        </p:nvSpPr>
        <p:spPr>
          <a:xfrm>
            <a:off x="2292867" y="3944900"/>
            <a:ext cx="1490568" cy="1097281"/>
          </a:xfrm>
          <a:prstGeom prst="rect">
            <a:avLst/>
          </a:prstGeom>
          <a:solidFill>
            <a:schemeClr val="accent6">
              <a:lumMod val="20000"/>
              <a:lumOff val="80000"/>
            </a:schemeClr>
          </a:solidFill>
        </p:spPr>
        <p:txBody>
          <a:bodyPr wrap="square" lIns="0" tIns="0" rIns="0" bIns="0" rtlCol="0">
            <a:noAutofit/>
          </a:bodyPr>
          <a:lstStyle/>
          <a:p>
            <a:r>
              <a:rPr lang="ja-JP" altLang="en-US" sz="1100" dirty="0" smtClean="0"/>
              <a:t>学校、診療所、</a:t>
            </a:r>
            <a:r>
              <a:rPr lang="ja-JP" altLang="en-US" sz="1100" dirty="0"/>
              <a:t>病院</a:t>
            </a:r>
            <a:r>
              <a:rPr lang="ja-JP" altLang="en-US" sz="1100" dirty="0" smtClean="0"/>
              <a:t>にトレンチを設置するため、</a:t>
            </a:r>
            <a:r>
              <a:rPr lang="ja-JP" altLang="en-US" sz="1100" b="1" dirty="0" smtClean="0"/>
              <a:t>中央政府や州政府（教育・保健）にアプローチする</a:t>
            </a:r>
            <a:endParaRPr lang="en-US" sz="1100" dirty="0" smtClean="0"/>
          </a:p>
        </p:txBody>
      </p:sp>
      <p:sp>
        <p:nvSpPr>
          <p:cNvPr id="35" name="TextBox 34"/>
          <p:cNvSpPr txBox="1"/>
          <p:nvPr/>
        </p:nvSpPr>
        <p:spPr>
          <a:xfrm>
            <a:off x="3941177" y="3944900"/>
            <a:ext cx="1490568" cy="1097281"/>
          </a:xfrm>
          <a:prstGeom prst="rect">
            <a:avLst/>
          </a:prstGeom>
          <a:solidFill>
            <a:srgbClr val="FFE9D0"/>
          </a:solidFill>
        </p:spPr>
        <p:txBody>
          <a:bodyPr wrap="square" lIns="0" tIns="0" rIns="0" bIns="0" rtlCol="0">
            <a:noAutofit/>
          </a:bodyPr>
          <a:lstStyle/>
          <a:p>
            <a:r>
              <a:rPr lang="ja-JP" altLang="en-US" sz="1100" b="1" dirty="0" smtClean="0"/>
              <a:t>地方自治体が</a:t>
            </a:r>
            <a:r>
              <a:rPr lang="ja-JP" altLang="en-US" sz="1100" dirty="0" smtClean="0"/>
              <a:t>定められた要件に基づき</a:t>
            </a:r>
            <a:r>
              <a:rPr lang="ja-JP" altLang="en-US" sz="1100" b="1" dirty="0" smtClean="0"/>
              <a:t>適した場所を選定する</a:t>
            </a:r>
            <a:endParaRPr lang="en-US" sz="1100" dirty="0" smtClean="0"/>
          </a:p>
        </p:txBody>
      </p:sp>
      <p:sp>
        <p:nvSpPr>
          <p:cNvPr id="38" name="Rectangle 37"/>
          <p:cNvSpPr/>
          <p:nvPr/>
        </p:nvSpPr>
        <p:spPr>
          <a:xfrm>
            <a:off x="5589487" y="4488587"/>
            <a:ext cx="1490472" cy="568389"/>
          </a:xfrm>
          <a:prstGeom prst="rect">
            <a:avLst/>
          </a:prstGeom>
          <a:solidFill>
            <a:srgbClr val="FFE9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9" name="Rectangle 38"/>
          <p:cNvSpPr/>
          <p:nvPr/>
        </p:nvSpPr>
        <p:spPr>
          <a:xfrm>
            <a:off x="5589487" y="3976332"/>
            <a:ext cx="1490472" cy="48082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6" name="TextBox 35"/>
          <p:cNvSpPr txBox="1"/>
          <p:nvPr/>
        </p:nvSpPr>
        <p:spPr>
          <a:xfrm>
            <a:off x="5589391" y="3944899"/>
            <a:ext cx="1490568" cy="1097281"/>
          </a:xfrm>
          <a:prstGeom prst="rect">
            <a:avLst/>
          </a:prstGeom>
          <a:noFill/>
        </p:spPr>
        <p:txBody>
          <a:bodyPr wrap="square" lIns="0" tIns="0" rIns="0" bIns="0" rtlCol="0">
            <a:noAutofit/>
          </a:bodyPr>
          <a:lstStyle/>
          <a:p>
            <a:r>
              <a:rPr lang="ja-JP" altLang="en-US" sz="1100" b="1" dirty="0" smtClean="0"/>
              <a:t>能力強化に重点を置いて</a:t>
            </a:r>
            <a:r>
              <a:rPr lang="en-US" altLang="ja-JP" sz="1100" b="1" dirty="0" smtClean="0"/>
              <a:t>1</a:t>
            </a:r>
            <a:r>
              <a:rPr lang="ja-JP" altLang="en-US" sz="1100" b="1" dirty="0" smtClean="0"/>
              <a:t>カ所で設置を監督し、</a:t>
            </a:r>
            <a:r>
              <a:rPr lang="ja-JP" altLang="en-US" sz="1100" dirty="0" smtClean="0"/>
              <a:t>他の現場では</a:t>
            </a:r>
            <a:r>
              <a:rPr lang="ja-JP" altLang="en-US" sz="1100" b="1" dirty="0" smtClean="0"/>
              <a:t>地区当局が</a:t>
            </a:r>
            <a:r>
              <a:rPr lang="ja-JP" altLang="en-US" sz="1100" dirty="0" smtClean="0"/>
              <a:t>政府請負業者の助けを借りて</a:t>
            </a:r>
            <a:r>
              <a:rPr lang="ja-JP" altLang="en-US" sz="1100" b="1" dirty="0" smtClean="0"/>
              <a:t>同様に行う</a:t>
            </a:r>
            <a:endParaRPr lang="en-US" sz="1100" b="1" dirty="0" smtClean="0"/>
          </a:p>
        </p:txBody>
      </p:sp>
      <p:sp>
        <p:nvSpPr>
          <p:cNvPr id="37" name="TextBox 36"/>
          <p:cNvSpPr txBox="1"/>
          <p:nvPr/>
        </p:nvSpPr>
        <p:spPr>
          <a:xfrm>
            <a:off x="7237796" y="3944900"/>
            <a:ext cx="1490568" cy="1097280"/>
          </a:xfrm>
          <a:prstGeom prst="rect">
            <a:avLst/>
          </a:prstGeom>
          <a:noFill/>
        </p:spPr>
        <p:txBody>
          <a:bodyPr wrap="square" lIns="0" tIns="0" rIns="0" bIns="0" rtlCol="0">
            <a:noAutofit/>
          </a:bodyPr>
          <a:lstStyle/>
          <a:p>
            <a:r>
              <a:rPr lang="ja-JP" altLang="en-US" sz="1100" dirty="0" smtClean="0"/>
              <a:t>各現場のスタッフに</a:t>
            </a:r>
            <a:r>
              <a:rPr lang="ja-JP" altLang="en-US" sz="1100" b="1" dirty="0" smtClean="0"/>
              <a:t>講習会を行う。</a:t>
            </a:r>
            <a:r>
              <a:rPr lang="ja-JP" altLang="en-US" sz="1100" dirty="0" smtClean="0"/>
              <a:t>モニタリングと維持管理は政府が行う</a:t>
            </a:r>
            <a:endParaRPr lang="en-US" sz="1100" dirty="0" smtClean="0"/>
          </a:p>
        </p:txBody>
      </p:sp>
      <p:sp>
        <p:nvSpPr>
          <p:cNvPr id="49" name="TextBox 48"/>
          <p:cNvSpPr txBox="1"/>
          <p:nvPr/>
        </p:nvSpPr>
        <p:spPr>
          <a:xfrm>
            <a:off x="2292867" y="5162981"/>
            <a:ext cx="1490568" cy="1097281"/>
          </a:xfrm>
          <a:prstGeom prst="rect">
            <a:avLst/>
          </a:prstGeom>
          <a:solidFill>
            <a:schemeClr val="accent6">
              <a:lumMod val="20000"/>
              <a:lumOff val="80000"/>
            </a:schemeClr>
          </a:solidFill>
        </p:spPr>
        <p:txBody>
          <a:bodyPr wrap="square" lIns="0" tIns="0" rIns="0" bIns="0" rtlCol="0">
            <a:noAutofit/>
          </a:bodyPr>
          <a:lstStyle/>
          <a:p>
            <a:r>
              <a:rPr lang="ja-JP" altLang="en-US" sz="1100" b="1" dirty="0" smtClean="0"/>
              <a:t>小規模都市の地方自治体にアプローチして</a:t>
            </a:r>
            <a:r>
              <a:rPr lang="ja-JP" altLang="en-US" sz="1100" dirty="0" smtClean="0"/>
              <a:t>ニイミシステムの価値提案を行う</a:t>
            </a:r>
            <a:endParaRPr lang="en-US" sz="1100" dirty="0" smtClean="0"/>
          </a:p>
        </p:txBody>
      </p:sp>
      <p:sp>
        <p:nvSpPr>
          <p:cNvPr id="50" name="TextBox 49"/>
          <p:cNvSpPr txBox="1"/>
          <p:nvPr/>
        </p:nvSpPr>
        <p:spPr>
          <a:xfrm>
            <a:off x="3941177" y="5162981"/>
            <a:ext cx="1490568" cy="1097281"/>
          </a:xfrm>
          <a:prstGeom prst="rect">
            <a:avLst/>
          </a:prstGeom>
          <a:solidFill>
            <a:schemeClr val="accent6">
              <a:lumMod val="20000"/>
              <a:lumOff val="80000"/>
            </a:schemeClr>
          </a:solidFill>
        </p:spPr>
        <p:txBody>
          <a:bodyPr wrap="square" lIns="0" tIns="0" rIns="0" bIns="0" rtlCol="0">
            <a:noAutofit/>
          </a:bodyPr>
          <a:lstStyle/>
          <a:p>
            <a:r>
              <a:rPr lang="ja-JP" altLang="en-US" sz="1100" dirty="0" smtClean="0"/>
              <a:t>政府のアドバイスにより適した場所を選定する</a:t>
            </a:r>
            <a:endParaRPr lang="en-US" sz="1100" dirty="0" smtClean="0"/>
          </a:p>
        </p:txBody>
      </p:sp>
      <p:sp>
        <p:nvSpPr>
          <p:cNvPr id="51" name="TextBox 50"/>
          <p:cNvSpPr txBox="1"/>
          <p:nvPr/>
        </p:nvSpPr>
        <p:spPr>
          <a:xfrm>
            <a:off x="5589391" y="5162980"/>
            <a:ext cx="1490568" cy="1097281"/>
          </a:xfrm>
          <a:prstGeom prst="rect">
            <a:avLst/>
          </a:prstGeom>
          <a:noFill/>
        </p:spPr>
        <p:txBody>
          <a:bodyPr wrap="square" lIns="0" tIns="0" rIns="0" bIns="0" rtlCol="0">
            <a:noAutofit/>
          </a:bodyPr>
          <a:lstStyle/>
          <a:p>
            <a:r>
              <a:rPr lang="ja-JP" altLang="en-US" sz="1100" b="1" dirty="0" smtClean="0"/>
              <a:t>設置に際して広範な技術的支援及び管理を行う。</a:t>
            </a:r>
            <a:r>
              <a:rPr lang="ja-JP" altLang="en-US" sz="1100" dirty="0" smtClean="0"/>
              <a:t>地元請負業者は資材の調達に手を貸す</a:t>
            </a:r>
            <a:endParaRPr lang="en-US" sz="1100" dirty="0" smtClean="0"/>
          </a:p>
        </p:txBody>
      </p:sp>
      <p:sp>
        <p:nvSpPr>
          <p:cNvPr id="52" name="TextBox 51"/>
          <p:cNvSpPr txBox="1"/>
          <p:nvPr/>
        </p:nvSpPr>
        <p:spPr>
          <a:xfrm>
            <a:off x="7237796" y="5162981"/>
            <a:ext cx="1490568" cy="1097280"/>
          </a:xfrm>
          <a:prstGeom prst="rect">
            <a:avLst/>
          </a:prstGeom>
          <a:solidFill>
            <a:schemeClr val="accent6">
              <a:lumMod val="20000"/>
              <a:lumOff val="80000"/>
            </a:schemeClr>
          </a:solidFill>
        </p:spPr>
        <p:txBody>
          <a:bodyPr wrap="square" lIns="0" tIns="0" rIns="0" bIns="0" rtlCol="0">
            <a:noAutofit/>
          </a:bodyPr>
          <a:lstStyle/>
          <a:p>
            <a:r>
              <a:rPr lang="ja-JP" altLang="en-US" sz="1100" b="1" dirty="0"/>
              <a:t>助言</a:t>
            </a:r>
            <a:r>
              <a:rPr lang="ja-JP" altLang="en-US" sz="1100" b="1" dirty="0" smtClean="0"/>
              <a:t>によるサポートをずっと提供</a:t>
            </a:r>
            <a:r>
              <a:rPr lang="ja-JP" altLang="en-US" sz="1100" b="1" smtClean="0"/>
              <a:t>し、</a:t>
            </a:r>
            <a:r>
              <a:rPr lang="ja-JP" altLang="en-US" sz="1100"/>
              <a:t>現地</a:t>
            </a:r>
            <a:r>
              <a:rPr lang="ja-JP" altLang="en-US" sz="1100" smtClean="0"/>
              <a:t>職員に</a:t>
            </a:r>
            <a:r>
              <a:rPr lang="ja-JP" altLang="en-US" sz="1100" dirty="0" smtClean="0"/>
              <a:t>対して日々の維持管理の講習を行う</a:t>
            </a:r>
            <a:endParaRPr lang="en-US" sz="1100" dirty="0" smtClean="0"/>
          </a:p>
        </p:txBody>
      </p:sp>
      <p:sp>
        <p:nvSpPr>
          <p:cNvPr id="15" name="Rectangle 14"/>
          <p:cNvSpPr/>
          <p:nvPr/>
        </p:nvSpPr>
        <p:spPr>
          <a:xfrm>
            <a:off x="415637" y="907313"/>
            <a:ext cx="274320" cy="107755"/>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415637" y="1033156"/>
            <a:ext cx="274320" cy="10775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p:cNvSpPr/>
          <p:nvPr/>
        </p:nvSpPr>
        <p:spPr>
          <a:xfrm>
            <a:off x="415637" y="1175283"/>
            <a:ext cx="274320" cy="107755"/>
          </a:xfrm>
          <a:prstGeom prst="rect">
            <a:avLst/>
          </a:prstGeom>
          <a:solidFill>
            <a:srgbClr val="FFE9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42"/>
          <p:cNvSpPr txBox="1"/>
          <p:nvPr/>
        </p:nvSpPr>
        <p:spPr>
          <a:xfrm>
            <a:off x="813999" y="907313"/>
            <a:ext cx="1371600" cy="109728"/>
          </a:xfrm>
          <a:prstGeom prst="rect">
            <a:avLst/>
          </a:prstGeom>
          <a:noFill/>
        </p:spPr>
        <p:txBody>
          <a:bodyPr wrap="square" lIns="0" tIns="0" rIns="0" bIns="0" rtlCol="0" anchor="ctr">
            <a:noAutofit/>
          </a:bodyPr>
          <a:lstStyle/>
          <a:p>
            <a:pPr marL="213952" indent="-213952"/>
            <a:r>
              <a:rPr lang="en-US" sz="1000" dirty="0" smtClean="0"/>
              <a:t>MJ</a:t>
            </a:r>
            <a:r>
              <a:rPr lang="ja-JP" altLang="en-US" sz="1000" dirty="0" smtClean="0"/>
              <a:t>の仕事</a:t>
            </a:r>
            <a:endParaRPr lang="en-US" sz="1000" i="1" dirty="0"/>
          </a:p>
        </p:txBody>
      </p:sp>
      <p:sp>
        <p:nvSpPr>
          <p:cNvPr id="44" name="TextBox 43"/>
          <p:cNvSpPr txBox="1"/>
          <p:nvPr/>
        </p:nvSpPr>
        <p:spPr>
          <a:xfrm>
            <a:off x="813999" y="1033156"/>
            <a:ext cx="1371600" cy="109728"/>
          </a:xfrm>
          <a:prstGeom prst="rect">
            <a:avLst/>
          </a:prstGeom>
          <a:noFill/>
        </p:spPr>
        <p:txBody>
          <a:bodyPr wrap="square" lIns="0" tIns="0" rIns="0" bIns="0" rtlCol="0" anchor="ctr">
            <a:noAutofit/>
          </a:bodyPr>
          <a:lstStyle/>
          <a:p>
            <a:pPr marL="213952" indent="-213952"/>
            <a:r>
              <a:rPr lang="ja-JP" altLang="en-US" sz="1000" dirty="0" smtClean="0"/>
              <a:t>地元パートナーの仕事</a:t>
            </a:r>
            <a:endParaRPr lang="en-US" sz="1000" i="1" dirty="0"/>
          </a:p>
        </p:txBody>
      </p:sp>
      <p:sp>
        <p:nvSpPr>
          <p:cNvPr id="45" name="TextBox 44"/>
          <p:cNvSpPr txBox="1"/>
          <p:nvPr/>
        </p:nvSpPr>
        <p:spPr>
          <a:xfrm>
            <a:off x="813999" y="1175283"/>
            <a:ext cx="1371600" cy="109728"/>
          </a:xfrm>
          <a:prstGeom prst="rect">
            <a:avLst/>
          </a:prstGeom>
          <a:noFill/>
        </p:spPr>
        <p:txBody>
          <a:bodyPr wrap="square" lIns="0" tIns="0" rIns="0" bIns="0" rtlCol="0" anchor="ctr">
            <a:noAutofit/>
          </a:bodyPr>
          <a:lstStyle/>
          <a:p>
            <a:pPr marL="213952" indent="-213952"/>
            <a:r>
              <a:rPr lang="ja-JP" altLang="en-US" sz="1000" dirty="0" smtClean="0"/>
              <a:t>政府の仕事</a:t>
            </a:r>
            <a:endParaRPr lang="en-US" sz="1000" i="1" dirty="0"/>
          </a:p>
        </p:txBody>
      </p:sp>
    </p:spTree>
    <p:extLst>
      <p:ext uri="{BB962C8B-B14F-4D97-AF65-F5344CB8AC3E}">
        <p14:creationId xmlns:p14="http://schemas.microsoft.com/office/powerpoint/2010/main" val="303619182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17979941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6325"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ja-JP" altLang="en-US" dirty="0" smtClean="0"/>
              <a:t>公共施設用システム（特に学校）と小規模都市は中長期的に見てニイミ製品にとって最も魅力的</a:t>
            </a:r>
            <a:endParaRPr lang="en-US" dirty="0"/>
          </a:p>
        </p:txBody>
      </p:sp>
      <p:sp>
        <p:nvSpPr>
          <p:cNvPr id="3" name="Text Placeholder 2"/>
          <p:cNvSpPr>
            <a:spLocks noGrp="1"/>
          </p:cNvSpPr>
          <p:nvPr>
            <p:ph type="body" sz="quarter" idx="37"/>
          </p:nvPr>
        </p:nvSpPr>
        <p:spPr/>
        <p:txBody>
          <a:bodyPr/>
          <a:lstStyle/>
          <a:p>
            <a:r>
              <a:rPr lang="en-US" baseline="30000" smtClean="0"/>
              <a:t>1</a:t>
            </a:r>
            <a:r>
              <a:rPr lang="ja-JP" altLang="en-US" smtClean="0"/>
              <a:t>支払い</a:t>
            </a:r>
            <a:r>
              <a:rPr lang="ja-JP" altLang="en-US"/>
              <a:t>意欲</a:t>
            </a:r>
            <a:endParaRPr lang="en-US" dirty="0"/>
          </a:p>
        </p:txBody>
      </p:sp>
      <p:sp>
        <p:nvSpPr>
          <p:cNvPr id="13" name="Rounded Rectangle 12"/>
          <p:cNvSpPr/>
          <p:nvPr/>
        </p:nvSpPr>
        <p:spPr>
          <a:xfrm>
            <a:off x="529270" y="1895340"/>
            <a:ext cx="1106583" cy="1009679"/>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b="1" dirty="0" smtClean="0">
                <a:solidFill>
                  <a:schemeClr val="tx1"/>
                </a:solidFill>
              </a:rPr>
              <a:t>家庭用システム</a:t>
            </a:r>
            <a:endParaRPr lang="en-US" sz="1100" b="1" dirty="0" smtClean="0">
              <a:solidFill>
                <a:schemeClr val="tx1"/>
              </a:solidFill>
            </a:endParaRPr>
          </a:p>
          <a:p>
            <a:pPr algn="ctr"/>
            <a:r>
              <a:rPr lang="ja-JP" altLang="en-US" sz="1100" i="1" dirty="0" smtClean="0">
                <a:solidFill>
                  <a:schemeClr val="tx1"/>
                </a:solidFill>
              </a:rPr>
              <a:t>（ニイミトレンチ）</a:t>
            </a:r>
            <a:endParaRPr lang="en-US" sz="1100" b="1" dirty="0">
              <a:solidFill>
                <a:schemeClr val="tx1"/>
              </a:solidFill>
            </a:endParaRPr>
          </a:p>
        </p:txBody>
      </p:sp>
      <p:sp>
        <p:nvSpPr>
          <p:cNvPr id="14" name="Oval 13"/>
          <p:cNvSpPr/>
          <p:nvPr/>
        </p:nvSpPr>
        <p:spPr>
          <a:xfrm>
            <a:off x="415637" y="1819140"/>
            <a:ext cx="274320" cy="274320"/>
          </a:xfrm>
          <a:prstGeom prst="ellipse">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t>1</a:t>
            </a:r>
            <a:endParaRPr lang="en-US" sz="1100" b="1" dirty="0"/>
          </a:p>
        </p:txBody>
      </p:sp>
      <p:sp>
        <p:nvSpPr>
          <p:cNvPr id="10" name="Rounded Rectangle 9"/>
          <p:cNvSpPr/>
          <p:nvPr/>
        </p:nvSpPr>
        <p:spPr>
          <a:xfrm>
            <a:off x="529270" y="3054067"/>
            <a:ext cx="1106583" cy="100650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b="1" dirty="0" smtClean="0">
                <a:solidFill>
                  <a:schemeClr val="tx1"/>
                </a:solidFill>
              </a:rPr>
              <a:t>営利施設用システム</a:t>
            </a:r>
            <a:endParaRPr lang="en-US" sz="1100" b="1" dirty="0" smtClean="0">
              <a:solidFill>
                <a:schemeClr val="tx1"/>
              </a:solidFill>
            </a:endParaRPr>
          </a:p>
          <a:p>
            <a:pPr algn="ctr"/>
            <a:r>
              <a:rPr lang="ja-JP" altLang="en-US" sz="1100" i="1" dirty="0" smtClean="0">
                <a:solidFill>
                  <a:schemeClr val="tx1"/>
                </a:solidFill>
              </a:rPr>
              <a:t>（ニイミトレンチ）</a:t>
            </a:r>
            <a:endParaRPr lang="en-US" sz="1100" b="1" dirty="0">
              <a:solidFill>
                <a:schemeClr val="tx1"/>
              </a:solidFill>
            </a:endParaRPr>
          </a:p>
        </p:txBody>
      </p:sp>
      <p:sp>
        <p:nvSpPr>
          <p:cNvPr id="11" name="Oval 10"/>
          <p:cNvSpPr/>
          <p:nvPr/>
        </p:nvSpPr>
        <p:spPr>
          <a:xfrm>
            <a:off x="415637" y="2976279"/>
            <a:ext cx="274320" cy="274320"/>
          </a:xfrm>
          <a:prstGeom prst="ellipse">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t>2</a:t>
            </a:r>
            <a:endParaRPr lang="en-US" sz="1100" b="1" dirty="0"/>
          </a:p>
        </p:txBody>
      </p:sp>
      <p:sp>
        <p:nvSpPr>
          <p:cNvPr id="12" name="Rounded Rectangle 11"/>
          <p:cNvSpPr/>
          <p:nvPr/>
        </p:nvSpPr>
        <p:spPr>
          <a:xfrm>
            <a:off x="529270" y="4221937"/>
            <a:ext cx="1106583" cy="100650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b="1" dirty="0" smtClean="0">
                <a:solidFill>
                  <a:schemeClr val="tx1"/>
                </a:solidFill>
              </a:rPr>
              <a:t>　公共施設用システム</a:t>
            </a:r>
            <a:endParaRPr lang="en-US" sz="1100" b="1" dirty="0" smtClean="0">
              <a:solidFill>
                <a:schemeClr val="tx1"/>
              </a:solidFill>
            </a:endParaRPr>
          </a:p>
          <a:p>
            <a:pPr algn="ctr"/>
            <a:r>
              <a:rPr lang="ja-JP" altLang="en-US" sz="1100" i="1" dirty="0" smtClean="0">
                <a:solidFill>
                  <a:schemeClr val="tx1"/>
                </a:solidFill>
              </a:rPr>
              <a:t>（ニイミトレンチ）</a:t>
            </a:r>
            <a:endParaRPr lang="en-US" sz="1100" b="1" dirty="0">
              <a:solidFill>
                <a:schemeClr val="tx1"/>
              </a:solidFill>
            </a:endParaRPr>
          </a:p>
        </p:txBody>
      </p:sp>
      <p:sp>
        <p:nvSpPr>
          <p:cNvPr id="15" name="Oval 14"/>
          <p:cNvSpPr/>
          <p:nvPr/>
        </p:nvSpPr>
        <p:spPr>
          <a:xfrm>
            <a:off x="415637" y="4144149"/>
            <a:ext cx="274320" cy="274320"/>
          </a:xfrm>
          <a:prstGeom prst="ellipse">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smtClean="0"/>
              <a:t>3</a:t>
            </a:r>
            <a:endParaRPr lang="en-US" sz="1100" b="1" dirty="0"/>
          </a:p>
        </p:txBody>
      </p:sp>
      <p:sp>
        <p:nvSpPr>
          <p:cNvPr id="18" name="Rounded Rectangle 17"/>
          <p:cNvSpPr/>
          <p:nvPr/>
        </p:nvSpPr>
        <p:spPr>
          <a:xfrm>
            <a:off x="529270" y="5372100"/>
            <a:ext cx="1106583" cy="100650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b="1" dirty="0" smtClean="0">
                <a:solidFill>
                  <a:schemeClr val="tx1"/>
                </a:solidFill>
              </a:rPr>
              <a:t>小規模都市</a:t>
            </a:r>
            <a:endParaRPr lang="en-US" sz="1100" b="1" dirty="0" smtClean="0">
              <a:solidFill>
                <a:schemeClr val="tx1"/>
              </a:solidFill>
            </a:endParaRPr>
          </a:p>
          <a:p>
            <a:pPr algn="ctr"/>
            <a:r>
              <a:rPr lang="ja-JP" altLang="en-US" sz="1100" i="1" dirty="0" smtClean="0">
                <a:solidFill>
                  <a:schemeClr val="tx1"/>
                </a:solidFill>
              </a:rPr>
              <a:t>（ニイミシステム）</a:t>
            </a:r>
            <a:endParaRPr lang="en-US" sz="1100" i="1" dirty="0">
              <a:solidFill>
                <a:schemeClr val="tx1"/>
              </a:solidFill>
            </a:endParaRPr>
          </a:p>
        </p:txBody>
      </p:sp>
      <p:sp>
        <p:nvSpPr>
          <p:cNvPr id="21" name="Oval 20"/>
          <p:cNvSpPr/>
          <p:nvPr/>
        </p:nvSpPr>
        <p:spPr>
          <a:xfrm>
            <a:off x="415637" y="5292725"/>
            <a:ext cx="274320" cy="274320"/>
          </a:xfrm>
          <a:prstGeom prst="ellipse">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t>4</a:t>
            </a:r>
          </a:p>
        </p:txBody>
      </p:sp>
      <p:sp>
        <p:nvSpPr>
          <p:cNvPr id="30" name="TextBox 29"/>
          <p:cNvSpPr txBox="1"/>
          <p:nvPr/>
        </p:nvSpPr>
        <p:spPr>
          <a:xfrm>
            <a:off x="1761689" y="1248024"/>
            <a:ext cx="1097280" cy="463330"/>
          </a:xfrm>
          <a:prstGeom prst="rect">
            <a:avLst/>
          </a:prstGeom>
          <a:noFill/>
        </p:spPr>
        <p:txBody>
          <a:bodyPr wrap="square" lIns="0" tIns="0" rIns="0" bIns="0" rtlCol="0">
            <a:noAutofit/>
          </a:bodyPr>
          <a:lstStyle/>
          <a:p>
            <a:r>
              <a:rPr lang="ja-JP" altLang="en-US" sz="1100" b="1" i="1" dirty="0" smtClean="0"/>
              <a:t>実行可能性</a:t>
            </a:r>
            <a:endParaRPr lang="en-US" sz="1100" b="1" i="1" dirty="0" smtClean="0"/>
          </a:p>
          <a:p>
            <a:r>
              <a:rPr lang="ja-JP" altLang="en-US" sz="1000" i="1" dirty="0" smtClean="0"/>
              <a:t>このセグメントは採算に合うか</a:t>
            </a:r>
            <a:endParaRPr lang="en-US" sz="1000" i="1" dirty="0" smtClean="0"/>
          </a:p>
        </p:txBody>
      </p:sp>
      <p:cxnSp>
        <p:nvCxnSpPr>
          <p:cNvPr id="31" name="Straight Connector 30"/>
          <p:cNvCxnSpPr/>
          <p:nvPr/>
        </p:nvCxnSpPr>
        <p:spPr>
          <a:xfrm>
            <a:off x="1761689" y="1787412"/>
            <a:ext cx="109728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3"/>
            </p:custDataLst>
          </p:nvPr>
        </p:nvSpPr>
        <p:spPr bwMode="auto">
          <a:xfrm>
            <a:off x="8058150" y="2120900"/>
            <a:ext cx="203200" cy="203200"/>
          </a:xfrm>
          <a:prstGeom prst="ellipse">
            <a:avLst/>
          </a:prstGeom>
          <a:solidFill>
            <a:schemeClr val="bg1"/>
          </a:solidFill>
          <a:ln w="9525">
            <a:solidFill>
              <a:srgbClr val="6710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p:cNvSpPr/>
          <p:nvPr>
            <p:custDataLst>
              <p:tags r:id="rId4"/>
            </p:custDataLst>
          </p:nvPr>
        </p:nvSpPr>
        <p:spPr bwMode="auto">
          <a:xfrm>
            <a:off x="8058150" y="3348038"/>
            <a:ext cx="203200" cy="203200"/>
          </a:xfrm>
          <a:prstGeom prst="ellipse">
            <a:avLst/>
          </a:prstGeom>
          <a:solidFill>
            <a:schemeClr val="bg1"/>
          </a:solidFill>
          <a:ln w="9525">
            <a:solidFill>
              <a:srgbClr val="6710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Arc 46"/>
          <p:cNvSpPr/>
          <p:nvPr>
            <p:custDataLst>
              <p:tags r:id="rId5"/>
            </p:custDataLst>
          </p:nvPr>
        </p:nvSpPr>
        <p:spPr bwMode="gray">
          <a:xfrm>
            <a:off x="8058150" y="3348038"/>
            <a:ext cx="203200" cy="203200"/>
          </a:xfrm>
          <a:prstGeom prst="arc">
            <a:avLst>
              <a:gd name="adj1" fmla="val 16200000"/>
              <a:gd name="adj2" fmla="val 0"/>
            </a:avLst>
          </a:prstGeom>
          <a:solidFill>
            <a:srgbClr val="67103F"/>
          </a:solidFill>
          <a:ln w="9525">
            <a:solidFill>
              <a:srgbClr val="67103F"/>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8" name="Oval 47"/>
          <p:cNvSpPr/>
          <p:nvPr>
            <p:custDataLst>
              <p:tags r:id="rId6"/>
            </p:custDataLst>
          </p:nvPr>
        </p:nvSpPr>
        <p:spPr bwMode="auto">
          <a:xfrm>
            <a:off x="8058150" y="4533900"/>
            <a:ext cx="203200" cy="203200"/>
          </a:xfrm>
          <a:prstGeom prst="ellipse">
            <a:avLst/>
          </a:prstGeom>
          <a:solidFill>
            <a:schemeClr val="bg1"/>
          </a:solidFill>
          <a:ln w="9525">
            <a:solidFill>
              <a:srgbClr val="6710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Arc 16"/>
          <p:cNvSpPr/>
          <p:nvPr>
            <p:custDataLst>
              <p:tags r:id="rId7"/>
            </p:custDataLst>
          </p:nvPr>
        </p:nvSpPr>
        <p:spPr bwMode="gray">
          <a:xfrm>
            <a:off x="8058150" y="4533900"/>
            <a:ext cx="203200" cy="203200"/>
          </a:xfrm>
          <a:prstGeom prst="arc">
            <a:avLst>
              <a:gd name="adj1" fmla="val 16200000"/>
              <a:gd name="adj2" fmla="val 10800000"/>
            </a:avLst>
          </a:prstGeom>
          <a:solidFill>
            <a:srgbClr val="67103F"/>
          </a:solidFill>
          <a:ln w="9525">
            <a:solidFill>
              <a:srgbClr val="67103F"/>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0" name="Oval 49"/>
          <p:cNvSpPr/>
          <p:nvPr>
            <p:custDataLst>
              <p:tags r:id="rId8"/>
            </p:custDataLst>
          </p:nvPr>
        </p:nvSpPr>
        <p:spPr bwMode="auto">
          <a:xfrm>
            <a:off x="8058150" y="5803900"/>
            <a:ext cx="203200" cy="203200"/>
          </a:xfrm>
          <a:prstGeom prst="ellipse">
            <a:avLst/>
          </a:prstGeom>
          <a:solidFill>
            <a:srgbClr val="67103F"/>
          </a:solidFill>
          <a:ln w="9525">
            <a:solidFill>
              <a:srgbClr val="6710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p:cNvSpPr/>
          <p:nvPr/>
        </p:nvSpPr>
        <p:spPr>
          <a:xfrm>
            <a:off x="1761689" y="904254"/>
            <a:ext cx="5588852" cy="304682"/>
          </a:xfrm>
          <a:prstGeom prst="rect">
            <a:avLst/>
          </a:prstGeom>
          <a:solidFill>
            <a:srgbClr val="9A60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smtClean="0"/>
              <a:t>評価基準</a:t>
            </a:r>
            <a:endParaRPr lang="en-US" sz="1400" b="1" dirty="0"/>
          </a:p>
        </p:txBody>
      </p:sp>
      <p:sp>
        <p:nvSpPr>
          <p:cNvPr id="36" name="Rectangle 35"/>
          <p:cNvSpPr/>
          <p:nvPr/>
        </p:nvSpPr>
        <p:spPr>
          <a:xfrm>
            <a:off x="7441035" y="904254"/>
            <a:ext cx="1307678" cy="304682"/>
          </a:xfrm>
          <a:prstGeom prst="rect">
            <a:avLst/>
          </a:prstGeom>
          <a:solidFill>
            <a:srgbClr val="9A60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smtClean="0"/>
              <a:t>評価</a:t>
            </a:r>
            <a:endParaRPr lang="en-US" sz="1400" b="1" dirty="0"/>
          </a:p>
        </p:txBody>
      </p:sp>
      <p:sp>
        <p:nvSpPr>
          <p:cNvPr id="37" name="Oval 36"/>
          <p:cNvSpPr/>
          <p:nvPr>
            <p:custDataLst>
              <p:tags r:id="rId9"/>
            </p:custDataLst>
          </p:nvPr>
        </p:nvSpPr>
        <p:spPr bwMode="auto">
          <a:xfrm>
            <a:off x="7567613" y="1304925"/>
            <a:ext cx="136525" cy="136525"/>
          </a:xfrm>
          <a:prstGeom prst="ellipse">
            <a:avLst/>
          </a:prstGeom>
          <a:solidFill>
            <a:schemeClr val="bg1"/>
          </a:solidFill>
          <a:ln w="9525">
            <a:solidFill>
              <a:srgbClr val="6710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p:cNvSpPr/>
          <p:nvPr>
            <p:custDataLst>
              <p:tags r:id="rId10"/>
            </p:custDataLst>
          </p:nvPr>
        </p:nvSpPr>
        <p:spPr bwMode="auto">
          <a:xfrm>
            <a:off x="8437563" y="1304925"/>
            <a:ext cx="136525" cy="136525"/>
          </a:xfrm>
          <a:prstGeom prst="ellipse">
            <a:avLst/>
          </a:prstGeom>
          <a:solidFill>
            <a:srgbClr val="67103F"/>
          </a:solidFill>
          <a:ln w="9525">
            <a:solidFill>
              <a:srgbClr val="6710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Isosceles Triangle 5"/>
          <p:cNvSpPr/>
          <p:nvPr/>
        </p:nvSpPr>
        <p:spPr>
          <a:xfrm rot="16200000">
            <a:off x="8005022" y="1102363"/>
            <a:ext cx="106255" cy="517943"/>
          </a:xfrm>
          <a:prstGeom prst="triangle">
            <a:avLst>
              <a:gd name="adj"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TextBox 52"/>
          <p:cNvSpPr txBox="1"/>
          <p:nvPr/>
        </p:nvSpPr>
        <p:spPr>
          <a:xfrm>
            <a:off x="7441035" y="1513733"/>
            <a:ext cx="1287329" cy="167336"/>
          </a:xfrm>
          <a:prstGeom prst="rect">
            <a:avLst/>
          </a:prstGeom>
          <a:noFill/>
        </p:spPr>
        <p:txBody>
          <a:bodyPr wrap="square" lIns="0" tIns="0" rIns="0" bIns="0" rtlCol="0">
            <a:noAutofit/>
          </a:bodyPr>
          <a:lstStyle/>
          <a:p>
            <a:r>
              <a:rPr lang="ja-JP" altLang="en-US" sz="1000" i="1" dirty="0" smtClean="0"/>
              <a:t>魅力が増大</a:t>
            </a:r>
            <a:endParaRPr lang="en-US" sz="1000" i="1" dirty="0" smtClean="0"/>
          </a:p>
        </p:txBody>
      </p:sp>
      <p:sp>
        <p:nvSpPr>
          <p:cNvPr id="44" name="TextBox 43"/>
          <p:cNvSpPr txBox="1"/>
          <p:nvPr/>
        </p:nvSpPr>
        <p:spPr>
          <a:xfrm>
            <a:off x="3256453" y="1248024"/>
            <a:ext cx="1097280" cy="463330"/>
          </a:xfrm>
          <a:prstGeom prst="rect">
            <a:avLst/>
          </a:prstGeom>
          <a:noFill/>
        </p:spPr>
        <p:txBody>
          <a:bodyPr wrap="square" lIns="0" tIns="0" rIns="0" bIns="0" rtlCol="0">
            <a:noAutofit/>
          </a:bodyPr>
          <a:lstStyle/>
          <a:p>
            <a:r>
              <a:rPr lang="ja-JP" altLang="en-US" sz="1000" b="1" i="1" dirty="0" smtClean="0"/>
              <a:t>キャッシュフロー</a:t>
            </a:r>
            <a:endParaRPr lang="en-US" sz="1000" b="1" i="1" dirty="0" smtClean="0"/>
          </a:p>
          <a:p>
            <a:r>
              <a:rPr lang="ja-JP" altLang="en-US" sz="1000" i="1" dirty="0" smtClean="0"/>
              <a:t>支払いパターンはどのようなものか</a:t>
            </a:r>
            <a:endParaRPr lang="en-US" sz="1000" i="1" dirty="0" smtClean="0"/>
          </a:p>
        </p:txBody>
      </p:sp>
      <p:cxnSp>
        <p:nvCxnSpPr>
          <p:cNvPr id="49" name="Straight Connector 48"/>
          <p:cNvCxnSpPr/>
          <p:nvPr/>
        </p:nvCxnSpPr>
        <p:spPr>
          <a:xfrm>
            <a:off x="3256453" y="1787412"/>
            <a:ext cx="109728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6245980" y="1248024"/>
            <a:ext cx="1097280" cy="463330"/>
          </a:xfrm>
          <a:prstGeom prst="rect">
            <a:avLst/>
          </a:prstGeom>
          <a:noFill/>
        </p:spPr>
        <p:txBody>
          <a:bodyPr wrap="square" lIns="0" tIns="0" rIns="0" bIns="0" rtlCol="0">
            <a:noAutofit/>
          </a:bodyPr>
          <a:lstStyle/>
          <a:p>
            <a:r>
              <a:rPr lang="ja-JP" altLang="en-US" sz="1100" b="1" i="1" dirty="0" smtClean="0"/>
              <a:t>品質管理</a:t>
            </a:r>
            <a:endParaRPr lang="en-US" sz="1100" b="1" i="1" dirty="0" smtClean="0"/>
          </a:p>
          <a:p>
            <a:r>
              <a:rPr lang="en-US" sz="1000" i="1" dirty="0" smtClean="0"/>
              <a:t>MJ</a:t>
            </a:r>
            <a:r>
              <a:rPr lang="ja-JP" altLang="en-US" sz="1000" i="1" dirty="0" smtClean="0"/>
              <a:t>は製品の品質を保証できるか</a:t>
            </a:r>
            <a:endParaRPr lang="en-US" sz="1000" i="1" dirty="0" smtClean="0"/>
          </a:p>
        </p:txBody>
      </p:sp>
      <p:cxnSp>
        <p:nvCxnSpPr>
          <p:cNvPr id="54" name="Straight Connector 53"/>
          <p:cNvCxnSpPr/>
          <p:nvPr/>
        </p:nvCxnSpPr>
        <p:spPr>
          <a:xfrm>
            <a:off x="6245980" y="1787412"/>
            <a:ext cx="109728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4751217" y="1248024"/>
            <a:ext cx="1270410" cy="463330"/>
          </a:xfrm>
          <a:prstGeom prst="rect">
            <a:avLst/>
          </a:prstGeom>
          <a:noFill/>
        </p:spPr>
        <p:txBody>
          <a:bodyPr wrap="square" lIns="0" tIns="0" rIns="0" bIns="0" rtlCol="0">
            <a:noAutofit/>
          </a:bodyPr>
          <a:lstStyle/>
          <a:p>
            <a:r>
              <a:rPr lang="ja-JP" altLang="en-US" sz="1100" b="1" i="1" dirty="0" smtClean="0"/>
              <a:t>アクセスのしやすさ</a:t>
            </a:r>
            <a:endParaRPr lang="en-US" sz="1100" b="1" i="1" dirty="0" smtClean="0"/>
          </a:p>
          <a:p>
            <a:r>
              <a:rPr lang="en-US" sz="1000" i="1" dirty="0" smtClean="0"/>
              <a:t>MJ</a:t>
            </a:r>
            <a:r>
              <a:rPr lang="ja-JP" altLang="en-US" sz="1000" i="1" dirty="0" smtClean="0"/>
              <a:t>はどの程度容易に市場に参入できるか</a:t>
            </a:r>
            <a:endParaRPr lang="en-US" sz="1000" i="1" dirty="0" smtClean="0"/>
          </a:p>
        </p:txBody>
      </p:sp>
      <p:cxnSp>
        <p:nvCxnSpPr>
          <p:cNvPr id="56" name="Straight Connector 55"/>
          <p:cNvCxnSpPr/>
          <p:nvPr/>
        </p:nvCxnSpPr>
        <p:spPr>
          <a:xfrm>
            <a:off x="4751217" y="1787412"/>
            <a:ext cx="109728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1762755" y="1942649"/>
            <a:ext cx="1096214" cy="962370"/>
          </a:xfrm>
          <a:prstGeom prst="rect">
            <a:avLst/>
          </a:prstGeom>
          <a:noFill/>
        </p:spPr>
        <p:txBody>
          <a:bodyPr wrap="square" lIns="0" tIns="0" rIns="0" bIns="0" rtlCol="0">
            <a:noAutofit/>
          </a:bodyPr>
          <a:lstStyle/>
          <a:p>
            <a:r>
              <a:rPr lang="ja-JP" altLang="en-US" sz="1100" b="1" dirty="0" smtClean="0">
                <a:solidFill>
                  <a:srgbClr val="C00000"/>
                </a:solidFill>
              </a:rPr>
              <a:t>低。</a:t>
            </a:r>
            <a:r>
              <a:rPr lang="ja-JP" altLang="en-US" sz="1000" dirty="0" smtClean="0"/>
              <a:t>家庭は価格に敏感である可能性が高い。そのため単価が低い上に利幅も小さくなる</a:t>
            </a:r>
            <a:endParaRPr lang="en-US" sz="1000" dirty="0" smtClean="0"/>
          </a:p>
        </p:txBody>
      </p:sp>
      <p:sp>
        <p:nvSpPr>
          <p:cNvPr id="58" name="TextBox 57"/>
          <p:cNvSpPr txBox="1"/>
          <p:nvPr/>
        </p:nvSpPr>
        <p:spPr>
          <a:xfrm>
            <a:off x="3256453" y="1942649"/>
            <a:ext cx="1096214" cy="962370"/>
          </a:xfrm>
          <a:prstGeom prst="rect">
            <a:avLst/>
          </a:prstGeom>
          <a:noFill/>
        </p:spPr>
        <p:txBody>
          <a:bodyPr wrap="square" lIns="0" tIns="0" rIns="0" bIns="0" rtlCol="0">
            <a:noAutofit/>
          </a:bodyPr>
          <a:lstStyle/>
          <a:p>
            <a:r>
              <a:rPr lang="ja-JP" altLang="en-US" sz="1100" b="1" dirty="0" smtClean="0">
                <a:solidFill>
                  <a:srgbClr val="C00000"/>
                </a:solidFill>
              </a:rPr>
              <a:t>低。</a:t>
            </a:r>
            <a:r>
              <a:rPr lang="ja-JP" altLang="en-US" sz="1000" dirty="0" smtClean="0"/>
              <a:t>家庭は前払いで払いたがらない／払うことができないため、キャッシュフローに不確実さが生じる</a:t>
            </a:r>
            <a:endParaRPr lang="en-US" sz="1000" dirty="0" smtClean="0"/>
          </a:p>
        </p:txBody>
      </p:sp>
      <p:sp>
        <p:nvSpPr>
          <p:cNvPr id="59" name="TextBox 58"/>
          <p:cNvSpPr txBox="1"/>
          <p:nvPr/>
        </p:nvSpPr>
        <p:spPr>
          <a:xfrm>
            <a:off x="4750151" y="1942649"/>
            <a:ext cx="1096214" cy="962370"/>
          </a:xfrm>
          <a:prstGeom prst="rect">
            <a:avLst/>
          </a:prstGeom>
          <a:noFill/>
        </p:spPr>
        <p:txBody>
          <a:bodyPr wrap="square" lIns="0" tIns="0" rIns="0" bIns="0" rtlCol="0">
            <a:noAutofit/>
          </a:bodyPr>
          <a:lstStyle/>
          <a:p>
            <a:r>
              <a:rPr lang="ja-JP" altLang="en-US" sz="1100" b="1" dirty="0" smtClean="0">
                <a:solidFill>
                  <a:srgbClr val="FFC000"/>
                </a:solidFill>
              </a:rPr>
              <a:t>中。</a:t>
            </a:r>
            <a:r>
              <a:rPr lang="ja-JP" altLang="en-US" sz="1000" dirty="0" smtClean="0"/>
              <a:t>地元パートナー</a:t>
            </a:r>
            <a:r>
              <a:rPr lang="ja-JP" altLang="en-US" sz="1000" smtClean="0"/>
              <a:t>が得られれば、</a:t>
            </a:r>
            <a:r>
              <a:rPr lang="ja-JP" altLang="en-US" sz="1000" dirty="0" smtClean="0"/>
              <a:t>または政府／篤志家が関与するより大きなプロジェクト</a:t>
            </a:r>
            <a:r>
              <a:rPr lang="ja-JP" altLang="en-US" sz="1000" smtClean="0"/>
              <a:t>の一部</a:t>
            </a:r>
            <a:r>
              <a:rPr lang="ja-JP" altLang="en-US" sz="1000"/>
              <a:t>としてなら</a:t>
            </a:r>
            <a:r>
              <a:rPr lang="ja-JP" altLang="en-US" sz="1000" smtClean="0"/>
              <a:t>アクセス</a:t>
            </a:r>
            <a:r>
              <a:rPr lang="ja-JP" altLang="en-US" sz="1000" dirty="0" smtClean="0"/>
              <a:t>可能</a:t>
            </a:r>
            <a:endParaRPr lang="en-US" sz="1000" dirty="0" smtClean="0"/>
          </a:p>
        </p:txBody>
      </p:sp>
      <p:sp>
        <p:nvSpPr>
          <p:cNvPr id="60" name="TextBox 59"/>
          <p:cNvSpPr txBox="1"/>
          <p:nvPr/>
        </p:nvSpPr>
        <p:spPr>
          <a:xfrm>
            <a:off x="6247046" y="1942649"/>
            <a:ext cx="1096214" cy="962370"/>
          </a:xfrm>
          <a:prstGeom prst="rect">
            <a:avLst/>
          </a:prstGeom>
          <a:noFill/>
        </p:spPr>
        <p:txBody>
          <a:bodyPr wrap="square" lIns="0" tIns="0" rIns="0" bIns="0" rtlCol="0">
            <a:noAutofit/>
          </a:bodyPr>
          <a:lstStyle/>
          <a:p>
            <a:r>
              <a:rPr lang="ja-JP" altLang="en-US" sz="1100" b="1" dirty="0" smtClean="0">
                <a:solidFill>
                  <a:srgbClr val="C00000"/>
                </a:solidFill>
              </a:rPr>
              <a:t>低。</a:t>
            </a:r>
            <a:r>
              <a:rPr lang="en-US" sz="1000" dirty="0" smtClean="0"/>
              <a:t>MJ</a:t>
            </a:r>
            <a:r>
              <a:rPr lang="ja-JP" altLang="en-US" sz="1000" dirty="0" smtClean="0"/>
              <a:t>が知的財産を保護して低水準のコピー品が販売されないようにするのは困難</a:t>
            </a:r>
            <a:endParaRPr lang="en-US" sz="1000" dirty="0" smtClean="0"/>
          </a:p>
        </p:txBody>
      </p:sp>
      <p:sp>
        <p:nvSpPr>
          <p:cNvPr id="61" name="TextBox 60"/>
          <p:cNvSpPr txBox="1"/>
          <p:nvPr/>
        </p:nvSpPr>
        <p:spPr>
          <a:xfrm>
            <a:off x="1762755" y="3070053"/>
            <a:ext cx="1096214" cy="962370"/>
          </a:xfrm>
          <a:prstGeom prst="rect">
            <a:avLst/>
          </a:prstGeom>
          <a:noFill/>
        </p:spPr>
        <p:txBody>
          <a:bodyPr wrap="square" lIns="0" tIns="0" rIns="0" bIns="0" rtlCol="0">
            <a:noAutofit/>
          </a:bodyPr>
          <a:lstStyle/>
          <a:p>
            <a:r>
              <a:rPr lang="ja-JP" altLang="en-US" sz="1100" b="1" dirty="0" smtClean="0">
                <a:solidFill>
                  <a:srgbClr val="FFC000"/>
                </a:solidFill>
              </a:rPr>
              <a:t>中。</a:t>
            </a:r>
            <a:r>
              <a:rPr lang="ja-JP" altLang="en-US" sz="1000" dirty="0" smtClean="0"/>
              <a:t>営利目的の顧客がより大きなシステムを導入すれば利幅は大きくなる。顧客は今後さらに細分化されるだろう</a:t>
            </a:r>
            <a:endParaRPr lang="en-US" sz="1000" dirty="0" smtClean="0"/>
          </a:p>
        </p:txBody>
      </p:sp>
      <p:sp>
        <p:nvSpPr>
          <p:cNvPr id="62" name="TextBox 61"/>
          <p:cNvSpPr txBox="1"/>
          <p:nvPr/>
        </p:nvSpPr>
        <p:spPr>
          <a:xfrm>
            <a:off x="3237372" y="3034839"/>
            <a:ext cx="1096214" cy="962370"/>
          </a:xfrm>
          <a:prstGeom prst="rect">
            <a:avLst/>
          </a:prstGeom>
          <a:noFill/>
        </p:spPr>
        <p:txBody>
          <a:bodyPr wrap="square" lIns="0" tIns="0" rIns="0" bIns="0" rtlCol="0">
            <a:noAutofit/>
          </a:bodyPr>
          <a:lstStyle/>
          <a:p>
            <a:r>
              <a:rPr lang="ja-JP" altLang="en-US" sz="1100" b="1" dirty="0" smtClean="0">
                <a:solidFill>
                  <a:srgbClr val="C00000"/>
                </a:solidFill>
              </a:rPr>
              <a:t>低。</a:t>
            </a:r>
            <a:r>
              <a:rPr lang="ja-JP" altLang="en-US" sz="1000" dirty="0" smtClean="0"/>
              <a:t>顧客は動作確認ができなければ代金を払いたがらない。無料またはわずかな費用で試せる場所をつくる必要があるかもしれない</a:t>
            </a:r>
            <a:endParaRPr lang="en-US" sz="1000" dirty="0" smtClean="0"/>
          </a:p>
        </p:txBody>
      </p:sp>
      <p:sp>
        <p:nvSpPr>
          <p:cNvPr id="63" name="TextBox 62"/>
          <p:cNvSpPr txBox="1"/>
          <p:nvPr/>
        </p:nvSpPr>
        <p:spPr>
          <a:xfrm>
            <a:off x="4750151" y="3070053"/>
            <a:ext cx="1096214" cy="962370"/>
          </a:xfrm>
          <a:prstGeom prst="rect">
            <a:avLst/>
          </a:prstGeom>
          <a:noFill/>
        </p:spPr>
        <p:txBody>
          <a:bodyPr wrap="square" lIns="0" tIns="0" rIns="0" bIns="0" rtlCol="0">
            <a:noAutofit/>
          </a:bodyPr>
          <a:lstStyle/>
          <a:p>
            <a:r>
              <a:rPr lang="ja-JP" altLang="en-US" sz="1100" b="1" dirty="0" smtClean="0">
                <a:solidFill>
                  <a:srgbClr val="FFC000"/>
                </a:solidFill>
              </a:rPr>
              <a:t>中。</a:t>
            </a:r>
            <a:r>
              <a:rPr lang="ja-JP" altLang="en-US" sz="1000" dirty="0" smtClean="0"/>
              <a:t>強いネットワークを持つ地元パートナーが得られるならアクセス可能</a:t>
            </a:r>
            <a:endParaRPr lang="en-US" sz="1000" dirty="0" smtClean="0"/>
          </a:p>
        </p:txBody>
      </p:sp>
      <p:sp>
        <p:nvSpPr>
          <p:cNvPr id="64" name="TextBox 63"/>
          <p:cNvSpPr txBox="1"/>
          <p:nvPr/>
        </p:nvSpPr>
        <p:spPr>
          <a:xfrm>
            <a:off x="6247046" y="3070053"/>
            <a:ext cx="1096214" cy="962370"/>
          </a:xfrm>
          <a:prstGeom prst="rect">
            <a:avLst/>
          </a:prstGeom>
          <a:noFill/>
        </p:spPr>
        <p:txBody>
          <a:bodyPr wrap="square" lIns="0" tIns="0" rIns="0" bIns="0" rtlCol="0">
            <a:noAutofit/>
          </a:bodyPr>
          <a:lstStyle/>
          <a:p>
            <a:r>
              <a:rPr lang="ja-JP" altLang="en-US" sz="1100" b="1" dirty="0" smtClean="0">
                <a:solidFill>
                  <a:srgbClr val="C00000"/>
                </a:solidFill>
              </a:rPr>
              <a:t>低。</a:t>
            </a:r>
            <a:r>
              <a:rPr lang="en-US" altLang="ja-JP" sz="1000" dirty="0" smtClean="0"/>
              <a:t>MJ</a:t>
            </a:r>
            <a:r>
              <a:rPr lang="ja-JP" altLang="en-US" sz="1000" dirty="0"/>
              <a:t>が知的財産を保護して低水準のコピー品が販売されないようにするのは困難</a:t>
            </a:r>
            <a:endParaRPr lang="en-US" altLang="ja-JP" sz="1000" dirty="0"/>
          </a:p>
          <a:p>
            <a:endParaRPr lang="en-US" sz="1000" dirty="0" smtClean="0"/>
          </a:p>
        </p:txBody>
      </p:sp>
      <p:sp>
        <p:nvSpPr>
          <p:cNvPr id="65" name="TextBox 64"/>
          <p:cNvSpPr txBox="1"/>
          <p:nvPr/>
        </p:nvSpPr>
        <p:spPr>
          <a:xfrm>
            <a:off x="1762755" y="4221937"/>
            <a:ext cx="1096214" cy="962370"/>
          </a:xfrm>
          <a:prstGeom prst="rect">
            <a:avLst/>
          </a:prstGeom>
          <a:noFill/>
        </p:spPr>
        <p:txBody>
          <a:bodyPr wrap="square" lIns="0" tIns="0" rIns="0" bIns="0" rtlCol="0">
            <a:noAutofit/>
          </a:bodyPr>
          <a:lstStyle/>
          <a:p>
            <a:r>
              <a:rPr lang="ja-JP" altLang="en-US" sz="1100" b="1" dirty="0" smtClean="0">
                <a:solidFill>
                  <a:srgbClr val="FFC000"/>
                </a:solidFill>
              </a:rPr>
              <a:t>中。</a:t>
            </a:r>
            <a:r>
              <a:rPr lang="ja-JP" altLang="en-US" sz="1000" dirty="0" smtClean="0"/>
              <a:t>シッキム州には最大で</a:t>
            </a:r>
            <a:r>
              <a:rPr lang="en-US" altLang="ja-JP" sz="1000" dirty="0" smtClean="0"/>
              <a:t>1200</a:t>
            </a:r>
            <a:r>
              <a:rPr lang="ja-JP" altLang="en-US" sz="1000" dirty="0" smtClean="0"/>
              <a:t>の公立学校と</a:t>
            </a:r>
            <a:r>
              <a:rPr lang="en-US" altLang="ja-JP" sz="1000" dirty="0" smtClean="0"/>
              <a:t>150</a:t>
            </a:r>
            <a:r>
              <a:rPr lang="ja-JP" altLang="en-US" sz="1000" dirty="0" smtClean="0"/>
              <a:t>の初期診療所がある。政府との契約は利益が見込める</a:t>
            </a:r>
            <a:endParaRPr lang="en-US" sz="1000" dirty="0" smtClean="0"/>
          </a:p>
        </p:txBody>
      </p:sp>
      <p:sp>
        <p:nvSpPr>
          <p:cNvPr id="66" name="TextBox 65"/>
          <p:cNvSpPr txBox="1"/>
          <p:nvPr/>
        </p:nvSpPr>
        <p:spPr>
          <a:xfrm>
            <a:off x="3257519" y="4295418"/>
            <a:ext cx="1096214" cy="962370"/>
          </a:xfrm>
          <a:prstGeom prst="rect">
            <a:avLst/>
          </a:prstGeom>
          <a:noFill/>
        </p:spPr>
        <p:txBody>
          <a:bodyPr wrap="square" lIns="0" tIns="0" rIns="0" bIns="0" rtlCol="0">
            <a:noAutofit/>
          </a:bodyPr>
          <a:lstStyle/>
          <a:p>
            <a:r>
              <a:rPr lang="ja-JP" altLang="en-US" sz="1100" b="1" dirty="0" smtClean="0">
                <a:solidFill>
                  <a:srgbClr val="FFC000"/>
                </a:solidFill>
              </a:rPr>
              <a:t>中。</a:t>
            </a:r>
            <a:r>
              <a:rPr lang="ja-JP" altLang="en-US" sz="1000" dirty="0" smtClean="0"/>
              <a:t>政府スキームのもとで実施するなら、契約の一部は前払いで獲得できる</a:t>
            </a:r>
            <a:endParaRPr lang="en-US" sz="1000" dirty="0" smtClean="0"/>
          </a:p>
        </p:txBody>
      </p:sp>
      <p:sp>
        <p:nvSpPr>
          <p:cNvPr id="67" name="TextBox 66"/>
          <p:cNvSpPr txBox="1"/>
          <p:nvPr/>
        </p:nvSpPr>
        <p:spPr>
          <a:xfrm>
            <a:off x="4750151" y="4221937"/>
            <a:ext cx="1096214" cy="962370"/>
          </a:xfrm>
          <a:prstGeom prst="rect">
            <a:avLst/>
          </a:prstGeom>
          <a:noFill/>
        </p:spPr>
        <p:txBody>
          <a:bodyPr wrap="square" lIns="0" tIns="0" rIns="0" bIns="0" rtlCol="0">
            <a:noAutofit/>
          </a:bodyPr>
          <a:lstStyle/>
          <a:p>
            <a:r>
              <a:rPr lang="ja-JP" altLang="en-US" sz="1100" b="1" dirty="0" smtClean="0">
                <a:solidFill>
                  <a:srgbClr val="00B050"/>
                </a:solidFill>
              </a:rPr>
              <a:t>高。</a:t>
            </a:r>
            <a:r>
              <a:rPr lang="ja-JP" altLang="en-US" sz="1000" dirty="0" smtClean="0"/>
              <a:t>学校のトイレは政府の優先度が高い。ハイレベルのコネクション（例：</a:t>
            </a:r>
            <a:r>
              <a:rPr lang="en-US" altLang="ja-JP" sz="1000" dirty="0" smtClean="0"/>
              <a:t>P.D.</a:t>
            </a:r>
            <a:r>
              <a:rPr lang="ja-JP" altLang="en-US" sz="1000" dirty="0" smtClean="0"/>
              <a:t>ライ氏）はプロジェクト獲得に役立つ</a:t>
            </a:r>
            <a:endParaRPr lang="en-US" sz="1000" dirty="0" smtClean="0"/>
          </a:p>
        </p:txBody>
      </p:sp>
      <p:sp>
        <p:nvSpPr>
          <p:cNvPr id="68" name="TextBox 67"/>
          <p:cNvSpPr txBox="1"/>
          <p:nvPr/>
        </p:nvSpPr>
        <p:spPr>
          <a:xfrm>
            <a:off x="6247046" y="4144149"/>
            <a:ext cx="1096214" cy="962370"/>
          </a:xfrm>
          <a:prstGeom prst="rect">
            <a:avLst/>
          </a:prstGeom>
          <a:noFill/>
        </p:spPr>
        <p:txBody>
          <a:bodyPr wrap="square" lIns="0" tIns="0" rIns="0" bIns="0" rtlCol="0">
            <a:noAutofit/>
          </a:bodyPr>
          <a:lstStyle/>
          <a:p>
            <a:r>
              <a:rPr lang="ja-JP" altLang="en-US" sz="1100" b="1" dirty="0" smtClean="0">
                <a:solidFill>
                  <a:srgbClr val="FFC000"/>
                </a:solidFill>
              </a:rPr>
              <a:t>中。</a:t>
            </a:r>
            <a:r>
              <a:rPr lang="ja-JP" altLang="en-US" sz="1000" dirty="0" smtClean="0"/>
              <a:t>大規模なプロジェクトなので</a:t>
            </a:r>
            <a:r>
              <a:rPr lang="en-US" altLang="ja-JP" sz="1000" dirty="0" smtClean="0"/>
              <a:t>MJ</a:t>
            </a:r>
            <a:r>
              <a:rPr lang="ja-JP" altLang="en-US" sz="1000" dirty="0" smtClean="0"/>
              <a:t>は比較的しっかりと監視することができる。政府は知的財産にある程度の保護を与えることができる</a:t>
            </a:r>
            <a:endParaRPr lang="en-US" sz="1000" dirty="0" smtClean="0"/>
          </a:p>
        </p:txBody>
      </p:sp>
      <p:sp>
        <p:nvSpPr>
          <p:cNvPr id="69" name="TextBox 68"/>
          <p:cNvSpPr txBox="1"/>
          <p:nvPr/>
        </p:nvSpPr>
        <p:spPr>
          <a:xfrm>
            <a:off x="1762755" y="5364741"/>
            <a:ext cx="1096214" cy="962370"/>
          </a:xfrm>
          <a:prstGeom prst="rect">
            <a:avLst/>
          </a:prstGeom>
          <a:noFill/>
        </p:spPr>
        <p:txBody>
          <a:bodyPr wrap="square" lIns="0" tIns="0" rIns="0" bIns="0" rtlCol="0">
            <a:noAutofit/>
          </a:bodyPr>
          <a:lstStyle/>
          <a:p>
            <a:r>
              <a:rPr lang="ja-JP" altLang="en-US" sz="1100" b="1" dirty="0" smtClean="0">
                <a:solidFill>
                  <a:srgbClr val="00B050"/>
                </a:solidFill>
              </a:rPr>
              <a:t>高。</a:t>
            </a:r>
            <a:r>
              <a:rPr lang="ja-JP" altLang="en-US" sz="1000" dirty="0" smtClean="0"/>
              <a:t>ガントクの下水施設は</a:t>
            </a:r>
            <a:r>
              <a:rPr lang="en-US" altLang="ja-JP" sz="1000" dirty="0" smtClean="0"/>
              <a:t>300</a:t>
            </a:r>
            <a:r>
              <a:rPr lang="ja-JP" altLang="en-US" sz="1000" dirty="0" smtClean="0"/>
              <a:t>万米ドル以下で修理できる。この契約の大きさなら利益が見込める</a:t>
            </a:r>
            <a:endParaRPr lang="en-US" sz="1000" dirty="0" smtClean="0"/>
          </a:p>
        </p:txBody>
      </p:sp>
      <p:sp>
        <p:nvSpPr>
          <p:cNvPr id="70" name="TextBox 69"/>
          <p:cNvSpPr txBox="1"/>
          <p:nvPr/>
        </p:nvSpPr>
        <p:spPr>
          <a:xfrm>
            <a:off x="3256453" y="5364741"/>
            <a:ext cx="1096214" cy="962370"/>
          </a:xfrm>
          <a:prstGeom prst="rect">
            <a:avLst/>
          </a:prstGeom>
          <a:noFill/>
        </p:spPr>
        <p:txBody>
          <a:bodyPr wrap="square" lIns="0" tIns="0" rIns="0" bIns="0" rtlCol="0">
            <a:noAutofit/>
          </a:bodyPr>
          <a:lstStyle/>
          <a:p>
            <a:r>
              <a:rPr lang="ja-JP" altLang="en-US" sz="1100" b="1" dirty="0" smtClean="0">
                <a:solidFill>
                  <a:srgbClr val="FFC000"/>
                </a:solidFill>
              </a:rPr>
              <a:t>中。</a:t>
            </a:r>
            <a:r>
              <a:rPr lang="ja-JP" altLang="en-US" sz="1000" dirty="0" smtClean="0"/>
              <a:t>資金は篤志家や政府から調達するので、キャッシュフローは確実で予測可能である</a:t>
            </a:r>
            <a:endParaRPr lang="en-US" sz="1000" dirty="0" smtClean="0"/>
          </a:p>
        </p:txBody>
      </p:sp>
      <p:sp>
        <p:nvSpPr>
          <p:cNvPr id="71" name="TextBox 70"/>
          <p:cNvSpPr txBox="1"/>
          <p:nvPr/>
        </p:nvSpPr>
        <p:spPr>
          <a:xfrm>
            <a:off x="4750151" y="5364741"/>
            <a:ext cx="1096214" cy="962370"/>
          </a:xfrm>
          <a:prstGeom prst="rect">
            <a:avLst/>
          </a:prstGeom>
          <a:noFill/>
        </p:spPr>
        <p:txBody>
          <a:bodyPr wrap="square" lIns="0" tIns="0" rIns="0" bIns="0" rtlCol="0">
            <a:noAutofit/>
          </a:bodyPr>
          <a:lstStyle/>
          <a:p>
            <a:r>
              <a:rPr lang="ja-JP" altLang="en-US" sz="1100" b="1" dirty="0" smtClean="0">
                <a:solidFill>
                  <a:srgbClr val="00B050"/>
                </a:solidFill>
              </a:rPr>
              <a:t>高。</a:t>
            </a:r>
            <a:r>
              <a:rPr lang="ja-JP" altLang="en-US" sz="1000" dirty="0" smtClean="0"/>
              <a:t>契約規模が大きいので高官に接触すること</a:t>
            </a:r>
            <a:r>
              <a:rPr lang="ja-JP" altLang="en-US" sz="1000" dirty="0"/>
              <a:t>に</a:t>
            </a:r>
            <a:r>
              <a:rPr lang="ja-JP" altLang="en-US" sz="1000" dirty="0" smtClean="0"/>
              <a:t>なる。ハイレベル</a:t>
            </a:r>
            <a:r>
              <a:rPr lang="ja-JP" altLang="en-US" sz="1000" dirty="0"/>
              <a:t>のコネクション（例：</a:t>
            </a:r>
            <a:r>
              <a:rPr lang="en-US" altLang="ja-JP" sz="1000" dirty="0"/>
              <a:t>P.D.</a:t>
            </a:r>
            <a:r>
              <a:rPr lang="ja-JP" altLang="en-US" sz="1000" dirty="0"/>
              <a:t>ライ氏）はプロジェクト獲得に</a:t>
            </a:r>
            <a:r>
              <a:rPr lang="ja-JP" altLang="en-US" sz="1000" dirty="0" smtClean="0"/>
              <a:t>役立つ</a:t>
            </a:r>
            <a:endParaRPr lang="en-US" sz="1000" dirty="0" smtClean="0"/>
          </a:p>
        </p:txBody>
      </p:sp>
      <p:sp>
        <p:nvSpPr>
          <p:cNvPr id="72" name="TextBox 71"/>
          <p:cNvSpPr txBox="1"/>
          <p:nvPr/>
        </p:nvSpPr>
        <p:spPr>
          <a:xfrm>
            <a:off x="6247046" y="5364741"/>
            <a:ext cx="1096214" cy="962370"/>
          </a:xfrm>
          <a:prstGeom prst="rect">
            <a:avLst/>
          </a:prstGeom>
          <a:noFill/>
        </p:spPr>
        <p:txBody>
          <a:bodyPr wrap="square" lIns="0" tIns="0" rIns="0" bIns="0" rtlCol="0">
            <a:noAutofit/>
          </a:bodyPr>
          <a:lstStyle/>
          <a:p>
            <a:r>
              <a:rPr lang="ja-JP" altLang="en-US" sz="1100" b="1" dirty="0" smtClean="0">
                <a:solidFill>
                  <a:srgbClr val="00B050"/>
                </a:solidFill>
              </a:rPr>
              <a:t>高。</a:t>
            </a:r>
            <a:r>
              <a:rPr lang="ja-JP" altLang="en-US" sz="1000" dirty="0" smtClean="0"/>
              <a:t>各場所の大きさと関係する技術の詳細により、</a:t>
            </a:r>
            <a:r>
              <a:rPr lang="en-US" altLang="ja-JP" sz="1000" dirty="0" smtClean="0"/>
              <a:t>MJ</a:t>
            </a:r>
            <a:r>
              <a:rPr lang="ja-JP" altLang="en-US" sz="1000" dirty="0" smtClean="0"/>
              <a:t>は各場所での設置をしっかりと監視することができる</a:t>
            </a:r>
            <a:endParaRPr lang="en-US" sz="1000" dirty="0" smtClean="0"/>
          </a:p>
        </p:txBody>
      </p:sp>
    </p:spTree>
    <p:extLst>
      <p:ext uri="{BB962C8B-B14F-4D97-AF65-F5344CB8AC3E}">
        <p14:creationId xmlns:p14="http://schemas.microsoft.com/office/powerpoint/2010/main" val="48433233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ja-JP" dirty="0">
                <a:latin typeface="ＭＳ Ｐゴシック" panose="020B0600070205080204" pitchFamily="50" charset="-128"/>
                <a:ea typeface="ＭＳ Ｐゴシック" panose="020B0600070205080204" pitchFamily="50" charset="-128"/>
              </a:rPr>
              <a:t>アジェンダ</a:t>
            </a:r>
            <a:endParaRPr lang="en-US" dirty="0">
              <a:latin typeface="ＭＳ Ｐゴシック" panose="020B0600070205080204" pitchFamily="50" charset="-128"/>
              <a:ea typeface="ＭＳ Ｐゴシック" panose="020B0600070205080204" pitchFamily="50" charset="-128"/>
            </a:endParaRPr>
          </a:p>
        </p:txBody>
      </p:sp>
      <p:sp>
        <p:nvSpPr>
          <p:cNvPr id="6" name="Rectangle 5"/>
          <p:cNvSpPr>
            <a:spLocks noChangeArrowheads="1"/>
          </p:cNvSpPr>
          <p:nvPr>
            <p:custDataLst>
              <p:tags r:id="rId1"/>
            </p:custDataLst>
          </p:nvPr>
        </p:nvSpPr>
        <p:spPr bwMode="auto">
          <a:xfrm>
            <a:off x="1066876" y="2385981"/>
            <a:ext cx="6450388" cy="427724"/>
          </a:xfrm>
          <a:prstGeom prst="rect">
            <a:avLst/>
          </a:prstGeom>
          <a:noFill/>
          <a:ln w="12700" algn="ctr">
            <a:noFill/>
            <a:miter lim="800000"/>
            <a:headEnd/>
            <a:tailEnd/>
          </a:ln>
        </p:spPr>
        <p:txBody>
          <a:bodyPr lIns="77893" tIns="38947" rIns="77893" bIns="38947" anchor="ctr"/>
          <a:lstStyle/>
          <a:p>
            <a:pPr marL="97389" defTabSz="779842"/>
            <a:r>
              <a:rPr lang="en-US" altLang="ja-JP" sz="1600" dirty="0">
                <a:latin typeface="Arial" panose="020B0604020202020204" pitchFamily="34" charset="0"/>
                <a:ea typeface="ＭＳ Ｐゴシック" panose="020B0600070205080204" pitchFamily="50" charset="-128"/>
                <a:cs typeface="Arial" panose="020B0604020202020204" pitchFamily="34" charset="0"/>
              </a:rPr>
              <a:t>1</a:t>
            </a:r>
            <a:r>
              <a:rPr lang="en-US" altLang="ja-JP" sz="1600" dirty="0" smtClean="0">
                <a:latin typeface="Arial" panose="020B0604020202020204" pitchFamily="34" charset="0"/>
                <a:ea typeface="ＭＳ Ｐゴシック" panose="020B0600070205080204" pitchFamily="50" charset="-128"/>
                <a:cs typeface="Arial" panose="020B0604020202020204" pitchFamily="34" charset="0"/>
              </a:rPr>
              <a:t>.</a:t>
            </a:r>
            <a:r>
              <a:rPr lang="ja-JP" altLang="ja-JP" sz="1600" dirty="0" smtClean="0">
                <a:latin typeface="Arial" panose="020B0604020202020204" pitchFamily="34" charset="0"/>
                <a:ea typeface="ＭＳ Ｐゴシック" panose="020B0600070205080204" pitchFamily="50" charset="-128"/>
                <a:cs typeface="Arial" panose="020B0604020202020204" pitchFamily="34" charset="0"/>
              </a:rPr>
              <a:t>毛管</a:t>
            </a:r>
            <a:r>
              <a:rPr lang="ja-JP" altLang="ja-JP" sz="1600" dirty="0">
                <a:latin typeface="Arial" panose="020B0604020202020204" pitchFamily="34" charset="0"/>
                <a:ea typeface="ＭＳ Ｐゴシック" panose="020B0600070205080204" pitchFamily="50" charset="-128"/>
                <a:cs typeface="Arial" panose="020B0604020202020204" pitchFamily="34" charset="0"/>
              </a:rPr>
              <a:t>浄化社が提供する技術</a:t>
            </a:r>
            <a:endParaRPr lang="en-GB" sz="16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Rectangle 4"/>
          <p:cNvSpPr>
            <a:spLocks noChangeArrowheads="1"/>
          </p:cNvSpPr>
          <p:nvPr>
            <p:custDataLst>
              <p:tags r:id="rId2"/>
            </p:custDataLst>
          </p:nvPr>
        </p:nvSpPr>
        <p:spPr bwMode="auto">
          <a:xfrm>
            <a:off x="1066876" y="3031085"/>
            <a:ext cx="6450388" cy="427724"/>
          </a:xfrm>
          <a:prstGeom prst="rect">
            <a:avLst/>
          </a:prstGeom>
          <a:noFill/>
          <a:ln w="12700" algn="ctr">
            <a:noFill/>
            <a:miter lim="800000"/>
            <a:headEnd/>
            <a:tailEnd/>
          </a:ln>
        </p:spPr>
        <p:txBody>
          <a:bodyPr lIns="77893" tIns="38947" rIns="77893" bIns="38947" anchor="ctr"/>
          <a:lstStyle/>
          <a:p>
            <a:pPr marL="97389" defTabSz="779842"/>
            <a:r>
              <a:rPr lang="en-US" altLang="ja-JP" sz="1600" dirty="0">
                <a:latin typeface="Arial" panose="020B0604020202020204" pitchFamily="34" charset="0"/>
                <a:ea typeface="ＭＳ Ｐゴシック" panose="020B0600070205080204" pitchFamily="50" charset="-128"/>
                <a:cs typeface="Arial" panose="020B0604020202020204" pitchFamily="34" charset="0"/>
              </a:rPr>
              <a:t>2.</a:t>
            </a:r>
            <a:r>
              <a:rPr lang="ja-JP" altLang="ja-JP" sz="1600" dirty="0">
                <a:latin typeface="Arial" panose="020B0604020202020204" pitchFamily="34" charset="0"/>
                <a:ea typeface="ＭＳ Ｐゴシック" panose="020B0600070205080204" pitchFamily="50" charset="-128"/>
                <a:cs typeface="Arial" panose="020B0604020202020204" pitchFamily="34" charset="0"/>
              </a:rPr>
              <a:t>インド市場の分析</a:t>
            </a:r>
            <a:r>
              <a:rPr lang="en-US" altLang="ja-JP" sz="1600" dirty="0">
                <a:latin typeface="Arial" panose="020B0604020202020204" pitchFamily="34" charset="0"/>
                <a:ea typeface="ＭＳ Ｐゴシック" panose="020B0600070205080204" pitchFamily="50" charset="-128"/>
                <a:cs typeface="Arial" panose="020B0604020202020204" pitchFamily="34" charset="0"/>
              </a:rPr>
              <a:t> </a:t>
            </a:r>
            <a:endParaRPr lang="ja-JP" altLang="ja-JP"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Rectangle 11"/>
          <p:cNvSpPr>
            <a:spLocks noChangeArrowheads="1"/>
          </p:cNvSpPr>
          <p:nvPr>
            <p:custDataLst>
              <p:tags r:id="rId3"/>
            </p:custDataLst>
          </p:nvPr>
        </p:nvSpPr>
        <p:spPr bwMode="auto">
          <a:xfrm>
            <a:off x="1167085" y="3682252"/>
            <a:ext cx="6450388" cy="427724"/>
          </a:xfrm>
          <a:prstGeom prst="rect">
            <a:avLst/>
          </a:prstGeom>
          <a:noFill/>
          <a:ln w="12700" algn="ctr">
            <a:noFill/>
            <a:miter lim="800000"/>
            <a:headEnd/>
            <a:tailEnd/>
          </a:ln>
        </p:spPr>
        <p:txBody>
          <a:bodyPr lIns="77893" tIns="38947" rIns="77893" bIns="38947" anchor="ctr"/>
          <a:lstStyle/>
          <a:p>
            <a:pPr marL="97389" defTabSz="779842"/>
            <a:r>
              <a:rPr lang="en-US" altLang="ja-JP" sz="1600" dirty="0">
                <a:latin typeface="Arial" panose="020B0604020202020204" pitchFamily="34" charset="0"/>
                <a:ea typeface="ＭＳ Ｐゴシック" panose="020B0600070205080204" pitchFamily="50" charset="-128"/>
                <a:cs typeface="Arial" panose="020B0604020202020204" pitchFamily="34" charset="0"/>
              </a:rPr>
              <a:t>3</a:t>
            </a:r>
            <a:r>
              <a:rPr lang="en-US" altLang="ja-JP" sz="1600" dirty="0" smtClean="0">
                <a:latin typeface="Arial" panose="020B0604020202020204" pitchFamily="34" charset="0"/>
                <a:ea typeface="ＭＳ Ｐゴシック" panose="020B0600070205080204" pitchFamily="50" charset="-128"/>
                <a:cs typeface="Arial" panose="020B0604020202020204" pitchFamily="34" charset="0"/>
              </a:rPr>
              <a:t>.</a:t>
            </a:r>
            <a:r>
              <a:rPr lang="ja-JP" altLang="en-US" sz="1600">
                <a:solidFill>
                  <a:srgbClr val="000000"/>
                </a:solidFill>
                <a:latin typeface="Calibri" pitchFamily="34" charset="0"/>
              </a:rPr>
              <a:t>契約に向けたビジネスモデルの可能性</a:t>
            </a:r>
            <a:endParaRPr lang="en-GB" altLang="ja-JP" sz="1600" dirty="0">
              <a:solidFill>
                <a:srgbClr val="000000"/>
              </a:solidFill>
              <a:latin typeface="Calibri" pitchFamily="34" charset="0"/>
            </a:endParaRPr>
          </a:p>
        </p:txBody>
      </p:sp>
      <p:sp>
        <p:nvSpPr>
          <p:cNvPr id="13" name="Rectangle 12"/>
          <p:cNvSpPr>
            <a:spLocks noChangeArrowheads="1"/>
          </p:cNvSpPr>
          <p:nvPr>
            <p:custDataLst>
              <p:tags r:id="rId4"/>
            </p:custDataLst>
          </p:nvPr>
        </p:nvSpPr>
        <p:spPr bwMode="auto">
          <a:xfrm>
            <a:off x="1066876" y="4321293"/>
            <a:ext cx="6450388" cy="427724"/>
          </a:xfrm>
          <a:prstGeom prst="rect">
            <a:avLst/>
          </a:prstGeom>
          <a:solidFill>
            <a:srgbClr val="67103F"/>
          </a:solidFill>
          <a:ln w="12700" algn="ctr">
            <a:noFill/>
            <a:miter lim="800000"/>
            <a:headEnd/>
            <a:tailEnd/>
          </a:ln>
        </p:spPr>
        <p:txBody>
          <a:bodyPr lIns="77893" tIns="38947" rIns="77893" bIns="38947" anchor="ctr"/>
          <a:lstStyle/>
          <a:p>
            <a:pPr marL="97389" defTabSz="779842"/>
            <a:r>
              <a:rPr lang="en-US" altLang="ja-JP" sz="16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r>
              <a:rPr lang="ja-JP" altLang="en-US" sz="16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次のステップ </a:t>
            </a:r>
            <a:endParaRPr lang="en-GB" sz="16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321169802"/>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a:latin typeface="ＭＳ Ｐゴシック" panose="020B0600070205080204" pitchFamily="50" charset="-128"/>
                <a:ea typeface="ＭＳ Ｐゴシック" panose="020B0600070205080204" pitchFamily="50" charset="-128"/>
              </a:rPr>
              <a:t>毛管浄化社</a:t>
            </a:r>
            <a:r>
              <a:rPr lang="ja-JP" altLang="en-US" dirty="0" smtClean="0">
                <a:latin typeface="ＭＳ Ｐゴシック" panose="020B0600070205080204" pitchFamily="50" charset="-128"/>
                <a:ea typeface="ＭＳ Ｐゴシック" panose="020B0600070205080204" pitchFamily="50" charset="-128"/>
              </a:rPr>
              <a:t>は短期的</a:t>
            </a:r>
            <a:r>
              <a:rPr lang="ja-JP" altLang="en-US" dirty="0">
                <a:latin typeface="ＭＳ Ｐゴシック" panose="020B0600070205080204" pitchFamily="50" charset="-128"/>
                <a:ea typeface="ＭＳ Ｐゴシック" panose="020B0600070205080204" pitchFamily="50" charset="-128"/>
              </a:rPr>
              <a:t>には、援助供与機関および政府との関係構築に向けた機会を追求すべき</a:t>
            </a:r>
            <a:endParaRPr lang="en-US" dirty="0">
              <a:latin typeface="ＭＳ Ｐゴシック" panose="020B0600070205080204" pitchFamily="50" charset="-128"/>
              <a:ea typeface="ＭＳ Ｐゴシック" panose="020B0600070205080204" pitchFamily="50" charset="-128"/>
            </a:endParaRPr>
          </a:p>
        </p:txBody>
      </p:sp>
      <p:sp>
        <p:nvSpPr>
          <p:cNvPr id="3" name="Text Placeholder 2"/>
          <p:cNvSpPr>
            <a:spLocks noGrp="1"/>
          </p:cNvSpPr>
          <p:nvPr>
            <p:ph type="body" sz="quarter" idx="37"/>
          </p:nvPr>
        </p:nvSpPr>
        <p:spPr/>
        <p:txBody>
          <a:bodyPr/>
          <a:lstStyle/>
          <a:p>
            <a:r>
              <a:rPr lang="en-US" baseline="30000" dirty="0" smtClean="0"/>
              <a:t>1</a:t>
            </a:r>
            <a:r>
              <a:rPr lang="ja-JP" altLang="ja-JP" dirty="0">
                <a:latin typeface="ＭＳ Ｐゴシック" panose="020B0600070205080204" pitchFamily="50" charset="-128"/>
                <a:ea typeface="ＭＳ Ｐゴシック" panose="020B0600070205080204" pitchFamily="50" charset="-128"/>
              </a:rPr>
              <a:t>トイレへのアクセスが高い水準に達している、ケララ、マニプール、ミゾラム、シッキム、トリプラといった州での</a:t>
            </a:r>
            <a:r>
              <a:rPr lang="ja-JP" altLang="ja-JP" dirty="0" smtClean="0">
                <a:latin typeface="ＭＳ Ｐゴシック" panose="020B0600070205080204" pitchFamily="50" charset="-128"/>
                <a:ea typeface="ＭＳ Ｐゴシック" panose="020B0600070205080204" pitchFamily="50" charset="-128"/>
              </a:rPr>
              <a:t>事業</a:t>
            </a:r>
            <a:endParaRPr lang="ja-JP" altLang="ja-JP" dirty="0">
              <a:latin typeface="ＭＳ Ｐゴシック" panose="020B0600070205080204" pitchFamily="50" charset="-128"/>
              <a:ea typeface="ＭＳ Ｐゴシック" panose="020B0600070205080204" pitchFamily="50" charset="-128"/>
            </a:endParaRPr>
          </a:p>
        </p:txBody>
      </p:sp>
      <p:sp>
        <p:nvSpPr>
          <p:cNvPr id="4" name="Text Placeholder 3"/>
          <p:cNvSpPr>
            <a:spLocks noGrp="1"/>
          </p:cNvSpPr>
          <p:nvPr>
            <p:ph type="body" sz="quarter" idx="10"/>
          </p:nvPr>
        </p:nvSpPr>
        <p:spPr>
          <a:xfrm>
            <a:off x="415682" y="1694329"/>
            <a:ext cx="8300022" cy="2474259"/>
          </a:xfrm>
        </p:spPr>
        <p:txBody>
          <a:bodyPr/>
          <a:lstStyle/>
          <a:p>
            <a:pPr marL="0" indent="0">
              <a:buNone/>
            </a:pPr>
            <a:r>
              <a:rPr lang="ja-JP" altLang="en-US" b="1" i="1" dirty="0">
                <a:latin typeface="Arial" panose="020B0604020202020204" pitchFamily="34" charset="0"/>
                <a:ea typeface="ＭＳ Ｐゴシック" panose="020B0600070205080204" pitchFamily="50" charset="-128"/>
                <a:cs typeface="Arial" panose="020B0604020202020204" pitchFamily="34" charset="0"/>
              </a:rPr>
              <a:t>毛管浄化社が追求すべきは、次の要件のうち</a:t>
            </a:r>
            <a:r>
              <a:rPr lang="en-US" altLang="ja-JP" b="1" i="1" dirty="0">
                <a:latin typeface="Arial" panose="020B0604020202020204" pitchFamily="34" charset="0"/>
                <a:ea typeface="ＭＳ Ｐゴシック" panose="020B0600070205080204" pitchFamily="50" charset="-128"/>
                <a:cs typeface="Arial" panose="020B0604020202020204" pitchFamily="34" charset="0"/>
              </a:rPr>
              <a:t>1</a:t>
            </a:r>
            <a:r>
              <a:rPr lang="ja-JP" altLang="en-US" b="1" i="1" dirty="0">
                <a:latin typeface="Arial" panose="020B0604020202020204" pitchFamily="34" charset="0"/>
                <a:ea typeface="ＭＳ Ｐゴシック" panose="020B0600070205080204" pitchFamily="50" charset="-128"/>
                <a:cs typeface="Arial" panose="020B0604020202020204" pitchFamily="34" charset="0"/>
              </a:rPr>
              <a:t>つ以上を満たす事業である </a:t>
            </a:r>
            <a:endParaRPr lang="en-US" altLang="ja-JP" b="1" i="1" dirty="0" smtClean="0">
              <a:latin typeface="Arial" panose="020B0604020202020204" pitchFamily="34" charset="0"/>
              <a:ea typeface="ＭＳ Ｐゴシック" panose="020B0600070205080204" pitchFamily="50" charset="-128"/>
              <a:cs typeface="Arial" panose="020B0604020202020204" pitchFamily="34" charset="0"/>
            </a:endParaRPr>
          </a:p>
          <a:p>
            <a:pPr marL="0" indent="0">
              <a:buNone/>
            </a:pPr>
            <a:endParaRPr lang="en-US" dirty="0" smtClean="0">
              <a:latin typeface="Arial" panose="020B0604020202020204" pitchFamily="34" charset="0"/>
              <a:ea typeface="ＭＳ Ｐゴシック" panose="020B0600070205080204" pitchFamily="50" charset="-128"/>
              <a:cs typeface="Arial" panose="020B0604020202020204" pitchFamily="34" charset="0"/>
            </a:endParaRPr>
          </a:p>
          <a:p>
            <a:pPr marL="342900" indent="-342900">
              <a:buFont typeface="+mj-lt"/>
              <a:buAutoNum type="arabicPeriod"/>
            </a:pPr>
            <a:r>
              <a:rPr lang="ja-JP" altLang="en-US" b="1" dirty="0" smtClean="0">
                <a:latin typeface="Arial" panose="020B0604020202020204" pitchFamily="34" charset="0"/>
                <a:ea typeface="ＭＳ Ｐゴシック" panose="020B0600070205080204" pitchFamily="50" charset="-128"/>
                <a:cs typeface="Arial" panose="020B0604020202020204" pitchFamily="34" charset="0"/>
              </a:rPr>
              <a:t>大規模な</a:t>
            </a:r>
            <a:r>
              <a:rPr lang="ja-JP" altLang="ja-JP" b="1" dirty="0" smtClean="0">
                <a:latin typeface="Arial" panose="020B0604020202020204" pitchFamily="34" charset="0"/>
                <a:ea typeface="ＭＳ Ｐゴシック" panose="020B0600070205080204" pitchFamily="50" charset="-128"/>
                <a:cs typeface="Arial" panose="020B0604020202020204" pitchFamily="34" charset="0"/>
              </a:rPr>
              <a:t>集合下水</a:t>
            </a:r>
            <a:r>
              <a:rPr lang="ja-JP" altLang="ja-JP" b="1" dirty="0">
                <a:latin typeface="Arial" panose="020B0604020202020204" pitchFamily="34" charset="0"/>
                <a:ea typeface="ＭＳ Ｐゴシック" panose="020B0600070205080204" pitchFamily="50" charset="-128"/>
                <a:cs typeface="Arial" panose="020B0604020202020204" pitchFamily="34" charset="0"/>
              </a:rPr>
              <a:t>処理計画</a:t>
            </a:r>
            <a:r>
              <a:rPr lang="ja-JP" altLang="ja-JP" dirty="0">
                <a:latin typeface="Arial" panose="020B0604020202020204" pitchFamily="34" charset="0"/>
                <a:ea typeface="ＭＳ Ｐゴシック" panose="020B0600070205080204" pitchFamily="50" charset="-128"/>
                <a:cs typeface="Arial" panose="020B0604020202020204" pitchFamily="34" charset="0"/>
              </a:rPr>
              <a:t>（学校、病院、地域社会におけるものなど</a:t>
            </a:r>
            <a:r>
              <a:rPr lang="ja-JP" altLang="ja-JP" dirty="0" smtClean="0">
                <a:latin typeface="Arial" panose="020B0604020202020204" pitchFamily="34" charset="0"/>
                <a:ea typeface="ＭＳ Ｐゴシック" panose="020B0600070205080204" pitchFamily="50" charset="-128"/>
                <a:cs typeface="Arial" panose="020B0604020202020204" pitchFamily="34" charset="0"/>
              </a:rPr>
              <a:t>）</a:t>
            </a:r>
            <a:r>
              <a:rPr lang="ja-JP" altLang="en-US" b="1" dirty="0" smtClean="0">
                <a:latin typeface="Arial" panose="020B0604020202020204" pitchFamily="34" charset="0"/>
                <a:ea typeface="ＭＳ Ｐゴシック" panose="020B0600070205080204" pitchFamily="50" charset="-128"/>
                <a:cs typeface="Arial" panose="020B0604020202020204" pitchFamily="34" charset="0"/>
              </a:rPr>
              <a:t>と関連付けられた</a:t>
            </a:r>
            <a:r>
              <a:rPr lang="ja-JP" altLang="en-US" dirty="0" smtClean="0">
                <a:latin typeface="Arial" panose="020B0604020202020204" pitchFamily="34" charset="0"/>
                <a:ea typeface="ＭＳ Ｐゴシック" panose="020B0600070205080204" pitchFamily="50" charset="-128"/>
                <a:cs typeface="Arial" panose="020B0604020202020204" pitchFamily="34" charset="0"/>
              </a:rPr>
              <a:t>、</a:t>
            </a:r>
            <a:r>
              <a:rPr lang="ja-JP" altLang="ja-JP" dirty="0" smtClean="0">
                <a:latin typeface="Arial" panose="020B0604020202020204" pitchFamily="34" charset="0"/>
                <a:ea typeface="ＭＳ Ｐゴシック" panose="020B0600070205080204" pitchFamily="50" charset="-128"/>
                <a:cs typeface="Arial" panose="020B0604020202020204" pitchFamily="34" charset="0"/>
              </a:rPr>
              <a:t>援助</a:t>
            </a:r>
            <a:r>
              <a:rPr lang="ja-JP" altLang="ja-JP" dirty="0">
                <a:latin typeface="Arial" panose="020B0604020202020204" pitchFamily="34" charset="0"/>
                <a:ea typeface="ＭＳ Ｐゴシック" panose="020B0600070205080204" pitchFamily="50" charset="-128"/>
                <a:cs typeface="Arial" panose="020B0604020202020204" pitchFamily="34" charset="0"/>
              </a:rPr>
              <a:t>供与機関／</a:t>
            </a:r>
            <a:r>
              <a:rPr lang="ja-JP" altLang="ja-JP" dirty="0" smtClean="0">
                <a:latin typeface="Arial" panose="020B0604020202020204" pitchFamily="34" charset="0"/>
                <a:ea typeface="ＭＳ Ｐゴシック" panose="020B0600070205080204" pitchFamily="50" charset="-128"/>
                <a:cs typeface="Arial" panose="020B0604020202020204" pitchFamily="34" charset="0"/>
              </a:rPr>
              <a:t>政府</a:t>
            </a:r>
            <a:r>
              <a:rPr lang="ja-JP" altLang="en-US" dirty="0">
                <a:latin typeface="Arial" panose="020B0604020202020204" pitchFamily="34" charset="0"/>
                <a:ea typeface="ＭＳ Ｐゴシック" panose="020B0600070205080204" pitchFamily="50" charset="-128"/>
                <a:cs typeface="Arial" panose="020B0604020202020204" pitchFamily="34" charset="0"/>
              </a:rPr>
              <a:t>が</a:t>
            </a:r>
            <a:r>
              <a:rPr lang="ja-JP" altLang="ja-JP" dirty="0" smtClean="0">
                <a:latin typeface="Arial" panose="020B0604020202020204" pitchFamily="34" charset="0"/>
                <a:ea typeface="ＭＳ Ｐゴシック" panose="020B0600070205080204" pitchFamily="50" charset="-128"/>
                <a:cs typeface="Arial" panose="020B0604020202020204" pitchFamily="34" charset="0"/>
              </a:rPr>
              <a:t>支援</a:t>
            </a:r>
            <a:r>
              <a:rPr lang="ja-JP" altLang="en-US" dirty="0" smtClean="0">
                <a:latin typeface="Arial" panose="020B0604020202020204" pitchFamily="34" charset="0"/>
                <a:ea typeface="ＭＳ Ｐゴシック" panose="020B0600070205080204" pitchFamily="50" charset="-128"/>
                <a:cs typeface="Arial" panose="020B0604020202020204" pitchFamily="34" charset="0"/>
              </a:rPr>
              <a:t>する</a:t>
            </a:r>
            <a:r>
              <a:rPr lang="ja-JP" altLang="ja-JP" dirty="0" smtClean="0">
                <a:latin typeface="Arial" panose="020B0604020202020204" pitchFamily="34" charset="0"/>
                <a:ea typeface="ＭＳ Ｐゴシック" panose="020B0600070205080204" pitchFamily="50" charset="-128"/>
                <a:cs typeface="Arial" panose="020B0604020202020204" pitchFamily="34" charset="0"/>
              </a:rPr>
              <a:t>試験的</a:t>
            </a:r>
            <a:r>
              <a:rPr lang="ja-JP" altLang="ja-JP" dirty="0">
                <a:latin typeface="Arial" panose="020B0604020202020204" pitchFamily="34" charset="0"/>
                <a:ea typeface="ＭＳ Ｐゴシック" panose="020B0600070205080204" pitchFamily="50" charset="-128"/>
                <a:cs typeface="Arial" panose="020B0604020202020204" pitchFamily="34" charset="0"/>
              </a:rPr>
              <a:t>事業</a:t>
            </a:r>
          </a:p>
          <a:p>
            <a:pPr marL="342900" indent="-342900">
              <a:buFont typeface="+mj-lt"/>
              <a:buAutoNum type="arabicPeriod"/>
            </a:pPr>
            <a:r>
              <a:rPr lang="ja-JP" altLang="ja-JP" dirty="0">
                <a:latin typeface="Arial" panose="020B0604020202020204" pitchFamily="34" charset="0"/>
                <a:ea typeface="ＭＳ Ｐゴシック" panose="020B0600070205080204" pitchFamily="50" charset="-128"/>
                <a:cs typeface="Arial" panose="020B0604020202020204" pitchFamily="34" charset="0"/>
              </a:rPr>
              <a:t>援助供与機関／政府からの</a:t>
            </a:r>
            <a:r>
              <a:rPr lang="ja-JP" altLang="ja-JP" b="1" dirty="0">
                <a:latin typeface="Arial" panose="020B0604020202020204" pitchFamily="34" charset="0"/>
                <a:ea typeface="ＭＳ Ｐゴシック" panose="020B0600070205080204" pitchFamily="50" charset="-128"/>
                <a:cs typeface="Arial" panose="020B0604020202020204" pitchFamily="34" charset="0"/>
              </a:rPr>
              <a:t>補助金その他資金の対象事業または対象となりやすい</a:t>
            </a:r>
            <a:r>
              <a:rPr lang="ja-JP" altLang="ja-JP" dirty="0">
                <a:latin typeface="Arial" panose="020B0604020202020204" pitchFamily="34" charset="0"/>
                <a:ea typeface="ＭＳ Ｐゴシック" panose="020B0600070205080204" pitchFamily="50" charset="-128"/>
                <a:cs typeface="Arial" panose="020B0604020202020204" pitchFamily="34" charset="0"/>
              </a:rPr>
              <a:t>事業</a:t>
            </a:r>
          </a:p>
          <a:p>
            <a:pPr marL="342900" indent="-342900">
              <a:buFont typeface="+mj-lt"/>
              <a:buAutoNum type="arabicPeriod"/>
            </a:pPr>
            <a:r>
              <a:rPr lang="ja-JP" altLang="ja-JP" dirty="0">
                <a:latin typeface="Arial" panose="020B0604020202020204" pitchFamily="34" charset="0"/>
                <a:ea typeface="ＭＳ Ｐゴシック" panose="020B0600070205080204" pitchFamily="50" charset="-128"/>
                <a:cs typeface="Arial" panose="020B0604020202020204" pitchFamily="34" charset="0"/>
              </a:rPr>
              <a:t>中央（</a:t>
            </a:r>
            <a:r>
              <a:rPr lang="en-US" altLang="ja-JP" dirty="0">
                <a:latin typeface="Arial" panose="020B0604020202020204" pitchFamily="34" charset="0"/>
                <a:ea typeface="ＭＳ Ｐゴシック" panose="020B0600070205080204" pitchFamily="50" charset="-128"/>
                <a:cs typeface="Arial" panose="020B0604020202020204" pitchFamily="34" charset="0"/>
              </a:rPr>
              <a:t>NBA</a:t>
            </a:r>
            <a:r>
              <a:rPr lang="ja-JP" altLang="ja-JP" dirty="0">
                <a:latin typeface="Arial" panose="020B0604020202020204" pitchFamily="34" charset="0"/>
                <a:ea typeface="ＭＳ Ｐゴシック" panose="020B0600070205080204" pitchFamily="50" charset="-128"/>
                <a:cs typeface="Arial" panose="020B0604020202020204" pitchFamily="34" charset="0"/>
              </a:rPr>
              <a:t>や</a:t>
            </a:r>
            <a:r>
              <a:rPr lang="en-US" altLang="ja-JP" dirty="0">
                <a:latin typeface="Arial" panose="020B0604020202020204" pitchFamily="34" charset="0"/>
                <a:ea typeface="ＭＳ Ｐゴシック" panose="020B0600070205080204" pitchFamily="50" charset="-128"/>
                <a:cs typeface="Arial" panose="020B0604020202020204" pitchFamily="34" charset="0"/>
              </a:rPr>
              <a:t>MGNREGA</a:t>
            </a:r>
            <a:r>
              <a:rPr lang="ja-JP" altLang="ja-JP" dirty="0">
                <a:latin typeface="Arial" panose="020B0604020202020204" pitchFamily="34" charset="0"/>
                <a:ea typeface="ＭＳ Ｐゴシック" panose="020B0600070205080204" pitchFamily="50" charset="-128"/>
                <a:cs typeface="Arial" panose="020B0604020202020204" pitchFamily="34" charset="0"/>
              </a:rPr>
              <a:t>といった中央政府のスキームを通じて）および地方（地方自治体、 地区教育委員会）</a:t>
            </a:r>
            <a:r>
              <a:rPr lang="ja-JP" altLang="ja-JP" dirty="0" smtClean="0">
                <a:latin typeface="Arial" panose="020B0604020202020204" pitchFamily="34" charset="0"/>
                <a:ea typeface="ＭＳ Ｐゴシック" panose="020B0600070205080204" pitchFamily="50" charset="-128"/>
                <a:cs typeface="Arial" panose="020B0604020202020204" pitchFamily="34" charset="0"/>
              </a:rPr>
              <a:t>レベル</a:t>
            </a:r>
            <a:r>
              <a:rPr lang="ja-JP" altLang="en-US" dirty="0" smtClean="0">
                <a:latin typeface="Arial" panose="020B0604020202020204" pitchFamily="34" charset="0"/>
                <a:ea typeface="ＭＳ Ｐゴシック" panose="020B0600070205080204" pitchFamily="50" charset="-128"/>
                <a:cs typeface="Arial" panose="020B0604020202020204" pitchFamily="34" charset="0"/>
              </a:rPr>
              <a:t>における</a:t>
            </a:r>
            <a:r>
              <a:rPr lang="ja-JP" altLang="ja-JP" b="1" dirty="0" smtClean="0">
                <a:latin typeface="Arial" panose="020B0604020202020204" pitchFamily="34" charset="0"/>
                <a:ea typeface="ＭＳ Ｐゴシック" panose="020B0600070205080204" pitchFamily="50" charset="-128"/>
                <a:cs typeface="Arial" panose="020B0604020202020204" pitchFamily="34" charset="0"/>
              </a:rPr>
              <a:t>政府</a:t>
            </a:r>
            <a:r>
              <a:rPr lang="ja-JP" altLang="ja-JP" b="1" dirty="0">
                <a:latin typeface="Arial" panose="020B0604020202020204" pitchFamily="34" charset="0"/>
                <a:ea typeface="ＭＳ Ｐゴシック" panose="020B0600070205080204" pitchFamily="50" charset="-128"/>
                <a:cs typeface="Arial" panose="020B0604020202020204" pitchFamily="34" charset="0"/>
              </a:rPr>
              <a:t>機関との密接な協力</a:t>
            </a:r>
            <a:r>
              <a:rPr lang="ja-JP" altLang="ja-JP" dirty="0">
                <a:latin typeface="Arial" panose="020B0604020202020204" pitchFamily="34" charset="0"/>
                <a:ea typeface="ＭＳ Ｐゴシック" panose="020B0600070205080204" pitchFamily="50" charset="-128"/>
                <a:cs typeface="Arial" panose="020B0604020202020204" pitchFamily="34" charset="0"/>
              </a:rPr>
              <a:t>を伴う事業</a:t>
            </a:r>
          </a:p>
          <a:p>
            <a:pPr marL="342900" indent="-342900">
              <a:buFont typeface="+mj-lt"/>
              <a:buAutoNum type="arabicPeriod"/>
            </a:pPr>
            <a:r>
              <a:rPr lang="ja-JP" altLang="ja-JP" dirty="0" smtClean="0">
                <a:latin typeface="Arial" panose="020B0604020202020204" pitchFamily="34" charset="0"/>
                <a:ea typeface="ＭＳ Ｐゴシック" panose="020B0600070205080204" pitchFamily="50" charset="-128"/>
                <a:cs typeface="Arial" panose="020B0604020202020204" pitchFamily="34" charset="0"/>
              </a:rPr>
              <a:t>将来</a:t>
            </a:r>
            <a:r>
              <a:rPr lang="ja-JP" altLang="en-US" dirty="0" smtClean="0">
                <a:latin typeface="Arial" panose="020B0604020202020204" pitchFamily="34" charset="0"/>
                <a:ea typeface="ＭＳ Ｐゴシック" panose="020B0600070205080204" pitchFamily="50" charset="-128"/>
                <a:cs typeface="Arial" panose="020B0604020202020204" pitchFamily="34" charset="0"/>
              </a:rPr>
              <a:t>的な</a:t>
            </a:r>
            <a:r>
              <a:rPr lang="ja-JP" altLang="ja-JP" dirty="0" smtClean="0">
                <a:latin typeface="Arial" panose="020B0604020202020204" pitchFamily="34" charset="0"/>
                <a:ea typeface="ＭＳ Ｐゴシック" panose="020B0600070205080204" pitchFamily="50" charset="-128"/>
                <a:cs typeface="Arial" panose="020B0604020202020204" pitchFamily="34" charset="0"/>
              </a:rPr>
              <a:t>チャンス</a:t>
            </a:r>
            <a:r>
              <a:rPr lang="ja-JP" altLang="ja-JP" dirty="0">
                <a:latin typeface="Arial" panose="020B0604020202020204" pitchFamily="34" charset="0"/>
                <a:ea typeface="ＭＳ Ｐゴシック" panose="020B0600070205080204" pitchFamily="50" charset="-128"/>
                <a:cs typeface="Arial" panose="020B0604020202020204" pitchFamily="34" charset="0"/>
              </a:rPr>
              <a:t>に</a:t>
            </a:r>
            <a:r>
              <a:rPr lang="ja-JP" altLang="ja-JP" dirty="0" smtClean="0">
                <a:latin typeface="Arial" panose="020B0604020202020204" pitchFamily="34" charset="0"/>
                <a:ea typeface="ＭＳ Ｐゴシック" panose="020B0600070205080204" pitchFamily="50" charset="-128"/>
                <a:cs typeface="Arial" panose="020B0604020202020204" pitchFamily="34" charset="0"/>
              </a:rPr>
              <a:t>向け</a:t>
            </a:r>
            <a:r>
              <a:rPr lang="ja-JP" altLang="en-US" dirty="0">
                <a:latin typeface="Arial" panose="020B0604020202020204" pitchFamily="34" charset="0"/>
                <a:ea typeface="ＭＳ Ｐゴシック" panose="020B0600070205080204" pitchFamily="50" charset="-128"/>
                <a:cs typeface="Arial" panose="020B0604020202020204" pitchFamily="34" charset="0"/>
              </a:rPr>
              <a:t>た</a:t>
            </a:r>
            <a:r>
              <a:rPr lang="ja-JP" altLang="ja-JP" dirty="0" smtClean="0">
                <a:latin typeface="Arial" panose="020B0604020202020204" pitchFamily="34" charset="0"/>
                <a:ea typeface="ＭＳ Ｐゴシック" panose="020B0600070205080204" pitchFamily="50" charset="-128"/>
                <a:cs typeface="Arial" panose="020B0604020202020204" pitchFamily="34" charset="0"/>
              </a:rPr>
              <a:t>成功</a:t>
            </a:r>
            <a:r>
              <a:rPr lang="ja-JP" altLang="en-US" dirty="0" smtClean="0">
                <a:latin typeface="Arial" panose="020B0604020202020204" pitchFamily="34" charset="0"/>
                <a:ea typeface="ＭＳ Ｐゴシック" panose="020B0600070205080204" pitchFamily="50" charset="-128"/>
                <a:cs typeface="Arial" panose="020B0604020202020204" pitchFamily="34" charset="0"/>
              </a:rPr>
              <a:t>例</a:t>
            </a:r>
            <a:r>
              <a:rPr lang="ja-JP" altLang="ja-JP" dirty="0" smtClean="0">
                <a:latin typeface="Arial" panose="020B0604020202020204" pitchFamily="34" charset="0"/>
                <a:ea typeface="ＭＳ Ｐゴシック" panose="020B0600070205080204" pitchFamily="50" charset="-128"/>
                <a:cs typeface="Arial" panose="020B0604020202020204" pitchFamily="34" charset="0"/>
              </a:rPr>
              <a:t>と</a:t>
            </a:r>
            <a:r>
              <a:rPr lang="ja-JP" altLang="ja-JP" dirty="0">
                <a:latin typeface="Arial" panose="020B0604020202020204" pitchFamily="34" charset="0"/>
                <a:ea typeface="ＭＳ Ｐゴシック" panose="020B0600070205080204" pitchFamily="50" charset="-128"/>
                <a:cs typeface="Arial" panose="020B0604020202020204" pitchFamily="34" charset="0"/>
              </a:rPr>
              <a:t>して役立てることができる、</a:t>
            </a:r>
            <a:r>
              <a:rPr lang="ja-JP" altLang="ja-JP" b="1" dirty="0">
                <a:latin typeface="Arial" panose="020B0604020202020204" pitchFamily="34" charset="0"/>
                <a:ea typeface="ＭＳ Ｐゴシック" panose="020B0600070205080204" pitchFamily="50" charset="-128"/>
                <a:cs typeface="Arial" panose="020B0604020202020204" pitchFamily="34" charset="0"/>
              </a:rPr>
              <a:t>高いポテンシャルを有する</a:t>
            </a:r>
            <a:r>
              <a:rPr lang="ja-JP" altLang="ja-JP" b="1" dirty="0" smtClean="0">
                <a:latin typeface="Arial" panose="020B0604020202020204" pitchFamily="34" charset="0"/>
                <a:ea typeface="ＭＳ Ｐゴシック" panose="020B0600070205080204" pitchFamily="50" charset="-128"/>
                <a:cs typeface="Arial" panose="020B0604020202020204" pitchFamily="34" charset="0"/>
              </a:rPr>
              <a:t>州</a:t>
            </a:r>
            <a:r>
              <a:rPr lang="en-US" altLang="ja-JP" baseline="30000" dirty="0"/>
              <a:t>1</a:t>
            </a:r>
            <a:r>
              <a:rPr lang="ja-JP" altLang="ja-JP" dirty="0" smtClean="0">
                <a:latin typeface="Arial" panose="020B0604020202020204" pitchFamily="34" charset="0"/>
                <a:ea typeface="ＭＳ Ｐゴシック" panose="020B0600070205080204" pitchFamily="50" charset="-128"/>
                <a:cs typeface="Arial" panose="020B0604020202020204" pitchFamily="34" charset="0"/>
              </a:rPr>
              <a:t>で</a:t>
            </a:r>
            <a:r>
              <a:rPr lang="ja-JP" altLang="ja-JP" dirty="0">
                <a:latin typeface="Arial" panose="020B0604020202020204" pitchFamily="34" charset="0"/>
                <a:ea typeface="ＭＳ Ｐゴシック" panose="020B0600070205080204" pitchFamily="50" charset="-128"/>
                <a:cs typeface="Arial" panose="020B0604020202020204" pitchFamily="34" charset="0"/>
              </a:rPr>
              <a:t>実施される事業</a:t>
            </a:r>
            <a:endParaRPr lang="en-US" dirty="0">
              <a:latin typeface="Arial" panose="020B0604020202020204" pitchFamily="34" charset="0"/>
              <a:ea typeface="ＭＳ Ｐゴシック" panose="020B0600070205080204" pitchFamily="50" charset="-128"/>
              <a:cs typeface="Arial" panose="020B0604020202020204" pitchFamily="34" charset="0"/>
            </a:endParaRPr>
          </a:p>
          <a:p>
            <a:pPr marL="0" indent="0">
              <a:buNone/>
            </a:pPr>
            <a:endParaRPr lang="en-US" dirty="0"/>
          </a:p>
          <a:p>
            <a:endParaRPr lang="en-US" dirty="0"/>
          </a:p>
        </p:txBody>
      </p:sp>
      <p:sp>
        <p:nvSpPr>
          <p:cNvPr id="7" name="Rounded Rectangle 6"/>
          <p:cNvSpPr/>
          <p:nvPr/>
        </p:nvSpPr>
        <p:spPr>
          <a:xfrm>
            <a:off x="1359712" y="4942703"/>
            <a:ext cx="6424577" cy="875808"/>
          </a:xfrm>
          <a:prstGeom prst="roundRect">
            <a:avLst/>
          </a:prstGeom>
          <a:noFill/>
          <a:ln>
            <a:solidFill>
              <a:srgbClr val="6710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毛管浄化社の最近のインド訪問により</a:t>
            </a:r>
            <a:r>
              <a:rPr lang="ja-JP" altLang="en-US" sz="140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上記</a:t>
            </a:r>
            <a:r>
              <a:rPr lang="ja-JP" altLang="en-US" sz="140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rPr>
              <a:t>要件</a:t>
            </a: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を満たすものとして、</a:t>
            </a:r>
            <a:r>
              <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JICA</a:t>
            </a: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が資金提供する</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エコツーリズム事業</a:t>
            </a: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と</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ガントク下水処理場の改修</a:t>
            </a: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という</a:t>
            </a:r>
            <a:r>
              <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件の</a:t>
            </a:r>
            <a:r>
              <a:rPr lang="ja-JP" altLang="en-US" sz="140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rPr>
              <a:t>機会が浮上（</a:t>
            </a: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どちらも場所は</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シッキム</a:t>
            </a: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08193920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8446985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445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15636" y="-227509"/>
            <a:ext cx="8312727" cy="1010723"/>
          </a:xfrm>
        </p:spPr>
        <p:txBody>
          <a:bodyPr/>
          <a:lstStyle/>
          <a:p>
            <a:r>
              <a:rPr lang="ja-JP" altLang="ja-JP" sz="2000" dirty="0" smtClean="0">
                <a:latin typeface="Arial" panose="020B0604020202020204" pitchFamily="34" charset="0"/>
                <a:ea typeface="ＭＳ Ｐゴシック" panose="020B0600070205080204" pitchFamily="50" charset="-128"/>
                <a:cs typeface="Arial" panose="020B0604020202020204" pitchFamily="34" charset="0"/>
              </a:rPr>
              <a:t>最近シッキム</a:t>
            </a:r>
            <a:r>
              <a:rPr lang="ja-JP" altLang="en-US" sz="2000" dirty="0" smtClean="0">
                <a:latin typeface="Arial" panose="020B0604020202020204" pitchFamily="34" charset="0"/>
                <a:ea typeface="ＭＳ Ｐゴシック" panose="020B0600070205080204" pitchFamily="50" charset="-128"/>
                <a:cs typeface="Arial" panose="020B0604020202020204" pitchFamily="34" charset="0"/>
              </a:rPr>
              <a:t>に設置された</a:t>
            </a:r>
            <a:r>
              <a:rPr lang="ja-JP" altLang="ja-JP" sz="2000" dirty="0" smtClean="0">
                <a:latin typeface="Arial" panose="020B0604020202020204" pitchFamily="34" charset="0"/>
                <a:ea typeface="ＭＳ Ｐゴシック" panose="020B0600070205080204" pitchFamily="50" charset="-128"/>
                <a:cs typeface="Arial" panose="020B0604020202020204" pitchFamily="34" charset="0"/>
              </a:rPr>
              <a:t>ニイミトレンチ</a:t>
            </a:r>
            <a:r>
              <a:rPr lang="ja-JP" altLang="en-US" sz="2000" dirty="0" smtClean="0">
                <a:latin typeface="Arial" panose="020B0604020202020204" pitchFamily="34" charset="0"/>
                <a:ea typeface="ＭＳ Ｐゴシック" panose="020B0600070205080204" pitchFamily="50" charset="-128"/>
                <a:cs typeface="Arial" panose="020B0604020202020204" pitchFamily="34" charset="0"/>
              </a:rPr>
              <a:t>によ</a:t>
            </a:r>
            <a:r>
              <a:rPr lang="ja-JP" altLang="en-US" sz="2000" dirty="0">
                <a:latin typeface="Arial" panose="020B0604020202020204" pitchFamily="34" charset="0"/>
                <a:ea typeface="ＭＳ Ｐゴシック" panose="020B0600070205080204" pitchFamily="50" charset="-128"/>
                <a:cs typeface="Arial" panose="020B0604020202020204" pitchFamily="34" charset="0"/>
              </a:rPr>
              <a:t>り</a:t>
            </a:r>
            <a:r>
              <a:rPr lang="ja-JP" altLang="ja-JP" sz="2000" dirty="0" smtClean="0">
                <a:latin typeface="Arial" panose="020B0604020202020204" pitchFamily="34" charset="0"/>
                <a:ea typeface="ＭＳ Ｐゴシック" panose="020B0600070205080204" pitchFamily="50" charset="-128"/>
                <a:cs typeface="Arial" panose="020B0604020202020204" pitchFamily="34" charset="0"/>
              </a:rPr>
              <a:t>、</a:t>
            </a:r>
            <a:r>
              <a:rPr lang="ja-JP" altLang="ja-JP" sz="2000" dirty="0">
                <a:latin typeface="Arial" panose="020B0604020202020204" pitchFamily="34" charset="0"/>
                <a:ea typeface="ＭＳ Ｐゴシック" panose="020B0600070205080204" pitchFamily="50" charset="-128"/>
                <a:cs typeface="Arial" panose="020B0604020202020204" pitchFamily="34" charset="0"/>
              </a:rPr>
              <a:t>同</a:t>
            </a:r>
            <a:r>
              <a:rPr lang="ja-JP" altLang="ja-JP" sz="2000" dirty="0" smtClean="0">
                <a:latin typeface="Arial" panose="020B0604020202020204" pitchFamily="34" charset="0"/>
                <a:ea typeface="ＭＳ Ｐゴシック" panose="020B0600070205080204" pitchFamily="50" charset="-128"/>
                <a:cs typeface="Arial" panose="020B0604020202020204" pitchFamily="34" charset="0"/>
              </a:rPr>
              <a:t>州にお</a:t>
            </a:r>
            <a:r>
              <a:rPr lang="ja-JP" altLang="en-US" sz="2000" dirty="0" smtClean="0">
                <a:latin typeface="Arial" panose="020B0604020202020204" pitchFamily="34" charset="0"/>
                <a:ea typeface="ＭＳ Ｐゴシック" panose="020B0600070205080204" pitchFamily="50" charset="-128"/>
                <a:cs typeface="Arial" panose="020B0604020202020204" pitchFamily="34" charset="0"/>
              </a:rPr>
              <a:t>ける</a:t>
            </a:r>
            <a:r>
              <a:rPr lang="ja-JP" altLang="ja-JP" sz="2000" dirty="0" smtClean="0">
                <a:latin typeface="Arial" panose="020B0604020202020204" pitchFamily="34" charset="0"/>
                <a:ea typeface="ＭＳ Ｐゴシック" panose="020B0600070205080204" pitchFamily="50" charset="-128"/>
                <a:cs typeface="Arial" panose="020B0604020202020204" pitchFamily="34" charset="0"/>
              </a:rPr>
              <a:t>政府</a:t>
            </a:r>
            <a:r>
              <a:rPr lang="ja-JP" altLang="en-US" sz="2000" dirty="0" smtClean="0">
                <a:latin typeface="Arial" panose="020B0604020202020204" pitchFamily="34" charset="0"/>
                <a:ea typeface="ＭＳ Ｐゴシック" panose="020B0600070205080204" pitchFamily="50" charset="-128"/>
                <a:cs typeface="Arial" panose="020B0604020202020204" pitchFamily="34" charset="0"/>
              </a:rPr>
              <a:t>および</a:t>
            </a:r>
            <a:r>
              <a:rPr lang="en-US" altLang="ja-JP" sz="2000" dirty="0" smtClean="0">
                <a:latin typeface="Arial" panose="020B0604020202020204" pitchFamily="34" charset="0"/>
                <a:ea typeface="ＭＳ Ｐゴシック" panose="020B0600070205080204" pitchFamily="50" charset="-128"/>
                <a:cs typeface="Arial" panose="020B0604020202020204" pitchFamily="34" charset="0"/>
              </a:rPr>
              <a:t>JICA</a:t>
            </a:r>
            <a:r>
              <a:rPr lang="ja-JP" altLang="ja-JP" sz="2000" dirty="0" smtClean="0">
                <a:latin typeface="Arial" panose="020B0604020202020204" pitchFamily="34" charset="0"/>
                <a:ea typeface="ＭＳ Ｐゴシック" panose="020B0600070205080204" pitchFamily="50" charset="-128"/>
                <a:cs typeface="Arial" panose="020B0604020202020204" pitchFamily="34" charset="0"/>
              </a:rPr>
              <a:t>とのより</a:t>
            </a:r>
            <a:r>
              <a:rPr lang="ja-JP" altLang="en-US" sz="2000" dirty="0" smtClean="0">
                <a:latin typeface="Arial" panose="020B0604020202020204" pitchFamily="34" charset="0"/>
                <a:ea typeface="ＭＳ Ｐゴシック" panose="020B0600070205080204" pitchFamily="50" charset="-128"/>
                <a:cs typeface="Arial" panose="020B0604020202020204" pitchFamily="34" charset="0"/>
              </a:rPr>
              <a:t>規模の大きな</a:t>
            </a:r>
            <a:r>
              <a:rPr lang="ja-JP" altLang="ja-JP" sz="2000" dirty="0" smtClean="0">
                <a:latin typeface="Arial" panose="020B0604020202020204" pitchFamily="34" charset="0"/>
                <a:ea typeface="ＭＳ Ｐゴシック" panose="020B0600070205080204" pitchFamily="50" charset="-128"/>
                <a:cs typeface="Arial" panose="020B0604020202020204" pitchFamily="34" charset="0"/>
              </a:rPr>
              <a:t>事業</a:t>
            </a:r>
            <a:r>
              <a:rPr lang="ja-JP" altLang="en-US" sz="2000" dirty="0" smtClean="0">
                <a:latin typeface="Arial" panose="020B0604020202020204" pitchFamily="34" charset="0"/>
                <a:ea typeface="ＭＳ Ｐゴシック" panose="020B0600070205080204" pitchFamily="50" charset="-128"/>
                <a:cs typeface="Arial" panose="020B0604020202020204" pitchFamily="34" charset="0"/>
              </a:rPr>
              <a:t>への</a:t>
            </a:r>
            <a:r>
              <a:rPr lang="ja-JP" altLang="ja-JP" sz="2000" dirty="0" smtClean="0">
                <a:latin typeface="Arial" panose="020B0604020202020204" pitchFamily="34" charset="0"/>
                <a:ea typeface="ＭＳ Ｐゴシック" panose="020B0600070205080204" pitchFamily="50" charset="-128"/>
                <a:cs typeface="Arial" panose="020B0604020202020204" pitchFamily="34" charset="0"/>
              </a:rPr>
              <a:t>道</a:t>
            </a:r>
            <a:r>
              <a:rPr lang="ja-JP" altLang="en-US" sz="2000" dirty="0" smtClean="0">
                <a:latin typeface="Arial" panose="020B0604020202020204" pitchFamily="34" charset="0"/>
                <a:ea typeface="ＭＳ Ｐゴシック" panose="020B0600070205080204" pitchFamily="50" charset="-128"/>
                <a:cs typeface="Arial" panose="020B0604020202020204" pitchFamily="34" charset="0"/>
              </a:rPr>
              <a:t>が開ける</a:t>
            </a:r>
            <a:r>
              <a:rPr lang="ja-JP" altLang="ja-JP" sz="2000" dirty="0" smtClean="0">
                <a:latin typeface="Arial" panose="020B0604020202020204" pitchFamily="34" charset="0"/>
                <a:ea typeface="ＭＳ Ｐゴシック" panose="020B0600070205080204" pitchFamily="50" charset="-128"/>
                <a:cs typeface="Arial" panose="020B0604020202020204" pitchFamily="34" charset="0"/>
              </a:rPr>
              <a:t>可能性</a:t>
            </a:r>
            <a:r>
              <a:rPr lang="ja-JP" altLang="ja-JP" sz="2000" dirty="0">
                <a:latin typeface="Arial" panose="020B0604020202020204" pitchFamily="34" charset="0"/>
                <a:ea typeface="ＭＳ Ｐゴシック" panose="020B0600070205080204" pitchFamily="50" charset="-128"/>
                <a:cs typeface="Arial" panose="020B0604020202020204" pitchFamily="34" charset="0"/>
              </a:rPr>
              <a:t>がある</a:t>
            </a:r>
          </a:p>
        </p:txBody>
      </p:sp>
      <p:sp>
        <p:nvSpPr>
          <p:cNvPr id="4" name="Text Placeholder 3"/>
          <p:cNvSpPr>
            <a:spLocks noGrp="1"/>
          </p:cNvSpPr>
          <p:nvPr>
            <p:ph type="body" sz="quarter" idx="10"/>
          </p:nvPr>
        </p:nvSpPr>
        <p:spPr>
          <a:xfrm>
            <a:off x="415681" y="2085976"/>
            <a:ext cx="3710613" cy="4248150"/>
          </a:xfrm>
        </p:spPr>
        <p:txBody>
          <a:bodyPr/>
          <a:lstStyle/>
          <a:p>
            <a:r>
              <a:rPr lang="ja-JP" altLang="ja-JP" sz="1200" dirty="0">
                <a:latin typeface="Arial" panose="020B0604020202020204" pitchFamily="34" charset="0"/>
                <a:ea typeface="ＭＳ Ｐゴシック" panose="020B0600070205080204" pitchFamily="50" charset="-128"/>
                <a:cs typeface="Arial" panose="020B0604020202020204" pitchFamily="34" charset="0"/>
              </a:rPr>
              <a:t>毛管浄化社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ECOSS</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と協力してシッキム</a:t>
            </a:r>
            <a:r>
              <a:rPr lang="ja-JP" altLang="ja-JP" sz="1200" dirty="0" smtClean="0">
                <a:latin typeface="Arial" panose="020B0604020202020204" pitchFamily="34" charset="0"/>
                <a:ea typeface="ＭＳ Ｐゴシック" panose="020B0600070205080204" pitchFamily="50" charset="-128"/>
                <a:cs typeface="Arial" panose="020B0604020202020204" pitchFamily="34" charset="0"/>
              </a:rPr>
              <a:t>で</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a:t>
            </a:r>
            <a:r>
              <a:rPr lang="ja-JP" altLang="ja-JP" sz="1200" dirty="0" smtClean="0">
                <a:latin typeface="Arial" panose="020B0604020202020204" pitchFamily="34" charset="0"/>
                <a:ea typeface="ＭＳ Ｐゴシック" panose="020B0600070205080204" pitchFamily="50" charset="-128"/>
                <a:cs typeface="Arial" panose="020B0604020202020204" pitchFamily="34" charset="0"/>
              </a:rPr>
              <a:t>件</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a:t>
            </a:r>
            <a:r>
              <a:rPr lang="ja-JP" altLang="ja-JP" sz="1200" dirty="0" smtClean="0">
                <a:latin typeface="Arial" panose="020B0604020202020204" pitchFamily="34" charset="0"/>
                <a:ea typeface="ＭＳ Ｐゴシック" panose="020B0600070205080204" pitchFamily="50" charset="-128"/>
                <a:cs typeface="Arial" panose="020B0604020202020204" pitchFamily="34" charset="0"/>
              </a:rPr>
              <a:t>ニイミトレンチ</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を設置した。うち</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件は</a:t>
            </a:r>
            <a:r>
              <a:rPr lang="ja-JP" altLang="ja-JP" sz="1200" dirty="0" smtClean="0">
                <a:latin typeface="Arial" panose="020B0604020202020204" pitchFamily="34" charset="0"/>
                <a:ea typeface="ＭＳ Ｐゴシック" panose="020B0600070205080204" pitchFamily="50" charset="-128"/>
                <a:cs typeface="Arial" panose="020B0604020202020204" pitchFamily="34" charset="0"/>
              </a:rPr>
              <a:t>ホームスティ先</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に設置</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 </a:t>
            </a:r>
            <a:endParaRPr lang="en-US" altLang="ja-JP" sz="1200" dirty="0" smtClean="0">
              <a:latin typeface="Arial" panose="020B0604020202020204" pitchFamily="34" charset="0"/>
              <a:ea typeface="ＭＳ Ｐゴシック" panose="020B0600070205080204" pitchFamily="50" charset="-128"/>
              <a:cs typeface="Arial" panose="020B0604020202020204" pitchFamily="34" charset="0"/>
            </a:endParaRPr>
          </a:p>
          <a:p>
            <a:endParaRPr lang="ja-JP" altLang="ja-JP" sz="12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1200" dirty="0">
                <a:latin typeface="Arial" panose="020B0604020202020204" pitchFamily="34" charset="0"/>
                <a:ea typeface="ＭＳ Ｐゴシック" panose="020B0600070205080204" pitchFamily="50" charset="-128"/>
                <a:cs typeface="Arial" panose="020B0604020202020204" pitchFamily="34" charset="0"/>
              </a:rPr>
              <a:t>P D Rai</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氏が設置現場の</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つを視察し、ニイミトレンチの技術に関して肯定的な反応を</a:t>
            </a:r>
            <a:r>
              <a:rPr lang="ja-JP" altLang="ja-JP" sz="1200" dirty="0" smtClean="0">
                <a:latin typeface="Arial" panose="020B0604020202020204" pitchFamily="34" charset="0"/>
                <a:ea typeface="ＭＳ Ｐゴシック" panose="020B0600070205080204" pitchFamily="50" charset="-128"/>
                <a:cs typeface="Arial" panose="020B0604020202020204" pitchFamily="34" charset="0"/>
              </a:rPr>
              <a:t>見せた</a:t>
            </a:r>
            <a:endParaRPr lang="en-US" altLang="ja-JP" sz="1200" dirty="0" smtClean="0">
              <a:latin typeface="Arial" panose="020B0604020202020204" pitchFamily="34" charset="0"/>
              <a:ea typeface="ＭＳ Ｐゴシック" panose="020B0600070205080204" pitchFamily="50" charset="-128"/>
              <a:cs typeface="Arial" panose="020B0604020202020204" pitchFamily="34" charset="0"/>
            </a:endParaRPr>
          </a:p>
          <a:p>
            <a:pPr marL="0" indent="0">
              <a:buNone/>
            </a:pPr>
            <a:endParaRPr lang="ja-JP" altLang="ja-JP" sz="1200" dirty="0">
              <a:latin typeface="Arial" panose="020B0604020202020204" pitchFamily="34" charset="0"/>
              <a:ea typeface="ＭＳ Ｐゴシック" panose="020B0600070205080204" pitchFamily="50" charset="-128"/>
              <a:cs typeface="Arial" panose="020B0604020202020204" pitchFamily="34" charset="0"/>
            </a:endParaRPr>
          </a:p>
          <a:p>
            <a:r>
              <a:rPr lang="ja-JP" altLang="ja-JP" sz="1200" dirty="0">
                <a:latin typeface="Arial" panose="020B0604020202020204" pitchFamily="34" charset="0"/>
                <a:ea typeface="ＭＳ Ｐゴシック" panose="020B0600070205080204" pitchFamily="50" charset="-128"/>
                <a:cs typeface="Arial" panose="020B0604020202020204" pitchFamily="34" charset="0"/>
              </a:rPr>
              <a:t>毛管浄化社、</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SPF</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Dalberg</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P D Rai</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氏はデリーにて</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JICA</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本部 （ホリカワミホ氏、</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Vineet Sahai Sarin</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氏）とニイミトレンチの大規模導入</a:t>
            </a:r>
            <a:r>
              <a:rPr lang="ja-JP" altLang="ja-JP" sz="1200" dirty="0" smtClean="0">
                <a:latin typeface="Arial" panose="020B0604020202020204" pitchFamily="34" charset="0"/>
                <a:ea typeface="ＭＳ Ｐゴシック" panose="020B0600070205080204" pitchFamily="50" charset="-128"/>
                <a:cs typeface="Arial" panose="020B0604020202020204" pitchFamily="34" charset="0"/>
              </a:rPr>
              <a:t>に</a:t>
            </a:r>
            <a:r>
              <a:rPr lang="ja-JP" altLang="en-US" sz="1200" dirty="0" smtClean="0">
                <a:latin typeface="Arial" panose="020B0604020202020204" pitchFamily="34" charset="0"/>
                <a:ea typeface="ＭＳ Ｐゴシック" panose="020B0600070205080204" pitchFamily="50" charset="-128"/>
                <a:cs typeface="Arial" panose="020B0604020202020204" pitchFamily="34" charset="0"/>
              </a:rPr>
              <a:t>つい</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て</a:t>
            </a:r>
            <a:r>
              <a:rPr lang="ja-JP" altLang="en-US" sz="1200" dirty="0" smtClean="0">
                <a:latin typeface="Arial" panose="020B0604020202020204" pitchFamily="34" charset="0"/>
                <a:ea typeface="ＭＳ Ｐゴシック" panose="020B0600070205080204" pitchFamily="50" charset="-128"/>
                <a:cs typeface="Arial" panose="020B0604020202020204" pitchFamily="34" charset="0"/>
              </a:rPr>
              <a:t>協議した</a:t>
            </a:r>
            <a:endParaRPr lang="en-US" altLang="ja-JP" sz="1200" dirty="0" smtClean="0">
              <a:latin typeface="Arial" panose="020B0604020202020204" pitchFamily="34" charset="0"/>
              <a:ea typeface="ＭＳ Ｐゴシック" panose="020B0600070205080204" pitchFamily="50" charset="-128"/>
              <a:cs typeface="Arial" panose="020B0604020202020204" pitchFamily="34" charset="0"/>
            </a:endParaRPr>
          </a:p>
          <a:p>
            <a:pPr marL="0" indent="0">
              <a:buNone/>
            </a:pPr>
            <a:endParaRPr lang="ja-JP" altLang="ja-JP" sz="12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1200" dirty="0">
                <a:latin typeface="Arial" panose="020B0604020202020204" pitchFamily="34" charset="0"/>
                <a:ea typeface="ＭＳ Ｐゴシック" panose="020B0600070205080204" pitchFamily="50" charset="-128"/>
                <a:cs typeface="Arial" panose="020B0604020202020204" pitchFamily="34" charset="0"/>
              </a:rPr>
              <a:t>JICA</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は現在、</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80</a:t>
            </a:r>
            <a:r>
              <a:rPr lang="ja-JP" altLang="ja-JP" sz="1200" dirty="0" smtClean="0">
                <a:latin typeface="Arial" panose="020B0604020202020204" pitchFamily="34" charset="0"/>
                <a:ea typeface="ＭＳ Ｐゴシック" panose="020B0600070205080204" pitchFamily="50" charset="-128"/>
                <a:cs typeface="Arial" panose="020B0604020202020204" pitchFamily="34" charset="0"/>
              </a:rPr>
              <a:t>件の「</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エコビレッジ</a:t>
            </a:r>
            <a:r>
              <a:rPr lang="ja-JP" altLang="ja-JP" sz="1200" dirty="0" smtClean="0">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smtClean="0">
                <a:latin typeface="Arial" panose="020B0604020202020204" pitchFamily="34" charset="0"/>
                <a:ea typeface="ＭＳ Ｐゴシック" panose="020B0600070205080204" pitchFamily="50" charset="-128"/>
                <a:cs typeface="Arial" panose="020B0604020202020204" pitchFamily="34" charset="0"/>
              </a:rPr>
              <a:t>モデルの</a:t>
            </a:r>
            <a:r>
              <a:rPr lang="ja-JP" altLang="ja-JP" sz="1200" dirty="0" smtClean="0">
                <a:latin typeface="Arial" panose="020B0604020202020204" pitchFamily="34" charset="0"/>
                <a:ea typeface="ＭＳ Ｐゴシック" panose="020B0600070205080204" pitchFamily="50" charset="-128"/>
                <a:cs typeface="Arial" panose="020B0604020202020204" pitchFamily="34" charset="0"/>
              </a:rPr>
              <a:t>開発</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を目的</a:t>
            </a:r>
            <a:r>
              <a:rPr lang="ja-JP" altLang="ja-JP" sz="1200" dirty="0" smtClean="0">
                <a:latin typeface="Arial" panose="020B0604020202020204" pitchFamily="34" charset="0"/>
                <a:ea typeface="ＭＳ Ｐゴシック" panose="020B0600070205080204" pitchFamily="50" charset="-128"/>
                <a:cs typeface="Arial" panose="020B0604020202020204" pitchFamily="34" charset="0"/>
              </a:rPr>
              <a:t>と</a:t>
            </a:r>
            <a:r>
              <a:rPr lang="ja-JP" altLang="en-US" sz="1200" dirty="0" smtClean="0">
                <a:latin typeface="Arial" panose="020B0604020202020204" pitchFamily="34" charset="0"/>
                <a:ea typeface="ＭＳ Ｐゴシック" panose="020B0600070205080204" pitchFamily="50" charset="-128"/>
                <a:cs typeface="Arial" panose="020B0604020202020204" pitchFamily="34" charset="0"/>
              </a:rPr>
              <a:t>し</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た</a:t>
            </a:r>
            <a:r>
              <a:rPr lang="ja-JP" altLang="ja-JP" sz="1200" dirty="0" smtClean="0">
                <a:latin typeface="Arial" panose="020B0604020202020204" pitchFamily="34" charset="0"/>
                <a:ea typeface="ＭＳ Ｐゴシック" panose="020B0600070205080204" pitchFamily="50" charset="-128"/>
                <a:cs typeface="Arial" panose="020B0604020202020204" pitchFamily="34" charset="0"/>
              </a:rPr>
              <a:t>、</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シッキムでの生物多様性・エコツーリズムの事業に資金を拠出して</a:t>
            </a:r>
            <a:r>
              <a:rPr lang="ja-JP" altLang="ja-JP" sz="1200" dirty="0" smtClean="0">
                <a:latin typeface="Arial" panose="020B0604020202020204" pitchFamily="34" charset="0"/>
                <a:ea typeface="ＭＳ Ｐゴシック" panose="020B0600070205080204" pitchFamily="50" charset="-128"/>
                <a:cs typeface="Arial" panose="020B0604020202020204" pitchFamily="34" charset="0"/>
              </a:rPr>
              <a:t>いる</a:t>
            </a:r>
            <a:endParaRPr lang="en-US" altLang="ja-JP" sz="1200" dirty="0" smtClean="0">
              <a:latin typeface="Arial" panose="020B0604020202020204" pitchFamily="34" charset="0"/>
              <a:ea typeface="ＭＳ Ｐゴシック" panose="020B0600070205080204" pitchFamily="50" charset="-128"/>
              <a:cs typeface="Arial" panose="020B0604020202020204" pitchFamily="34" charset="0"/>
            </a:endParaRPr>
          </a:p>
          <a:p>
            <a:pPr marL="0" indent="0">
              <a:buNone/>
            </a:pPr>
            <a:endParaRPr lang="ja-JP" altLang="ja-JP" sz="1200" dirty="0">
              <a:latin typeface="Arial" panose="020B0604020202020204" pitchFamily="34" charset="0"/>
              <a:ea typeface="ＭＳ Ｐゴシック" panose="020B0600070205080204" pitchFamily="50" charset="-128"/>
              <a:cs typeface="Arial" panose="020B0604020202020204" pitchFamily="34" charset="0"/>
            </a:endParaRPr>
          </a:p>
          <a:p>
            <a:r>
              <a:rPr lang="ja-JP" altLang="ja-JP" sz="1200" dirty="0">
                <a:latin typeface="Arial" panose="020B0604020202020204" pitchFamily="34" charset="0"/>
                <a:ea typeface="ＭＳ Ｐゴシック" panose="020B0600070205080204" pitchFamily="50" charset="-128"/>
                <a:cs typeface="Arial" panose="020B0604020202020204" pitchFamily="34" charset="0"/>
              </a:rPr>
              <a:t>下水処理は同事業の重要分野であり、ニイミトレンチ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1</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村で試験導入後</a:t>
            </a:r>
            <a:r>
              <a:rPr lang="ja-JP" altLang="ja-JP" sz="1200" dirty="0" smtClean="0">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smtClean="0">
                <a:latin typeface="Arial" panose="020B0604020202020204" pitchFamily="34" charset="0"/>
                <a:ea typeface="ＭＳ Ｐゴシック" panose="020B0600070205080204" pitchFamily="50" charset="-128"/>
                <a:cs typeface="Arial" panose="020B0604020202020204" pitchFamily="34" charset="0"/>
              </a:rPr>
              <a:t>結果により</a:t>
            </a:r>
            <a:r>
              <a:rPr lang="ja-JP" altLang="ja-JP" sz="1200" dirty="0" smtClean="0">
                <a:latin typeface="Arial" panose="020B0604020202020204" pitchFamily="34" charset="0"/>
                <a:ea typeface="ＭＳ Ｐゴシック" panose="020B0600070205080204" pitchFamily="50" charset="-128"/>
                <a:cs typeface="Arial" panose="020B0604020202020204" pitchFamily="34" charset="0"/>
              </a:rPr>
              <a:t>規模</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を拡大する可能性がある</a:t>
            </a:r>
            <a:endParaRPr 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TextBox 4"/>
          <p:cNvSpPr txBox="1"/>
          <p:nvPr/>
        </p:nvSpPr>
        <p:spPr>
          <a:xfrm>
            <a:off x="415634" y="1457326"/>
            <a:ext cx="3710613" cy="276225"/>
          </a:xfrm>
          <a:prstGeom prst="rect">
            <a:avLst/>
          </a:prstGeom>
          <a:noFill/>
        </p:spPr>
        <p:txBody>
          <a:bodyPr wrap="square" lIns="0" tIns="0" rIns="0" bIns="0" rtlCol="0" anchor="ctr">
            <a:noAutofit/>
          </a:bodyPr>
          <a:lstStyle/>
          <a:p>
            <a:r>
              <a:rPr lang="ja-JP" altLang="en-US" sz="1200" b="1" dirty="0" smtClean="0">
                <a:latin typeface="ＭＳ Ｐゴシック" panose="020B0600070205080204" pitchFamily="50" charset="-128"/>
                <a:ea typeface="ＭＳ Ｐゴシック" panose="020B0600070205080204" pitchFamily="50" charset="-128"/>
              </a:rPr>
              <a:t>現在までの動き</a:t>
            </a:r>
            <a:endParaRPr lang="en-US" sz="1200" b="1" dirty="0" smtClean="0">
              <a:latin typeface="ＭＳ Ｐゴシック" panose="020B0600070205080204" pitchFamily="50" charset="-128"/>
              <a:ea typeface="ＭＳ Ｐゴシック" panose="020B0600070205080204" pitchFamily="50" charset="-128"/>
            </a:endParaRPr>
          </a:p>
        </p:txBody>
      </p:sp>
      <p:cxnSp>
        <p:nvCxnSpPr>
          <p:cNvPr id="6" name="Straight Connector 5"/>
          <p:cNvCxnSpPr/>
          <p:nvPr/>
        </p:nvCxnSpPr>
        <p:spPr>
          <a:xfrm>
            <a:off x="415636" y="1773843"/>
            <a:ext cx="3710613"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5527918" y="1457326"/>
            <a:ext cx="3200400" cy="276225"/>
          </a:xfrm>
          <a:prstGeom prst="rect">
            <a:avLst/>
          </a:prstGeom>
          <a:noFill/>
        </p:spPr>
        <p:txBody>
          <a:bodyPr wrap="square" lIns="0" tIns="0" rIns="0" bIns="0" rtlCol="0" anchor="ctr">
            <a:noAutofit/>
          </a:bodyPr>
          <a:lstStyle/>
          <a:p>
            <a:r>
              <a:rPr lang="ja-JP" altLang="ja-JP" sz="1200" b="1" dirty="0">
                <a:latin typeface="ＭＳ Ｐゴシック" panose="020B0600070205080204" pitchFamily="50" charset="-128"/>
                <a:ea typeface="ＭＳ Ｐゴシック" panose="020B0600070205080204" pitchFamily="50" charset="-128"/>
              </a:rPr>
              <a:t>次のステップ</a:t>
            </a:r>
            <a:endParaRPr lang="en-US" sz="1200" b="1" dirty="0" smtClean="0">
              <a:latin typeface="ＭＳ Ｐゴシック" panose="020B0600070205080204" pitchFamily="50" charset="-128"/>
              <a:ea typeface="ＭＳ Ｐゴシック" panose="020B0600070205080204" pitchFamily="50" charset="-128"/>
            </a:endParaRPr>
          </a:p>
        </p:txBody>
      </p:sp>
      <p:cxnSp>
        <p:nvCxnSpPr>
          <p:cNvPr id="11" name="Straight Connector 10"/>
          <p:cNvCxnSpPr/>
          <p:nvPr/>
        </p:nvCxnSpPr>
        <p:spPr>
          <a:xfrm>
            <a:off x="5527918" y="1773843"/>
            <a:ext cx="32004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 name="Isosceles Triangle 11"/>
          <p:cNvSpPr/>
          <p:nvPr/>
        </p:nvSpPr>
        <p:spPr>
          <a:xfrm rot="5400000">
            <a:off x="3325417" y="3743551"/>
            <a:ext cx="2493166" cy="30718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3" name="Text Placeholder 3"/>
          <p:cNvSpPr txBox="1">
            <a:spLocks/>
          </p:cNvSpPr>
          <p:nvPr/>
        </p:nvSpPr>
        <p:spPr>
          <a:xfrm>
            <a:off x="5527918" y="2085976"/>
            <a:ext cx="3200400" cy="4248150"/>
          </a:xfrm>
          <a:prstGeom prst="rect">
            <a:avLst/>
          </a:prstGeom>
        </p:spPr>
        <p:txBody>
          <a:bodyPr lIns="0" tIns="0" rIns="0" bIns="0"/>
          <a:lstStyle>
            <a:lvl1pPr marL="173038" indent="-173038"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347663" indent="-174625"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509588" indent="-161925" algn="l" defTabSz="914293" rtl="0" eaLnBrk="1" latinLnBrk="0" hangingPunct="1">
              <a:spcBef>
                <a:spcPct val="20000"/>
              </a:spcBef>
              <a:buFont typeface="Courier New" pitchFamily="49" charset="0"/>
              <a:buChar char="o"/>
              <a:defRPr sz="1200" kern="1200">
                <a:solidFill>
                  <a:schemeClr val="tx1"/>
                </a:solidFill>
                <a:latin typeface="+mn-lt"/>
                <a:ea typeface="+mn-ea"/>
                <a:cs typeface="+mn-cs"/>
              </a:defRPr>
            </a:lvl3pPr>
            <a:lvl4pPr marL="682625" indent="-173038"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ja-JP" altLang="ja-JP" sz="1200" b="1" dirty="0">
                <a:latin typeface="Arial" panose="020B0604020202020204" pitchFamily="34" charset="0"/>
                <a:ea typeface="ＭＳ Ｐゴシック" panose="020B0600070205080204" pitchFamily="50" charset="-128"/>
                <a:cs typeface="Arial" panose="020B0604020202020204" pitchFamily="34" charset="0"/>
              </a:rPr>
              <a:t>毛管浄化社／</a:t>
            </a: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SPF</a:t>
            </a:r>
            <a:endParaRPr lang="ja-JP" altLang="ja-JP" sz="1200" b="1" dirty="0">
              <a:latin typeface="Arial" panose="020B0604020202020204" pitchFamily="34" charset="0"/>
              <a:ea typeface="ＭＳ Ｐゴシック" panose="020B0600070205080204" pitchFamily="50" charset="-128"/>
              <a:cs typeface="Arial" panose="020B0604020202020204" pitchFamily="34" charset="0"/>
            </a:endParaRPr>
          </a:p>
          <a:p>
            <a:r>
              <a:rPr lang="ja-JP" altLang="ja-JP" sz="1200" dirty="0">
                <a:latin typeface="Arial" panose="020B0604020202020204" pitchFamily="34" charset="0"/>
                <a:ea typeface="ＭＳ Ｐゴシック" panose="020B0600070205080204" pitchFamily="50" charset="-128"/>
                <a:cs typeface="Arial" panose="020B0604020202020204" pitchFamily="34" charset="0"/>
              </a:rPr>
              <a:t>事業の申請について</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Rai</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氏とホリカワ氏に念押しする</a:t>
            </a:r>
          </a:p>
          <a:p>
            <a:pPr marL="0" indent="0">
              <a:buNone/>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 </a:t>
            </a:r>
            <a:endParaRPr lang="ja-JP"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0" indent="0">
              <a:buNone/>
            </a:pP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ECOSS</a:t>
            </a:r>
            <a:endParaRPr lang="ja-JP" altLang="ja-JP" sz="1200" b="1" dirty="0">
              <a:latin typeface="Arial" panose="020B0604020202020204" pitchFamily="34" charset="0"/>
              <a:ea typeface="ＭＳ Ｐゴシック" panose="020B0600070205080204" pitchFamily="50" charset="-128"/>
              <a:cs typeface="Arial" panose="020B0604020202020204" pitchFamily="34" charset="0"/>
            </a:endParaRPr>
          </a:p>
          <a:p>
            <a:r>
              <a:rPr lang="ja-JP" altLang="ja-JP" sz="1200" dirty="0">
                <a:latin typeface="Arial" panose="020B0604020202020204" pitchFamily="34" charset="0"/>
                <a:ea typeface="ＭＳ Ｐゴシック" panose="020B0600070205080204" pitchFamily="50" charset="-128"/>
                <a:cs typeface="Arial" panose="020B0604020202020204" pitchFamily="34" charset="0"/>
              </a:rPr>
              <a:t>今後</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ヶ月間で</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件のモニタリング報告をまとめる</a:t>
            </a:r>
          </a:p>
          <a:p>
            <a:pPr marL="0" indent="0">
              <a:buNone/>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 </a:t>
            </a:r>
            <a:endParaRPr lang="ja-JP"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0" indent="0">
              <a:buNone/>
            </a:pP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Dalberg</a:t>
            </a:r>
            <a:endParaRPr lang="ja-JP" altLang="ja-JP" sz="1200" b="1" dirty="0">
              <a:latin typeface="Arial" panose="020B0604020202020204" pitchFamily="34" charset="0"/>
              <a:ea typeface="ＭＳ Ｐゴシック" panose="020B0600070205080204" pitchFamily="50" charset="-128"/>
              <a:cs typeface="Arial" panose="020B0604020202020204" pitchFamily="34" charset="0"/>
            </a:endParaRPr>
          </a:p>
          <a:p>
            <a:r>
              <a:rPr lang="ja-JP" altLang="ja-JP" sz="1200" dirty="0">
                <a:latin typeface="Arial" panose="020B0604020202020204" pitchFamily="34" charset="0"/>
                <a:ea typeface="ＭＳ Ｐゴシック" panose="020B0600070205080204" pitchFamily="50" charset="-128"/>
                <a:cs typeface="Arial" panose="020B0604020202020204" pitchFamily="34" charset="0"/>
              </a:rPr>
              <a:t>最近完了したシッキムでの</a:t>
            </a:r>
            <a:r>
              <a:rPr lang="ja-JP" altLang="ja-JP" sz="1200" dirty="0" smtClean="0">
                <a:latin typeface="Arial" panose="020B0604020202020204" pitchFamily="34" charset="0"/>
                <a:ea typeface="ＭＳ Ｐゴシック" panose="020B0600070205080204" pitchFamily="50" charset="-128"/>
                <a:cs typeface="Arial" panose="020B0604020202020204" pitchFamily="34" charset="0"/>
              </a:rPr>
              <a:t>試験プログラム</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に関する報告書を提出する</a:t>
            </a:r>
          </a:p>
          <a:p>
            <a:r>
              <a:rPr lang="en-US" altLang="ja-JP" sz="1200" dirty="0">
                <a:latin typeface="Arial" panose="020B0604020202020204" pitchFamily="34" charset="0"/>
                <a:ea typeface="ＭＳ Ｐゴシック" panose="020B0600070205080204" pitchFamily="50" charset="-128"/>
                <a:cs typeface="Arial" panose="020B0604020202020204" pitchFamily="34" charset="0"/>
              </a:rPr>
              <a:t>ECOSS</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のモニタリング・データに</a:t>
            </a:r>
            <a:r>
              <a:rPr lang="ja-JP" altLang="ja-JP" sz="1200" dirty="0" smtClean="0">
                <a:latin typeface="Arial" panose="020B0604020202020204" pitchFamily="34" charset="0"/>
                <a:ea typeface="ＭＳ Ｐゴシック" panose="020B0600070205080204" pitchFamily="50" charset="-128"/>
                <a:cs typeface="Arial" panose="020B0604020202020204" pitchFamily="34" charset="0"/>
              </a:rPr>
              <a:t>基づ</a:t>
            </a:r>
            <a:r>
              <a:rPr lang="ja-JP" altLang="en-US" sz="1200" dirty="0" smtClean="0">
                <a:latin typeface="Arial" panose="020B0604020202020204" pitchFamily="34" charset="0"/>
                <a:ea typeface="ＭＳ Ｐゴシック" panose="020B0600070205080204" pitchFamily="50" charset="-128"/>
                <a:cs typeface="Arial" panose="020B0604020202020204" pitchFamily="34" charset="0"/>
              </a:rPr>
              <a:t>き</a:t>
            </a:r>
            <a:r>
              <a:rPr lang="ja-JP" altLang="ja-JP" sz="1200" dirty="0" smtClean="0">
                <a:latin typeface="Arial" panose="020B0604020202020204" pitchFamily="34" charset="0"/>
                <a:ea typeface="ＭＳ Ｐゴシック" panose="020B0600070205080204" pitchFamily="50" charset="-128"/>
                <a:cs typeface="Arial" panose="020B0604020202020204" pitchFamily="34" charset="0"/>
              </a:rPr>
              <a:t>試験</a:t>
            </a:r>
            <a:r>
              <a:rPr lang="ja-JP" altLang="en-US" sz="1200" dirty="0" smtClean="0">
                <a:latin typeface="Arial" panose="020B0604020202020204" pitchFamily="34" charset="0"/>
                <a:ea typeface="ＭＳ Ｐゴシック" panose="020B0600070205080204" pitchFamily="50" charset="-128"/>
                <a:cs typeface="Arial" panose="020B0604020202020204" pitchFamily="34" charset="0"/>
              </a:rPr>
              <a:t>的</a:t>
            </a:r>
            <a:r>
              <a:rPr lang="ja-JP" altLang="ja-JP" sz="1200" dirty="0" smtClean="0">
                <a:latin typeface="Arial" panose="020B0604020202020204" pitchFamily="34" charset="0"/>
                <a:ea typeface="ＭＳ Ｐゴシック" panose="020B0600070205080204" pitchFamily="50" charset="-128"/>
                <a:cs typeface="Arial" panose="020B0604020202020204" pitchFamily="34" charset="0"/>
              </a:rPr>
              <a:t>経過</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に関する報告書を</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SPF</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毛管浄化社へ送付する</a:t>
            </a:r>
            <a:endParaRPr 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Oval 13"/>
          <p:cNvSpPr/>
          <p:nvPr/>
        </p:nvSpPr>
        <p:spPr>
          <a:xfrm>
            <a:off x="67021" y="90655"/>
            <a:ext cx="274320" cy="2743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bg1"/>
                </a:solidFill>
              </a:rPr>
              <a:t>1</a:t>
            </a:r>
            <a:endParaRPr lang="en-US" sz="1400" b="1" dirty="0">
              <a:solidFill>
                <a:schemeClr val="bg1"/>
              </a:solidFill>
            </a:endParaRPr>
          </a:p>
        </p:txBody>
      </p:sp>
    </p:spTree>
    <p:extLst>
      <p:ext uri="{BB962C8B-B14F-4D97-AF65-F5344CB8AC3E}">
        <p14:creationId xmlns:p14="http://schemas.microsoft.com/office/powerpoint/2010/main" val="332882088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8711254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548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ja-JP" altLang="ja-JP" dirty="0">
                <a:latin typeface="ＭＳ Ｐゴシック" panose="020B0600070205080204" pitchFamily="50" charset="-128"/>
                <a:ea typeface="ＭＳ Ｐゴシック" panose="020B0600070205080204" pitchFamily="50" charset="-128"/>
              </a:rPr>
              <a:t>毛管浄化社は並行して、ニイミシステムを用いたガントク下水処理場の改修の可能性を探ること</a:t>
            </a:r>
            <a:r>
              <a:rPr lang="ja-JP" altLang="ja-JP" dirty="0" smtClean="0">
                <a:latin typeface="ＭＳ Ｐゴシック" panose="020B0600070205080204" pitchFamily="50" charset="-128"/>
                <a:ea typeface="ＭＳ Ｐゴシック" panose="020B0600070205080204" pitchFamily="50" charset="-128"/>
              </a:rPr>
              <a:t>も</a:t>
            </a:r>
            <a:r>
              <a:rPr lang="ja-JP" altLang="en-US" dirty="0" smtClean="0">
                <a:latin typeface="ＭＳ Ｐゴシック" panose="020B0600070205080204" pitchFamily="50" charset="-128"/>
                <a:ea typeface="ＭＳ Ｐゴシック" panose="020B0600070205080204" pitchFamily="50" charset="-128"/>
              </a:rPr>
              <a:t>でき</a:t>
            </a:r>
            <a:r>
              <a:rPr lang="ja-JP" altLang="en-US" dirty="0">
                <a:latin typeface="ＭＳ Ｐゴシック" panose="020B0600070205080204" pitchFamily="50" charset="-128"/>
                <a:ea typeface="ＭＳ Ｐゴシック" panose="020B0600070205080204" pitchFamily="50" charset="-128"/>
              </a:rPr>
              <a:t>る</a:t>
            </a:r>
            <a:endParaRPr lang="en-US" dirty="0">
              <a:latin typeface="ＭＳ Ｐゴシック" panose="020B0600070205080204" pitchFamily="50" charset="-128"/>
              <a:ea typeface="ＭＳ Ｐゴシック" panose="020B0600070205080204" pitchFamily="50" charset="-128"/>
            </a:endParaRPr>
          </a:p>
        </p:txBody>
      </p:sp>
      <p:sp>
        <p:nvSpPr>
          <p:cNvPr id="6" name="TextBox 5"/>
          <p:cNvSpPr txBox="1"/>
          <p:nvPr/>
        </p:nvSpPr>
        <p:spPr>
          <a:xfrm>
            <a:off x="415635" y="1457326"/>
            <a:ext cx="3200400" cy="276225"/>
          </a:xfrm>
          <a:prstGeom prst="rect">
            <a:avLst/>
          </a:prstGeom>
          <a:noFill/>
        </p:spPr>
        <p:txBody>
          <a:bodyPr wrap="square" lIns="0" tIns="0" rIns="0" bIns="0" rtlCol="0" anchor="ctr">
            <a:noAutofit/>
          </a:bodyPr>
          <a:lstStyle/>
          <a:p>
            <a:r>
              <a:rPr lang="ja-JP" altLang="en-US" sz="1200" b="1" dirty="0" smtClean="0">
                <a:latin typeface="ＭＳ Ｐゴシック" panose="020B0600070205080204" pitchFamily="50" charset="-128"/>
                <a:ea typeface="ＭＳ Ｐゴシック" panose="020B0600070205080204" pitchFamily="50" charset="-128"/>
              </a:rPr>
              <a:t>現在までの動き</a:t>
            </a:r>
            <a:endParaRPr lang="en-US" sz="1200" b="1" dirty="0" smtClean="0">
              <a:latin typeface="ＭＳ Ｐゴシック" panose="020B0600070205080204" pitchFamily="50" charset="-128"/>
              <a:ea typeface="ＭＳ Ｐゴシック" panose="020B0600070205080204" pitchFamily="50" charset="-128"/>
            </a:endParaRPr>
          </a:p>
        </p:txBody>
      </p:sp>
      <p:cxnSp>
        <p:nvCxnSpPr>
          <p:cNvPr id="7" name="Straight Connector 6"/>
          <p:cNvCxnSpPr/>
          <p:nvPr/>
        </p:nvCxnSpPr>
        <p:spPr>
          <a:xfrm>
            <a:off x="415636" y="1773843"/>
            <a:ext cx="32004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5548313" y="1457326"/>
            <a:ext cx="3200400" cy="276225"/>
          </a:xfrm>
          <a:prstGeom prst="rect">
            <a:avLst/>
          </a:prstGeom>
          <a:noFill/>
        </p:spPr>
        <p:txBody>
          <a:bodyPr wrap="square" lIns="0" tIns="0" rIns="0" bIns="0" rtlCol="0" anchor="ctr">
            <a:noAutofit/>
          </a:bodyPr>
          <a:lstStyle/>
          <a:p>
            <a:r>
              <a:rPr lang="ja-JP" altLang="ja-JP" sz="1200" b="1" dirty="0">
                <a:latin typeface="ＭＳ Ｐゴシック" panose="020B0600070205080204" pitchFamily="50" charset="-128"/>
                <a:ea typeface="ＭＳ Ｐゴシック" panose="020B0600070205080204" pitchFamily="50" charset="-128"/>
              </a:rPr>
              <a:t>次のステップ</a:t>
            </a:r>
            <a:endParaRPr lang="en-US" sz="1200" b="1" dirty="0" smtClean="0">
              <a:latin typeface="ＭＳ Ｐゴシック" panose="020B0600070205080204" pitchFamily="50" charset="-128"/>
              <a:ea typeface="ＭＳ Ｐゴシック" panose="020B0600070205080204" pitchFamily="50" charset="-128"/>
            </a:endParaRPr>
          </a:p>
        </p:txBody>
      </p:sp>
      <p:cxnSp>
        <p:nvCxnSpPr>
          <p:cNvPr id="9" name="Straight Connector 8"/>
          <p:cNvCxnSpPr/>
          <p:nvPr/>
        </p:nvCxnSpPr>
        <p:spPr>
          <a:xfrm>
            <a:off x="5548313" y="1773843"/>
            <a:ext cx="32004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 name="Isosceles Triangle 9"/>
          <p:cNvSpPr/>
          <p:nvPr/>
        </p:nvSpPr>
        <p:spPr>
          <a:xfrm rot="5400000">
            <a:off x="3325417" y="3743551"/>
            <a:ext cx="2493166" cy="30718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1" name="Text Placeholder 3"/>
          <p:cNvSpPr>
            <a:spLocks noGrp="1"/>
          </p:cNvSpPr>
          <p:nvPr>
            <p:ph type="body" sz="quarter" idx="10"/>
          </p:nvPr>
        </p:nvSpPr>
        <p:spPr>
          <a:xfrm>
            <a:off x="415682" y="2085976"/>
            <a:ext cx="3200400" cy="4248150"/>
          </a:xfrm>
        </p:spPr>
        <p:txBody>
          <a:bodyPr/>
          <a:lstStyle/>
          <a:p>
            <a:r>
              <a:rPr lang="ja-JP" altLang="ja-JP" sz="1200" dirty="0">
                <a:latin typeface="Arial" panose="020B0604020202020204" pitchFamily="34" charset="0"/>
                <a:ea typeface="ＭＳ Ｐゴシック" panose="020B0600070205080204" pitchFamily="50" charset="-128"/>
                <a:cs typeface="Arial" panose="020B0604020202020204" pitchFamily="34" charset="0"/>
              </a:rPr>
              <a:t>ニイミシステムを用いたガントク下水処理場の改修に関して</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Rai</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氏と予備的な議論を</a:t>
            </a:r>
            <a:r>
              <a:rPr lang="ja-JP" altLang="ja-JP" sz="1200" dirty="0" smtClean="0">
                <a:latin typeface="Arial" panose="020B0604020202020204" pitchFamily="34" charset="0"/>
                <a:ea typeface="ＭＳ Ｐゴシック" panose="020B0600070205080204" pitchFamily="50" charset="-128"/>
                <a:cs typeface="Arial" panose="020B0604020202020204" pitchFamily="34" charset="0"/>
              </a:rPr>
              <a:t>行った</a:t>
            </a:r>
            <a:endParaRPr lang="en-US" altLang="ja-JP" sz="1200" dirty="0" smtClean="0">
              <a:latin typeface="Arial" panose="020B0604020202020204" pitchFamily="34" charset="0"/>
              <a:ea typeface="ＭＳ Ｐゴシック" panose="020B0600070205080204" pitchFamily="50" charset="-128"/>
              <a:cs typeface="Arial" panose="020B0604020202020204" pitchFamily="34" charset="0"/>
            </a:endParaRPr>
          </a:p>
          <a:p>
            <a:pPr marL="0" indent="0">
              <a:buNone/>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 </a:t>
            </a:r>
            <a:endParaRPr lang="ja-JP" altLang="ja-JP" sz="12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1200" dirty="0" smtClean="0">
                <a:latin typeface="Arial" panose="020B0604020202020204" pitchFamily="34" charset="0"/>
                <a:ea typeface="ＭＳ Ｐゴシック" panose="020B0600070205080204" pitchFamily="50" charset="-128"/>
                <a:cs typeface="Arial" panose="020B0604020202020204" pitchFamily="34" charset="0"/>
              </a:rPr>
              <a:t>見積りコスト</a:t>
            </a:r>
            <a:r>
              <a:rPr lang="ja-JP" altLang="ja-JP" sz="1200" dirty="0" smtClean="0">
                <a:latin typeface="Arial" panose="020B0604020202020204" pitchFamily="34" charset="0"/>
                <a:ea typeface="ＭＳ Ｐゴシック" panose="020B0600070205080204" pitchFamily="50" charset="-128"/>
                <a:cs typeface="Arial" panose="020B0604020202020204" pitchFamily="34" charset="0"/>
              </a:rPr>
              <a:t>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百万米</a:t>
            </a:r>
            <a:r>
              <a:rPr lang="ja-JP" altLang="ja-JP" sz="1200" dirty="0" smtClean="0">
                <a:latin typeface="Arial" panose="020B0604020202020204" pitchFamily="34" charset="0"/>
                <a:ea typeface="ＭＳ Ｐゴシック" panose="020B0600070205080204" pitchFamily="50" charset="-128"/>
                <a:cs typeface="Arial" panose="020B0604020202020204" pitchFamily="34" charset="0"/>
              </a:rPr>
              <a:t>ドル</a:t>
            </a:r>
            <a:r>
              <a:rPr lang="ja-JP" altLang="en-US" sz="1200" dirty="0" smtClean="0">
                <a:latin typeface="Arial" panose="020B0604020202020204" pitchFamily="34" charset="0"/>
                <a:ea typeface="ＭＳ Ｐゴシック" panose="020B0600070205080204" pitchFamily="50" charset="-128"/>
                <a:cs typeface="Arial" panose="020B0604020202020204" pitchFamily="34" charset="0"/>
              </a:rPr>
              <a:t>以下</a:t>
            </a:r>
            <a:r>
              <a:rPr lang="ja-JP" altLang="ja-JP" sz="1200" dirty="0" smtClean="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Rai</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氏</a:t>
            </a:r>
            <a:r>
              <a:rPr lang="ja-JP" altLang="ja-JP" sz="1200" dirty="0" smtClean="0">
                <a:latin typeface="Arial" panose="020B0604020202020204" pitchFamily="34" charset="0"/>
                <a:ea typeface="ＭＳ Ｐゴシック" panose="020B0600070205080204" pitchFamily="50" charset="-128"/>
                <a:cs typeface="Arial" panose="020B0604020202020204" pitchFamily="34" charset="0"/>
              </a:rPr>
              <a:t>は毛管浄化社に</a:t>
            </a:r>
            <a:r>
              <a:rPr lang="ja-JP" altLang="en-US" sz="1200" dirty="0" smtClean="0">
                <a:latin typeface="Arial" panose="020B0604020202020204" pitchFamily="34" charset="0"/>
                <a:ea typeface="ＭＳ Ｐゴシック" panose="020B0600070205080204" pitchFamily="50" charset="-128"/>
                <a:cs typeface="Arial" panose="020B0604020202020204" pitchFamily="34" charset="0"/>
              </a:rPr>
              <a:t>、</a:t>
            </a:r>
            <a:r>
              <a:rPr lang="ja-JP" altLang="ja-JP" sz="1200" dirty="0" smtClean="0">
                <a:latin typeface="Arial" panose="020B0604020202020204" pitchFamily="34" charset="0"/>
                <a:ea typeface="ＭＳ Ｐゴシック" panose="020B0600070205080204" pitchFamily="50" charset="-128"/>
                <a:cs typeface="Arial" panose="020B0604020202020204" pitchFamily="34" charset="0"/>
              </a:rPr>
              <a:t>修正後コスト</a:t>
            </a:r>
            <a:r>
              <a:rPr lang="ja-JP" altLang="en-US" sz="1200" dirty="0" smtClean="0">
                <a:latin typeface="Arial" panose="020B0604020202020204" pitchFamily="34" charset="0"/>
                <a:ea typeface="ＭＳ Ｐゴシック" panose="020B0600070205080204" pitchFamily="50" charset="-128"/>
                <a:cs typeface="Arial" panose="020B0604020202020204" pitchFamily="34" charset="0"/>
              </a:rPr>
              <a:t>の見積り作成</a:t>
            </a:r>
            <a:r>
              <a:rPr lang="ja-JP" altLang="ja-JP" sz="1200" dirty="0" smtClean="0">
                <a:latin typeface="Arial" panose="020B0604020202020204" pitchFamily="34" charset="0"/>
                <a:ea typeface="ＭＳ Ｐゴシック" panose="020B0600070205080204" pitchFamily="50" charset="-128"/>
                <a:cs typeface="Arial" panose="020B0604020202020204" pitchFamily="34" charset="0"/>
              </a:rPr>
              <a:t>と事業</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への潜在的な資金</a:t>
            </a:r>
            <a:r>
              <a:rPr lang="ja-JP" altLang="ja-JP" sz="1200" dirty="0" smtClean="0">
                <a:latin typeface="Arial" panose="020B0604020202020204" pitchFamily="34" charset="0"/>
                <a:ea typeface="ＭＳ Ｐゴシック" panose="020B0600070205080204" pitchFamily="50" charset="-128"/>
                <a:cs typeface="Arial" panose="020B0604020202020204" pitchFamily="34" charset="0"/>
              </a:rPr>
              <a:t>提供者</a:t>
            </a:r>
            <a:r>
              <a:rPr lang="ja-JP" altLang="en-US" sz="1200" dirty="0" smtClean="0">
                <a:latin typeface="Arial" panose="020B0604020202020204" pitchFamily="34" charset="0"/>
                <a:ea typeface="ＭＳ Ｐゴシック" panose="020B0600070205080204" pitchFamily="50" charset="-128"/>
                <a:cs typeface="Arial" panose="020B0604020202020204" pitchFamily="34" charset="0"/>
              </a:rPr>
              <a:t>に関する</a:t>
            </a:r>
            <a:r>
              <a:rPr lang="ja-JP" altLang="ja-JP" sz="1200" dirty="0" smtClean="0">
                <a:latin typeface="Arial" panose="020B0604020202020204" pitchFamily="34" charset="0"/>
                <a:ea typeface="ＭＳ Ｐゴシック" panose="020B0600070205080204" pitchFamily="50" charset="-128"/>
                <a:cs typeface="Arial" panose="020B0604020202020204" pitchFamily="34" charset="0"/>
              </a:rPr>
              <a:t>調査を依頼</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した</a:t>
            </a:r>
            <a:endParaRPr 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Text Placeholder 3"/>
          <p:cNvSpPr txBox="1">
            <a:spLocks/>
          </p:cNvSpPr>
          <p:nvPr/>
        </p:nvSpPr>
        <p:spPr>
          <a:xfrm>
            <a:off x="5548313" y="2085976"/>
            <a:ext cx="3200400" cy="4248150"/>
          </a:xfrm>
          <a:prstGeom prst="rect">
            <a:avLst/>
          </a:prstGeom>
        </p:spPr>
        <p:txBody>
          <a:bodyPr lIns="0" tIns="0" rIns="0" bIns="0"/>
          <a:lstStyle>
            <a:lvl1pPr marL="173038" indent="-173038"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347663" indent="-174625"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509588" indent="-161925" algn="l" defTabSz="914293" rtl="0" eaLnBrk="1" latinLnBrk="0" hangingPunct="1">
              <a:spcBef>
                <a:spcPct val="20000"/>
              </a:spcBef>
              <a:buFont typeface="Courier New" pitchFamily="49" charset="0"/>
              <a:buChar char="o"/>
              <a:defRPr sz="1200" kern="1200">
                <a:solidFill>
                  <a:schemeClr val="tx1"/>
                </a:solidFill>
                <a:latin typeface="+mn-lt"/>
                <a:ea typeface="+mn-ea"/>
                <a:cs typeface="+mn-cs"/>
              </a:defRPr>
            </a:lvl3pPr>
            <a:lvl4pPr marL="682625" indent="-173038"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ja-JP" altLang="ja-JP" sz="1200" b="1" dirty="0">
                <a:latin typeface="Arial" panose="020B0604020202020204" pitchFamily="34" charset="0"/>
                <a:ea typeface="ＭＳ Ｐゴシック" panose="020B0600070205080204" pitchFamily="50" charset="-128"/>
                <a:cs typeface="Arial" panose="020B0604020202020204" pitchFamily="34" charset="0"/>
              </a:rPr>
              <a:t>毛管浄化社／</a:t>
            </a: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SPF</a:t>
            </a:r>
            <a:endParaRPr lang="ja-JP" altLang="ja-JP" sz="1200" b="1"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1200" dirty="0">
                <a:latin typeface="Arial" panose="020B0604020202020204" pitchFamily="34" charset="0"/>
                <a:ea typeface="ＭＳ Ｐゴシック" panose="020B0600070205080204" pitchFamily="50" charset="-128"/>
                <a:cs typeface="Arial" panose="020B0604020202020204" pitchFamily="34" charset="0"/>
              </a:rPr>
              <a:t>ECOSS</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Dalberg</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が提供する設計明細に基づきガントク下水処理施設に要する</a:t>
            </a:r>
            <a:r>
              <a:rPr lang="ja-JP" altLang="ja-JP" sz="1200" dirty="0" smtClean="0">
                <a:latin typeface="Arial" panose="020B0604020202020204" pitchFamily="34" charset="0"/>
                <a:ea typeface="ＭＳ Ｐゴシック" panose="020B0600070205080204" pitchFamily="50" charset="-128"/>
                <a:cs typeface="Arial" panose="020B0604020202020204" pitchFamily="34" charset="0"/>
              </a:rPr>
              <a:t>コスト</a:t>
            </a:r>
            <a:r>
              <a:rPr lang="ja-JP" altLang="en-US" sz="1200" dirty="0" smtClean="0">
                <a:latin typeface="Arial" panose="020B0604020202020204" pitchFamily="34" charset="0"/>
                <a:ea typeface="ＭＳ Ｐゴシック" panose="020B0600070205080204" pitchFamily="50" charset="-128"/>
                <a:cs typeface="Arial" panose="020B0604020202020204" pitchFamily="34" charset="0"/>
              </a:rPr>
              <a:t>の</a:t>
            </a:r>
            <a:r>
              <a:rPr lang="ja-JP" altLang="ja-JP" sz="1200" dirty="0" smtClean="0">
                <a:latin typeface="Arial" panose="020B0604020202020204" pitchFamily="34" charset="0"/>
                <a:ea typeface="ＭＳ Ｐゴシック" panose="020B0600070205080204" pitchFamily="50" charset="-128"/>
                <a:cs typeface="Arial" panose="020B0604020202020204" pitchFamily="34" charset="0"/>
              </a:rPr>
              <a:t>見積りを</a:t>
            </a:r>
            <a:r>
              <a:rPr lang="ja-JP" altLang="en-US" sz="1200" dirty="0" smtClean="0">
                <a:latin typeface="Arial" panose="020B0604020202020204" pitchFamily="34" charset="0"/>
                <a:ea typeface="ＭＳ Ｐゴシック" panose="020B0600070205080204" pitchFamily="50" charset="-128"/>
                <a:cs typeface="Arial" panose="020B0604020202020204" pitchFamily="34" charset="0"/>
              </a:rPr>
              <a:t>作成する</a:t>
            </a:r>
            <a:endParaRPr lang="en-US" altLang="ja-JP" sz="1200" dirty="0" smtClean="0">
              <a:latin typeface="Arial" panose="020B0604020202020204" pitchFamily="34" charset="0"/>
              <a:ea typeface="ＭＳ Ｐゴシック" panose="020B0600070205080204" pitchFamily="50" charset="-128"/>
              <a:cs typeface="Arial" panose="020B0604020202020204" pitchFamily="34" charset="0"/>
            </a:endParaRPr>
          </a:p>
          <a:p>
            <a:r>
              <a:rPr lang="en-US" altLang="ja-JP" sz="1200" dirty="0" smtClean="0">
                <a:latin typeface="Arial" panose="020B0604020202020204" pitchFamily="34" charset="0"/>
                <a:ea typeface="ＭＳ Ｐゴシック" panose="020B0600070205080204" pitchFamily="50" charset="-128"/>
                <a:cs typeface="Arial" panose="020B0604020202020204" pitchFamily="34" charset="0"/>
              </a:rPr>
              <a:t>Dalberg</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ECOSS</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の要請を</a:t>
            </a:r>
            <a:r>
              <a:rPr lang="ja-JP" altLang="ja-JP" sz="1200" dirty="0" smtClean="0">
                <a:latin typeface="Arial" panose="020B0604020202020204" pitchFamily="34" charset="0"/>
                <a:ea typeface="ＭＳ Ｐゴシック" panose="020B0600070205080204" pitchFamily="50" charset="-128"/>
                <a:cs typeface="Arial" panose="020B0604020202020204" pitchFamily="34" charset="0"/>
              </a:rPr>
              <a:t>受け</a:t>
            </a:r>
            <a:r>
              <a:rPr lang="ja-JP" altLang="en-US" sz="1200" dirty="0" smtClean="0">
                <a:latin typeface="Arial" panose="020B0604020202020204" pitchFamily="34" charset="0"/>
                <a:ea typeface="ＭＳ Ｐゴシック" panose="020B0600070205080204" pitchFamily="50" charset="-128"/>
                <a:cs typeface="Arial" panose="020B0604020202020204" pitchFamily="34" charset="0"/>
              </a:rPr>
              <a:t>て</a:t>
            </a:r>
            <a:r>
              <a:rPr lang="ja-JP" altLang="ja-JP" sz="1200" dirty="0" smtClean="0">
                <a:latin typeface="Arial" panose="020B0604020202020204" pitchFamily="34" charset="0"/>
                <a:ea typeface="ＭＳ Ｐゴシック" panose="020B0600070205080204" pitchFamily="50" charset="-128"/>
                <a:cs typeface="Arial" panose="020B0604020202020204" pitchFamily="34" charset="0"/>
              </a:rPr>
              <a:t>コスト</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の構成要素に関するデータを提供する</a:t>
            </a:r>
          </a:p>
          <a:p>
            <a:r>
              <a:rPr lang="en-US" altLang="ja-JP" sz="1200" dirty="0">
                <a:latin typeface="Arial" panose="020B0604020202020204" pitchFamily="34" charset="0"/>
                <a:ea typeface="ＭＳ Ｐゴシック" panose="020B0600070205080204" pitchFamily="50" charset="-128"/>
                <a:cs typeface="Arial" panose="020B0604020202020204" pitchFamily="34" charset="0"/>
              </a:rPr>
              <a:t>P D Rai</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氏を通じてガントク地方自治体に企画案を提出する</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 </a:t>
            </a:r>
            <a:endParaRPr lang="ja-JP" altLang="ja-JP" sz="1200" dirty="0">
              <a:latin typeface="Arial" panose="020B0604020202020204" pitchFamily="34" charset="0"/>
              <a:ea typeface="ＭＳ Ｐゴシック" panose="020B0600070205080204" pitchFamily="50" charset="-128"/>
              <a:cs typeface="Arial" panose="020B0604020202020204" pitchFamily="34" charset="0"/>
            </a:endParaRPr>
          </a:p>
          <a:p>
            <a:r>
              <a:rPr lang="ja-JP" altLang="ja-JP" sz="1200" dirty="0">
                <a:latin typeface="Arial" panose="020B0604020202020204" pitchFamily="34" charset="0"/>
                <a:ea typeface="ＭＳ Ｐゴシック" panose="020B0600070205080204" pitchFamily="50" charset="-128"/>
                <a:cs typeface="Arial" panose="020B0604020202020204" pitchFamily="34" charset="0"/>
              </a:rPr>
              <a:t>資金調達先として可能性のある援助供与機関（</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JICA</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JETRO</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ADB</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について調査する</a:t>
            </a:r>
          </a:p>
          <a:p>
            <a:r>
              <a:rPr lang="en-US" altLang="ja-JP" sz="1200" dirty="0">
                <a:latin typeface="Arial" panose="020B0604020202020204" pitchFamily="34" charset="0"/>
                <a:ea typeface="ＭＳ Ｐゴシック" panose="020B0600070205080204" pitchFamily="50" charset="-128"/>
                <a:cs typeface="Arial" panose="020B0604020202020204" pitchFamily="34" charset="0"/>
              </a:rPr>
              <a:t> </a:t>
            </a:r>
            <a:endParaRPr lang="ja-JP"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0" indent="0">
              <a:buNone/>
            </a:pP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Dalberg</a:t>
            </a:r>
            <a:r>
              <a:rPr lang="ja-JP" altLang="ja-JP" sz="12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ECOSS</a:t>
            </a:r>
            <a:endParaRPr lang="ja-JP" altLang="ja-JP" sz="1200" b="1" dirty="0">
              <a:latin typeface="Arial" panose="020B0604020202020204" pitchFamily="34" charset="0"/>
              <a:ea typeface="ＭＳ Ｐゴシック" panose="020B0600070205080204" pitchFamily="50" charset="-128"/>
              <a:cs typeface="Arial" panose="020B0604020202020204" pitchFamily="34" charset="0"/>
            </a:endParaRPr>
          </a:p>
          <a:p>
            <a:r>
              <a:rPr lang="ja-JP" altLang="ja-JP" sz="1200" dirty="0">
                <a:latin typeface="Arial" panose="020B0604020202020204" pitchFamily="34" charset="0"/>
                <a:ea typeface="ＭＳ Ｐゴシック" panose="020B0600070205080204" pitchFamily="50" charset="-128"/>
                <a:cs typeface="Arial" panose="020B0604020202020204" pitchFamily="34" charset="0"/>
              </a:rPr>
              <a:t>ガントクに求められるニイミ式処理場の設計明細（規模、処理能力など）として考えられる</a:t>
            </a:r>
            <a:r>
              <a:rPr lang="ja-JP" altLang="ja-JP" sz="1200" dirty="0" smtClean="0">
                <a:latin typeface="Arial" panose="020B0604020202020204" pitchFamily="34" charset="0"/>
                <a:ea typeface="ＭＳ Ｐゴシック" panose="020B0600070205080204" pitchFamily="50" charset="-128"/>
                <a:cs typeface="Arial" panose="020B0604020202020204" pitchFamily="34" charset="0"/>
              </a:rPr>
              <a:t>もの</a:t>
            </a:r>
            <a:r>
              <a:rPr lang="ja-JP" altLang="en-US" sz="1200" dirty="0" smtClean="0">
                <a:latin typeface="Arial" panose="020B0604020202020204" pitchFamily="34" charset="0"/>
                <a:ea typeface="ＭＳ Ｐゴシック" panose="020B0600070205080204" pitchFamily="50" charset="-128"/>
                <a:cs typeface="Arial" panose="020B0604020202020204" pitchFamily="34" charset="0"/>
              </a:rPr>
              <a:t>について</a:t>
            </a:r>
            <a:r>
              <a:rPr lang="ja-JP" altLang="ja-JP" sz="1200" dirty="0" smtClean="0">
                <a:latin typeface="Arial" panose="020B0604020202020204" pitchFamily="34" charset="0"/>
                <a:ea typeface="ＭＳ Ｐゴシック" panose="020B0600070205080204" pitchFamily="50" charset="-128"/>
                <a:cs typeface="Arial" panose="020B0604020202020204" pitchFamily="34" charset="0"/>
              </a:rPr>
              <a:t>議論</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する</a:t>
            </a:r>
          </a:p>
          <a:p>
            <a:r>
              <a:rPr lang="ja-JP" altLang="ja-JP" sz="1200" dirty="0">
                <a:latin typeface="Arial" panose="020B0604020202020204" pitchFamily="34" charset="0"/>
                <a:ea typeface="ＭＳ Ｐゴシック" panose="020B0600070205080204" pitchFamily="50" charset="-128"/>
                <a:cs typeface="Arial" panose="020B0604020202020204" pitchFamily="34" charset="0"/>
              </a:rPr>
              <a:t>毛管浄化社がガントク処理場の改修コストの見積り</a:t>
            </a:r>
            <a:r>
              <a:rPr lang="ja-JP" altLang="ja-JP" sz="1200" dirty="0" smtClean="0">
                <a:latin typeface="Arial" panose="020B0604020202020204" pitchFamily="34" charset="0"/>
                <a:ea typeface="ＭＳ Ｐゴシック" panose="020B0600070205080204" pitchFamily="50" charset="-128"/>
                <a:cs typeface="Arial" panose="020B0604020202020204" pitchFamily="34" charset="0"/>
              </a:rPr>
              <a:t>を</a:t>
            </a:r>
            <a:r>
              <a:rPr lang="ja-JP" altLang="en-US" sz="1200" dirty="0" smtClean="0">
                <a:latin typeface="Arial" panose="020B0604020202020204" pitchFamily="34" charset="0"/>
                <a:ea typeface="ＭＳ Ｐゴシック" panose="020B0600070205080204" pitchFamily="50" charset="-128"/>
                <a:cs typeface="Arial" panose="020B0604020202020204" pitchFamily="34" charset="0"/>
              </a:rPr>
              <a:t>作成する</a:t>
            </a:r>
            <a:r>
              <a:rPr lang="ja-JP" altLang="ja-JP" sz="1200" dirty="0" smtClean="0">
                <a:latin typeface="Arial" panose="020B0604020202020204" pitchFamily="34" charset="0"/>
                <a:ea typeface="ＭＳ Ｐゴシック" panose="020B0600070205080204" pitchFamily="50" charset="-128"/>
                <a:cs typeface="Arial" panose="020B0604020202020204" pitchFamily="34" charset="0"/>
              </a:rPr>
              <a:t>のを</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支援する</a:t>
            </a:r>
            <a:endParaRPr lang="en-US" sz="1200" dirty="0">
              <a:latin typeface="Arial" panose="020B0604020202020204" pitchFamily="34" charset="0"/>
              <a:ea typeface="ＭＳ Ｐゴシック" panose="020B0600070205080204" pitchFamily="50" charset="-128"/>
              <a:cs typeface="Arial" panose="020B0604020202020204" pitchFamily="34" charset="0"/>
            </a:endParaRPr>
          </a:p>
          <a:p>
            <a:pPr marL="0" indent="0">
              <a:buNone/>
            </a:pPr>
            <a:endParaRPr lang="en-US" sz="1200" dirty="0"/>
          </a:p>
        </p:txBody>
      </p:sp>
      <p:sp>
        <p:nvSpPr>
          <p:cNvPr id="13" name="Oval 12"/>
          <p:cNvSpPr/>
          <p:nvPr/>
        </p:nvSpPr>
        <p:spPr>
          <a:xfrm>
            <a:off x="67021" y="90655"/>
            <a:ext cx="274320" cy="2743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bg1"/>
                </a:solidFill>
              </a:rPr>
              <a:t>2</a:t>
            </a:r>
            <a:endParaRPr lang="en-US" sz="1400" b="1" dirty="0">
              <a:solidFill>
                <a:schemeClr val="bg1"/>
              </a:solidFill>
            </a:endParaRPr>
          </a:p>
        </p:txBody>
      </p:sp>
    </p:spTree>
    <p:extLst>
      <p:ext uri="{BB962C8B-B14F-4D97-AF65-F5344CB8AC3E}">
        <p14:creationId xmlns:p14="http://schemas.microsoft.com/office/powerpoint/2010/main" val="105593314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8" name="Rectangle 7"/>
          <p:cNvSpPr>
            <a:spLocks noChangeArrowheads="1"/>
          </p:cNvSpPr>
          <p:nvPr>
            <p:custDataLst>
              <p:tags r:id="rId1"/>
            </p:custDataLst>
          </p:nvPr>
        </p:nvSpPr>
        <p:spPr bwMode="auto">
          <a:xfrm>
            <a:off x="0" y="2906103"/>
            <a:ext cx="9144000" cy="901968"/>
          </a:xfrm>
          <a:prstGeom prst="rect">
            <a:avLst/>
          </a:prstGeom>
          <a:solidFill>
            <a:srgbClr val="67103F"/>
          </a:solidFill>
          <a:ln w="12700" algn="ctr">
            <a:noFill/>
            <a:miter lim="800000"/>
            <a:headEnd/>
            <a:tailEnd/>
          </a:ln>
        </p:spPr>
        <p:txBody>
          <a:bodyPr lIns="77893" tIns="38947" rIns="77893" bIns="38947" anchor="ctr"/>
          <a:lstStyle/>
          <a:p>
            <a:pPr marL="97389" defTabSz="779842"/>
            <a:r>
              <a:rPr lang="ja-JP" altLang="en-US" sz="1600" b="1" dirty="0">
                <a:solidFill>
                  <a:schemeClr val="bg1"/>
                </a:solidFill>
                <a:latin typeface="ＭＳ Ｐゴシック" panose="020B0600070205080204" pitchFamily="50" charset="-128"/>
                <a:ea typeface="ＭＳ Ｐゴシック" panose="020B0600070205080204" pitchFamily="50" charset="-128"/>
              </a:rPr>
              <a:t>付録 </a:t>
            </a:r>
            <a:r>
              <a:rPr lang="en-US" altLang="ja-JP" sz="1600" b="1" dirty="0">
                <a:solidFill>
                  <a:schemeClr val="bg1"/>
                </a:solidFill>
                <a:latin typeface="ＭＳ Ｐゴシック" panose="020B0600070205080204" pitchFamily="50" charset="-128"/>
                <a:ea typeface="ＭＳ Ｐゴシック" panose="020B0600070205080204" pitchFamily="50" charset="-128"/>
              </a:rPr>
              <a:t>1</a:t>
            </a:r>
            <a:r>
              <a:rPr lang="ja-JP" altLang="en-US" sz="1600" b="1" dirty="0">
                <a:solidFill>
                  <a:schemeClr val="bg1"/>
                </a:solidFill>
                <a:latin typeface="ＭＳ Ｐゴシック" panose="020B0600070205080204" pitchFamily="50" charset="-128"/>
                <a:ea typeface="ＭＳ Ｐゴシック" panose="020B0600070205080204" pitchFamily="50" charset="-128"/>
              </a:rPr>
              <a:t>： 毛管</a:t>
            </a:r>
            <a:r>
              <a:rPr lang="ja-JP" altLang="en-US" sz="1600" b="1" dirty="0" smtClean="0">
                <a:solidFill>
                  <a:schemeClr val="bg1"/>
                </a:solidFill>
                <a:latin typeface="ＭＳ Ｐゴシック" panose="020B0600070205080204" pitchFamily="50" charset="-128"/>
                <a:ea typeface="ＭＳ Ｐゴシック" panose="020B0600070205080204" pitchFamily="50" charset="-128"/>
              </a:rPr>
              <a:t>浄化社の提供技術に関する概要説明 </a:t>
            </a:r>
            <a:endParaRPr lang="en-GB" sz="1600" i="1" dirty="0">
              <a:solidFill>
                <a:schemeClr val="bg1"/>
              </a:solidFill>
              <a:latin typeface="ＭＳ Ｐゴシック" panose="020B0600070205080204" pitchFamily="50" charset="-128"/>
              <a:ea typeface="ＭＳ Ｐゴシック" panose="020B0600070205080204" pitchFamily="50" charset="-128"/>
            </a:endParaRPr>
          </a:p>
        </p:txBody>
      </p:sp>
      <p:sp>
        <p:nvSpPr>
          <p:cNvPr id="9" name="Rectangle 8"/>
          <p:cNvSpPr>
            <a:spLocks noChangeArrowheads="1"/>
          </p:cNvSpPr>
          <p:nvPr>
            <p:custDataLst>
              <p:tags r:id="rId2"/>
            </p:custDataLst>
          </p:nvPr>
        </p:nvSpPr>
        <p:spPr bwMode="auto">
          <a:xfrm>
            <a:off x="0" y="0"/>
            <a:ext cx="9144000" cy="1076446"/>
          </a:xfrm>
          <a:prstGeom prst="rect">
            <a:avLst/>
          </a:prstGeom>
          <a:solidFill>
            <a:schemeClr val="bg1"/>
          </a:solidFill>
          <a:ln w="12700" algn="ctr">
            <a:noFill/>
            <a:miter lim="800000"/>
            <a:headEnd/>
            <a:tailEnd/>
          </a:ln>
        </p:spPr>
        <p:txBody>
          <a:bodyPr lIns="77893" tIns="38947" rIns="77893" bIns="38947" anchor="ctr"/>
          <a:lstStyle/>
          <a:p>
            <a:pPr marL="97389" defTabSz="779842"/>
            <a:endParaRPr lang="en-GB" sz="1600" i="1" dirty="0">
              <a:solidFill>
                <a:schemeClr val="bg1"/>
              </a:solidFill>
              <a:latin typeface="Calibri" pitchFamily="34" charset="0"/>
            </a:endParaRPr>
          </a:p>
        </p:txBody>
      </p:sp>
    </p:spTree>
    <p:extLst>
      <p:ext uri="{BB962C8B-B14F-4D97-AF65-F5344CB8AC3E}">
        <p14:creationId xmlns:p14="http://schemas.microsoft.com/office/powerpoint/2010/main" val="1860074082"/>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650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p:cNvSpPr/>
          <p:nvPr/>
        </p:nvSpPr>
        <p:spPr>
          <a:xfrm>
            <a:off x="1282148" y="1302342"/>
            <a:ext cx="7215900" cy="1510018"/>
          </a:xfrm>
          <a:prstGeom prst="rect">
            <a:avLst/>
          </a:prstGeom>
          <a:solidFill>
            <a:schemeClr val="bg1">
              <a:lumMod val="95000"/>
            </a:schemeClr>
          </a:solidFill>
          <a:ln w="3175">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ja-JP" altLang="ja-JP" dirty="0">
                <a:latin typeface="ＭＳ Ｐゴシック" panose="020B0600070205080204" pitchFamily="50" charset="-128"/>
                <a:ea typeface="ＭＳ Ｐゴシック" panose="020B0600070205080204" pitchFamily="50" charset="-128"/>
              </a:rPr>
              <a:t>ニイミトレンチとニイミシステム</a:t>
            </a:r>
            <a:r>
              <a:rPr lang="ja-JP" altLang="ja-JP" dirty="0" smtClean="0">
                <a:latin typeface="ＭＳ Ｐゴシック" panose="020B0600070205080204" pitchFamily="50" charset="-128"/>
                <a:ea typeface="ＭＳ Ｐゴシック" panose="020B0600070205080204" pitchFamily="50" charset="-128"/>
              </a:rPr>
              <a:t>の</a:t>
            </a:r>
            <a:r>
              <a:rPr lang="ja-JP" altLang="en-US" dirty="0" smtClean="0">
                <a:latin typeface="ＭＳ Ｐゴシック" panose="020B0600070205080204" pitchFamily="50" charset="-128"/>
                <a:ea typeface="ＭＳ Ｐゴシック" panose="020B0600070205080204" pitchFamily="50" charset="-128"/>
              </a:rPr>
              <a:t>機能</a:t>
            </a:r>
            <a:endParaRPr lang="en-US" dirty="0">
              <a:latin typeface="ＭＳ Ｐゴシック" panose="020B0600070205080204" pitchFamily="50" charset="-128"/>
              <a:ea typeface="ＭＳ Ｐゴシック" panose="020B0600070205080204" pitchFamily="50" charset="-128"/>
            </a:endParaRPr>
          </a:p>
        </p:txBody>
      </p:sp>
      <p:sp>
        <p:nvSpPr>
          <p:cNvPr id="5" name="TextBox 4"/>
          <p:cNvSpPr txBox="1"/>
          <p:nvPr/>
        </p:nvSpPr>
        <p:spPr>
          <a:xfrm>
            <a:off x="3072848" y="3628688"/>
            <a:ext cx="5232952" cy="1447800"/>
          </a:xfrm>
          <a:prstGeom prst="rect">
            <a:avLst/>
          </a:prstGeom>
          <a:noFill/>
        </p:spPr>
        <p:txBody>
          <a:bodyPr wrap="square" lIns="0" tIns="0" rIns="0" bIns="0" rtlCol="0">
            <a:noAutofit/>
          </a:bodyPr>
          <a:lstStyle/>
          <a:p>
            <a:pPr marL="231775" indent="-231775"/>
            <a:r>
              <a:rPr lang="en-US" sz="1400" b="1" dirty="0" smtClean="0"/>
              <a:t>	</a:t>
            </a:r>
            <a:r>
              <a:rPr lang="ja-JP" altLang="ja-JP" sz="1400" b="1" dirty="0" smtClean="0">
                <a:latin typeface="ＭＳ Ｐゴシック" panose="020B0600070205080204" pitchFamily="50" charset="-128"/>
                <a:ea typeface="ＭＳ Ｐゴシック" panose="020B0600070205080204" pitchFamily="50" charset="-128"/>
              </a:rPr>
              <a:t>ニイミシステム</a:t>
            </a:r>
            <a:r>
              <a:rPr lang="en-US" altLang="ja-JP" sz="1400" dirty="0" smtClean="0">
                <a:latin typeface="ＭＳ Ｐゴシック" panose="020B0600070205080204" pitchFamily="50" charset="-128"/>
                <a:ea typeface="ＭＳ Ｐゴシック" panose="020B0600070205080204" pitchFamily="50" charset="-128"/>
              </a:rPr>
              <a:t>―</a:t>
            </a:r>
            <a:r>
              <a:rPr lang="ja-JP" altLang="ja-JP" sz="1400" dirty="0" smtClean="0">
                <a:latin typeface="ＭＳ Ｐゴシック" panose="020B0600070205080204" pitchFamily="50" charset="-128"/>
                <a:ea typeface="ＭＳ Ｐゴシック" panose="020B0600070205080204" pitchFamily="50" charset="-128"/>
              </a:rPr>
              <a:t>小都市向け</a:t>
            </a:r>
            <a:r>
              <a:rPr lang="ja-JP" altLang="ja-JP" sz="1400" dirty="0">
                <a:latin typeface="ＭＳ Ｐゴシック" panose="020B0600070205080204" pitchFamily="50" charset="-128"/>
                <a:ea typeface="ＭＳ Ｐゴシック" panose="020B0600070205080204" pitchFamily="50" charset="-128"/>
              </a:rPr>
              <a:t>に設計された、持続可能かつ</a:t>
            </a:r>
            <a:r>
              <a:rPr lang="ja-JP" altLang="ja-JP" sz="1400" dirty="0" smtClean="0">
                <a:latin typeface="ＭＳ Ｐゴシック" panose="020B0600070205080204" pitchFamily="50" charset="-128"/>
                <a:ea typeface="ＭＳ Ｐゴシック" panose="020B0600070205080204" pitchFamily="50" charset="-128"/>
              </a:rPr>
              <a:t>コミュニティ</a:t>
            </a:r>
            <a:r>
              <a:rPr lang="ja-JP" altLang="en-US" sz="1400" dirty="0" smtClean="0">
                <a:latin typeface="ＭＳ Ｐゴシック" panose="020B0600070205080204" pitchFamily="50" charset="-128"/>
                <a:ea typeface="ＭＳ Ｐゴシック" panose="020B0600070205080204" pitchFamily="50" charset="-128"/>
              </a:rPr>
              <a:t>重視</a:t>
            </a:r>
            <a:r>
              <a:rPr lang="ja-JP" altLang="ja-JP" sz="1400" dirty="0" smtClean="0">
                <a:latin typeface="ＭＳ Ｐゴシック" panose="020B0600070205080204" pitchFamily="50" charset="-128"/>
                <a:ea typeface="ＭＳ Ｐゴシック" panose="020B0600070205080204" pitchFamily="50" charset="-128"/>
              </a:rPr>
              <a:t>の</a:t>
            </a:r>
            <a:r>
              <a:rPr lang="ja-JP" altLang="ja-JP" sz="1400" dirty="0">
                <a:latin typeface="ＭＳ Ｐゴシック" panose="020B0600070205080204" pitchFamily="50" charset="-128"/>
                <a:ea typeface="ＭＳ Ｐゴシック" panose="020B0600070205080204" pitchFamily="50" charset="-128"/>
              </a:rPr>
              <a:t>やり方</a:t>
            </a:r>
            <a:r>
              <a:rPr lang="ja-JP" altLang="ja-JP" sz="1400" dirty="0" smtClean="0">
                <a:latin typeface="ＭＳ Ｐゴシック" panose="020B0600070205080204" pitchFamily="50" charset="-128"/>
                <a:ea typeface="ＭＳ Ｐゴシック" panose="020B0600070205080204" pitchFamily="50" charset="-128"/>
              </a:rPr>
              <a:t>で大量</a:t>
            </a:r>
            <a:r>
              <a:rPr lang="ja-JP" altLang="ja-JP" sz="1400" dirty="0">
                <a:latin typeface="ＭＳ Ｐゴシック" panose="020B0600070205080204" pitchFamily="50" charset="-128"/>
                <a:ea typeface="ＭＳ Ｐゴシック" panose="020B0600070205080204" pitchFamily="50" charset="-128"/>
              </a:rPr>
              <a:t>の</a:t>
            </a:r>
            <a:r>
              <a:rPr lang="ja-JP" altLang="ja-JP" sz="1400" dirty="0" smtClean="0">
                <a:latin typeface="ＭＳ Ｐゴシック" panose="020B0600070205080204" pitchFamily="50" charset="-128"/>
                <a:ea typeface="ＭＳ Ｐゴシック" panose="020B0600070205080204" pitchFamily="50" charset="-128"/>
              </a:rPr>
              <a:t>汚物</a:t>
            </a:r>
            <a:r>
              <a:rPr lang="ja-JP" altLang="en-US" sz="1400" dirty="0" smtClean="0">
                <a:latin typeface="ＭＳ Ｐゴシック" panose="020B0600070205080204" pitchFamily="50" charset="-128"/>
                <a:ea typeface="ＭＳ Ｐゴシック" panose="020B0600070205080204" pitchFamily="50" charset="-128"/>
              </a:rPr>
              <a:t>を処理する</a:t>
            </a:r>
            <a:r>
              <a:rPr lang="ja-JP" altLang="ja-JP" sz="1400" dirty="0" smtClean="0">
                <a:latin typeface="ＭＳ Ｐゴシック" panose="020B0600070205080204" pitchFamily="50" charset="-128"/>
                <a:ea typeface="ＭＳ Ｐゴシック" panose="020B0600070205080204" pitchFamily="50" charset="-128"/>
              </a:rPr>
              <a:t>地下</a:t>
            </a:r>
            <a:r>
              <a:rPr lang="ja-JP" altLang="ja-JP" sz="1400" dirty="0">
                <a:latin typeface="ＭＳ Ｐゴシック" panose="020B0600070205080204" pitchFamily="50" charset="-128"/>
                <a:ea typeface="ＭＳ Ｐゴシック" panose="020B0600070205080204" pitchFamily="50" charset="-128"/>
              </a:rPr>
              <a:t>下水処理場</a:t>
            </a:r>
            <a:endParaRPr lang="en-US" sz="1400" b="1" dirty="0" smtClean="0">
              <a:latin typeface="ＭＳ Ｐゴシック" panose="020B0600070205080204" pitchFamily="50" charset="-128"/>
              <a:ea typeface="ＭＳ Ｐゴシック" panose="020B0600070205080204" pitchFamily="50" charset="-128"/>
            </a:endParaRPr>
          </a:p>
        </p:txBody>
      </p:sp>
      <p:sp>
        <p:nvSpPr>
          <p:cNvPr id="6" name="TextBox 5"/>
          <p:cNvSpPr txBox="1"/>
          <p:nvPr/>
        </p:nvSpPr>
        <p:spPr>
          <a:xfrm>
            <a:off x="3072848" y="1606880"/>
            <a:ext cx="5232952" cy="1447800"/>
          </a:xfrm>
          <a:prstGeom prst="rect">
            <a:avLst/>
          </a:prstGeom>
          <a:noFill/>
        </p:spPr>
        <p:txBody>
          <a:bodyPr wrap="square" lIns="0" tIns="0" rIns="0" bIns="0" rtlCol="0">
            <a:noAutofit/>
          </a:bodyPr>
          <a:lstStyle/>
          <a:p>
            <a:pPr marL="231775" indent="-231775"/>
            <a:r>
              <a:rPr lang="en-US" sz="1400" b="1" dirty="0" smtClean="0">
                <a:latin typeface="ＭＳ Ｐゴシック" panose="020B0600070205080204" pitchFamily="50" charset="-128"/>
                <a:ea typeface="ＭＳ Ｐゴシック" panose="020B0600070205080204" pitchFamily="50" charset="-128"/>
              </a:rPr>
              <a:t>	</a:t>
            </a:r>
            <a:r>
              <a:rPr lang="ja-JP" altLang="ja-JP" sz="1400" b="1" dirty="0" smtClean="0">
                <a:latin typeface="ＭＳ Ｐゴシック" panose="020B0600070205080204" pitchFamily="50" charset="-128"/>
                <a:ea typeface="ＭＳ Ｐゴシック" panose="020B0600070205080204" pitchFamily="50" charset="-128"/>
              </a:rPr>
              <a:t>ニイミトレンチ</a:t>
            </a:r>
            <a:r>
              <a:rPr lang="en-US" altLang="ja-JP" sz="1400" dirty="0">
                <a:latin typeface="ＭＳ Ｐゴシック" panose="020B0600070205080204" pitchFamily="50" charset="-128"/>
                <a:ea typeface="ＭＳ Ｐゴシック" panose="020B0600070205080204" pitchFamily="50" charset="-128"/>
              </a:rPr>
              <a:t>―</a:t>
            </a:r>
            <a:r>
              <a:rPr lang="ja-JP" altLang="ja-JP" sz="1400" dirty="0" smtClean="0">
                <a:latin typeface="ＭＳ Ｐゴシック" panose="020B0600070205080204" pitchFamily="50" charset="-128"/>
                <a:ea typeface="ＭＳ Ｐゴシック" panose="020B0600070205080204" pitchFamily="50" charset="-128"/>
              </a:rPr>
              <a:t>家庭</a:t>
            </a:r>
            <a:r>
              <a:rPr lang="ja-JP" altLang="ja-JP" sz="1400" dirty="0">
                <a:latin typeface="ＭＳ Ｐゴシック" panose="020B0600070205080204" pitchFamily="50" charset="-128"/>
                <a:ea typeface="ＭＳ Ｐゴシック" panose="020B0600070205080204" pitchFamily="50" charset="-128"/>
              </a:rPr>
              <a:t>や小規模コミュニティ施設が</a:t>
            </a:r>
            <a:r>
              <a:rPr lang="ja-JP" altLang="ja-JP" sz="1400" dirty="0" smtClean="0">
                <a:latin typeface="ＭＳ Ｐゴシック" panose="020B0600070205080204" pitchFamily="50" charset="-128"/>
                <a:ea typeface="ＭＳ Ｐゴシック" panose="020B0600070205080204" pitchFamily="50" charset="-128"/>
              </a:rPr>
              <a:t>低コストで</a:t>
            </a:r>
            <a:r>
              <a:rPr lang="ja-JP" altLang="ja-JP" sz="1400" dirty="0">
                <a:latin typeface="ＭＳ Ｐゴシック" panose="020B0600070205080204" pitchFamily="50" charset="-128"/>
                <a:ea typeface="ＭＳ Ｐゴシック" panose="020B0600070205080204" pitchFamily="50" charset="-128"/>
              </a:rPr>
              <a:t>エネルギーを必要とせずに汚物処理できるようにするベーシックかつ実用本位のシステム</a:t>
            </a:r>
            <a:endParaRPr lang="en-US" sz="1400" b="1" dirty="0" smtClean="0">
              <a:latin typeface="ＭＳ Ｐゴシック" panose="020B0600070205080204" pitchFamily="50" charset="-128"/>
              <a:ea typeface="ＭＳ Ｐゴシック" panose="020B0600070205080204" pitchFamily="50" charset="-128"/>
            </a:endParaRPr>
          </a:p>
        </p:txBody>
      </p:sp>
      <p:pic>
        <p:nvPicPr>
          <p:cNvPr id="10" name="Picture 12" descr="二次公害対策装置"/>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1485900" y="3628688"/>
            <a:ext cx="1485900" cy="1089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63"/>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555198" y="1606880"/>
            <a:ext cx="1403350" cy="1051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Oval 12"/>
          <p:cNvSpPr/>
          <p:nvPr/>
        </p:nvSpPr>
        <p:spPr>
          <a:xfrm>
            <a:off x="1398685" y="1481645"/>
            <a:ext cx="278296" cy="281793"/>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1</a:t>
            </a:r>
            <a:endParaRPr lang="en-US" sz="1400" dirty="0"/>
          </a:p>
        </p:txBody>
      </p:sp>
      <p:sp>
        <p:nvSpPr>
          <p:cNvPr id="15" name="Oval 14"/>
          <p:cNvSpPr/>
          <p:nvPr/>
        </p:nvSpPr>
        <p:spPr>
          <a:xfrm>
            <a:off x="1398685" y="3529736"/>
            <a:ext cx="278296" cy="281793"/>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2</a:t>
            </a:r>
          </a:p>
        </p:txBody>
      </p:sp>
    </p:spTree>
    <p:extLst>
      <p:ext uri="{BB962C8B-B14F-4D97-AF65-F5344CB8AC3E}">
        <p14:creationId xmlns:p14="http://schemas.microsoft.com/office/powerpoint/2010/main" val="175825492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753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6" name="Rectangle 25"/>
          <p:cNvSpPr/>
          <p:nvPr/>
        </p:nvSpPr>
        <p:spPr>
          <a:xfrm>
            <a:off x="1639957" y="3013704"/>
            <a:ext cx="7128161" cy="1770874"/>
          </a:xfrm>
          <a:prstGeom prst="rect">
            <a:avLst/>
          </a:prstGeom>
          <a:solidFill>
            <a:schemeClr val="accent4">
              <a:alpha val="5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lIns="0" tIns="0" rIns="0" bIns="0" anchor="b"/>
          <a:lstStyle/>
          <a:p>
            <a:r>
              <a:rPr lang="ja-JP" altLang="ja-JP" u="sng" dirty="0">
                <a:latin typeface="ＭＳ Ｐゴシック" panose="020B0600070205080204" pitchFamily="50" charset="-128"/>
                <a:ea typeface="ＭＳ Ｐゴシック" panose="020B0600070205080204" pitchFamily="50" charset="-128"/>
              </a:rPr>
              <a:t>ニイミトレンチ：</a:t>
            </a:r>
            <a:r>
              <a:rPr lang="ja-JP" altLang="ja-JP" b="0" i="1" dirty="0">
                <a:latin typeface="ＭＳ Ｐゴシック" panose="020B0600070205080204" pitchFamily="50" charset="-128"/>
                <a:ea typeface="ＭＳ Ｐゴシック" panose="020B0600070205080204" pitchFamily="50" charset="-128"/>
              </a:rPr>
              <a:t>遠隔地での汚物処理に用いられる分散型下水処理ソリューション</a:t>
            </a:r>
          </a:p>
        </p:txBody>
      </p:sp>
      <p:sp>
        <p:nvSpPr>
          <p:cNvPr id="8" name="Rectangle 7"/>
          <p:cNvSpPr/>
          <p:nvPr/>
        </p:nvSpPr>
        <p:spPr>
          <a:xfrm>
            <a:off x="3273783" y="4179300"/>
            <a:ext cx="1226902" cy="93167"/>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p:nvSpPr>
        <p:spPr>
          <a:xfrm>
            <a:off x="2113927" y="3353584"/>
            <a:ext cx="1159856" cy="956475"/>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p:cNvSpPr txBox="1"/>
          <p:nvPr/>
        </p:nvSpPr>
        <p:spPr>
          <a:xfrm>
            <a:off x="533256" y="1209441"/>
            <a:ext cx="1336963" cy="685800"/>
          </a:xfrm>
          <a:prstGeom prst="rect">
            <a:avLst/>
          </a:prstGeom>
          <a:noFill/>
        </p:spPr>
        <p:txBody>
          <a:bodyPr wrap="square" lIns="0" tIns="0" rIns="0" bIns="0" rtlCol="0">
            <a:noAutofit/>
          </a:bodyPr>
          <a:lstStyle/>
          <a:p>
            <a:r>
              <a:rPr lang="ja-JP" altLang="en-US" sz="1400" b="1" dirty="0">
                <a:latin typeface="ＭＳ Ｐゴシック" panose="020B0600070205080204" pitchFamily="50" charset="-128"/>
                <a:ea typeface="ＭＳ Ｐゴシック" panose="020B0600070205080204" pitchFamily="50" charset="-128"/>
              </a:rPr>
              <a:t>家庭／施設</a:t>
            </a:r>
            <a:r>
              <a:rPr lang="ja-JP" altLang="en-US" sz="1400" b="1" dirty="0" smtClean="0">
                <a:latin typeface="ＭＳ Ｐゴシック" panose="020B0600070205080204" pitchFamily="50" charset="-128"/>
                <a:ea typeface="ＭＳ Ｐゴシック" panose="020B0600070205080204" pitchFamily="50" charset="-128"/>
              </a:rPr>
              <a:t>から出されるトイレ排水や生活</a:t>
            </a:r>
            <a:r>
              <a:rPr lang="ja-JP" altLang="en-US" sz="1400" b="1" dirty="0">
                <a:latin typeface="ＭＳ Ｐゴシック" panose="020B0600070205080204" pitchFamily="50" charset="-128"/>
                <a:ea typeface="ＭＳ Ｐゴシック" panose="020B0600070205080204" pitchFamily="50" charset="-128"/>
              </a:rPr>
              <a:t>排水</a:t>
            </a:r>
            <a:r>
              <a:rPr lang="ja-JP" altLang="en-US" sz="1400" dirty="0">
                <a:latin typeface="ＭＳ Ｐゴシック" panose="020B0600070205080204" pitchFamily="50" charset="-128"/>
                <a:ea typeface="ＭＳ Ｐゴシック" panose="020B0600070205080204" pitchFamily="50" charset="-128"/>
              </a:rPr>
              <a:t>が</a:t>
            </a:r>
            <a:r>
              <a:rPr lang="ja-JP" altLang="en-US" sz="1400" dirty="0" smtClean="0">
                <a:latin typeface="ＭＳ Ｐゴシック" panose="020B0600070205080204" pitchFamily="50" charset="-128"/>
                <a:ea typeface="ＭＳ Ｐゴシック" panose="020B0600070205080204" pitchFamily="50" charset="-128"/>
              </a:rPr>
              <a:t>下水管に流入 </a:t>
            </a:r>
            <a:endParaRPr lang="en-US" sz="1400" dirty="0" smtClean="0">
              <a:latin typeface="ＭＳ Ｐゴシック" panose="020B0600070205080204" pitchFamily="50" charset="-128"/>
              <a:ea typeface="ＭＳ Ｐゴシック" panose="020B0600070205080204" pitchFamily="50" charset="-128"/>
            </a:endParaRPr>
          </a:p>
        </p:txBody>
      </p:sp>
      <p:sp>
        <p:nvSpPr>
          <p:cNvPr id="13" name="TextBox 12"/>
          <p:cNvSpPr txBox="1"/>
          <p:nvPr/>
        </p:nvSpPr>
        <p:spPr>
          <a:xfrm>
            <a:off x="3690173" y="1209441"/>
            <a:ext cx="5038190" cy="1552025"/>
          </a:xfrm>
          <a:prstGeom prst="rect">
            <a:avLst/>
          </a:prstGeom>
          <a:noFill/>
        </p:spPr>
        <p:txBody>
          <a:bodyPr wrap="square" lIns="0" tIns="0" rIns="0" bIns="0" rtlCol="0">
            <a:noAutofit/>
          </a:bodyPr>
          <a:lstStyle/>
          <a:p>
            <a:r>
              <a:rPr lang="ja-JP" altLang="en-US" sz="1400" b="1" dirty="0">
                <a:latin typeface="ＭＳ Ｐゴシック" panose="020B0600070205080204" pitchFamily="50" charset="-128"/>
                <a:ea typeface="ＭＳ Ｐゴシック" panose="020B0600070205080204" pitchFamily="50" charset="-128"/>
              </a:rPr>
              <a:t>地下のニイミトレンチ：</a:t>
            </a:r>
          </a:p>
          <a:p>
            <a:pPr marL="285750" indent="-285750">
              <a:buFont typeface="Arial" panose="020B0604020202020204" pitchFamily="34" charset="0"/>
              <a:buChar char="•"/>
            </a:pPr>
            <a:r>
              <a:rPr lang="ja-JP" altLang="en-US" sz="1400" dirty="0">
                <a:latin typeface="ＭＳ Ｐゴシック" panose="020B0600070205080204" pitchFamily="50" charset="-128"/>
                <a:ea typeface="ＭＳ Ｐゴシック" panose="020B0600070205080204" pitchFamily="50" charset="-128"/>
              </a:rPr>
              <a:t>汚物は汚染防止のため地下に並んで埋められた長さ</a:t>
            </a:r>
            <a:r>
              <a:rPr lang="en-US" altLang="ja-JP" sz="1400" dirty="0">
                <a:latin typeface="ＭＳ Ｐゴシック" panose="020B0600070205080204" pitchFamily="50" charset="-128"/>
                <a:ea typeface="ＭＳ Ｐゴシック" panose="020B0600070205080204" pitchFamily="50" charset="-128"/>
              </a:rPr>
              <a:t>5</a:t>
            </a:r>
            <a:r>
              <a:rPr lang="ja-JP" altLang="en-US" sz="1400" dirty="0">
                <a:latin typeface="ＭＳ Ｐゴシック" panose="020B0600070205080204" pitchFamily="50" charset="-128"/>
                <a:ea typeface="ＭＳ Ｐゴシック" panose="020B0600070205080204" pitchFamily="50" charset="-128"/>
              </a:rPr>
              <a:t>メートルの</a:t>
            </a:r>
            <a:r>
              <a:rPr lang="ja-JP" altLang="en-US" sz="1400" dirty="0" smtClean="0">
                <a:latin typeface="ＭＳ Ｐゴシック" panose="020B0600070205080204" pitchFamily="50" charset="-128"/>
                <a:ea typeface="ＭＳ Ｐゴシック" panose="020B0600070205080204" pitchFamily="50" charset="-128"/>
              </a:rPr>
              <a:t>トレンチの中にある</a:t>
            </a:r>
            <a:r>
              <a:rPr lang="en-US" altLang="ja-JP" sz="1400" dirty="0" smtClean="0">
                <a:latin typeface="ＭＳ Ｐゴシック" panose="020B0600070205080204" pitchFamily="50" charset="-128"/>
                <a:ea typeface="ＭＳ Ｐゴシック" panose="020B0600070205080204" pitchFamily="50" charset="-128"/>
              </a:rPr>
              <a:t>2</a:t>
            </a:r>
            <a:r>
              <a:rPr lang="ja-JP" altLang="en-US" sz="1400" dirty="0" smtClean="0">
                <a:latin typeface="ＭＳ Ｐゴシック" panose="020B0600070205080204" pitchFamily="50" charset="-128"/>
                <a:ea typeface="ＭＳ Ｐゴシック" panose="020B0600070205080204" pitchFamily="50" charset="-128"/>
              </a:rPr>
              <a:t>つの管</a:t>
            </a:r>
            <a:r>
              <a:rPr lang="ja-JP" altLang="en-US" sz="1400" dirty="0">
                <a:latin typeface="ＭＳ Ｐゴシック" panose="020B0600070205080204" pitchFamily="50" charset="-128"/>
                <a:ea typeface="ＭＳ Ｐゴシック" panose="020B0600070205080204" pitchFamily="50" charset="-128"/>
              </a:rPr>
              <a:t>に</a:t>
            </a:r>
            <a:r>
              <a:rPr lang="ja-JP" altLang="en-US" sz="1400" dirty="0" smtClean="0">
                <a:latin typeface="ＭＳ Ｐゴシック" panose="020B0600070205080204" pitchFamily="50" charset="-128"/>
                <a:ea typeface="ＭＳ Ｐゴシック" panose="020B0600070205080204" pitchFamily="50" charset="-128"/>
              </a:rPr>
              <a:t>流れ込む</a:t>
            </a:r>
            <a:endParaRPr lang="ja-JP" altLang="en-US" sz="1400" dirty="0">
              <a:latin typeface="ＭＳ Ｐゴシック" panose="020B0600070205080204" pitchFamily="50" charset="-128"/>
              <a:ea typeface="ＭＳ Ｐゴシック" panose="020B0600070205080204" pitchFamily="50" charset="-128"/>
            </a:endParaRPr>
          </a:p>
          <a:p>
            <a:pPr marL="285750" indent="-285750">
              <a:buFont typeface="Arial" panose="020B0604020202020204" pitchFamily="34" charset="0"/>
              <a:buChar char="•"/>
            </a:pPr>
            <a:r>
              <a:rPr lang="ja-JP" altLang="en-US" sz="1400" dirty="0">
                <a:latin typeface="ＭＳ Ｐゴシック" panose="020B0600070205080204" pitchFamily="50" charset="-128"/>
                <a:ea typeface="ＭＳ Ｐゴシック" panose="020B0600070205080204" pitchFamily="50" charset="-128"/>
              </a:rPr>
              <a:t>管は土壌中のバクテリアと微生物（ミミズ）が汚物を分解できるよう</a:t>
            </a:r>
            <a:r>
              <a:rPr lang="ja-JP" altLang="en-US" sz="1400" dirty="0" smtClean="0">
                <a:latin typeface="ＭＳ Ｐゴシック" panose="020B0600070205080204" pitchFamily="50" charset="-128"/>
                <a:ea typeface="ＭＳ Ｐゴシック" panose="020B0600070205080204" pitchFamily="50" charset="-128"/>
              </a:rPr>
              <a:t>浸透性のネット</a:t>
            </a:r>
            <a:r>
              <a:rPr lang="ja-JP" altLang="en-US" sz="1400" dirty="0">
                <a:latin typeface="ＭＳ Ｐゴシック" panose="020B0600070205080204" pitchFamily="50" charset="-128"/>
                <a:ea typeface="ＭＳ Ｐゴシック" panose="020B0600070205080204" pitchFamily="50" charset="-128"/>
              </a:rPr>
              <a:t>で被覆されている</a:t>
            </a:r>
          </a:p>
          <a:p>
            <a:pPr marL="285750" indent="-285750">
              <a:buFont typeface="Arial" panose="020B0604020202020204" pitchFamily="34" charset="0"/>
              <a:buChar char="•"/>
            </a:pPr>
            <a:r>
              <a:rPr lang="ja-JP" altLang="en-US" sz="1400" dirty="0" smtClean="0">
                <a:latin typeface="ＭＳ Ｐゴシック" panose="020B0600070205080204" pitchFamily="50" charset="-128"/>
                <a:ea typeface="ＭＳ Ｐゴシック" panose="020B0600070205080204" pitchFamily="50" charset="-128"/>
              </a:rPr>
              <a:t>汚物は分解され、</a:t>
            </a:r>
            <a:r>
              <a:rPr lang="en-US" altLang="ja-JP" sz="1400" dirty="0" smtClean="0">
                <a:latin typeface="ＭＳ Ｐゴシック" panose="020B0600070205080204" pitchFamily="50" charset="-128"/>
                <a:ea typeface="ＭＳ Ｐゴシック" panose="020B0600070205080204" pitchFamily="50" charset="-128"/>
              </a:rPr>
              <a:t>6</a:t>
            </a:r>
            <a:r>
              <a:rPr lang="ja-JP" altLang="en-US" sz="1400" dirty="0">
                <a:latin typeface="ＭＳ Ｐゴシック" panose="020B0600070205080204" pitchFamily="50" charset="-128"/>
                <a:ea typeface="ＭＳ Ｐゴシック" panose="020B0600070205080204" pitchFamily="50" charset="-128"/>
              </a:rPr>
              <a:t>～</a:t>
            </a:r>
            <a:r>
              <a:rPr lang="en-US" altLang="ja-JP" sz="1400" dirty="0">
                <a:latin typeface="ＭＳ Ｐゴシック" panose="020B0600070205080204" pitchFamily="50" charset="-128"/>
                <a:ea typeface="ＭＳ Ｐゴシック" panose="020B0600070205080204" pitchFamily="50" charset="-128"/>
              </a:rPr>
              <a:t>8</a:t>
            </a:r>
            <a:r>
              <a:rPr lang="ja-JP" altLang="en-US" sz="1400" dirty="0">
                <a:latin typeface="ＭＳ Ｐゴシック" panose="020B0600070205080204" pitchFamily="50" charset="-128"/>
                <a:ea typeface="ＭＳ Ｐゴシック" panose="020B0600070205080204" pitchFamily="50" charset="-128"/>
              </a:rPr>
              <a:t>か月毎に、トレンチ</a:t>
            </a:r>
            <a:r>
              <a:rPr lang="ja-JP" altLang="en-US" sz="1400" dirty="0" smtClean="0">
                <a:latin typeface="ＭＳ Ｐゴシック" panose="020B0600070205080204" pitchFamily="50" charset="-128"/>
                <a:ea typeface="ＭＳ Ｐゴシック" panose="020B0600070205080204" pitchFamily="50" charset="-128"/>
              </a:rPr>
              <a:t>の簡単な</a:t>
            </a:r>
            <a:r>
              <a:rPr lang="ja-JP" altLang="en-US" sz="1400" dirty="0">
                <a:latin typeface="ＭＳ Ｐゴシック" panose="020B0600070205080204" pitchFamily="50" charset="-128"/>
                <a:ea typeface="ＭＳ Ｐゴシック" panose="020B0600070205080204" pitchFamily="50" charset="-128"/>
              </a:rPr>
              <a:t>洗浄と維持が必要となる</a:t>
            </a:r>
          </a:p>
        </p:txBody>
      </p:sp>
      <p:sp>
        <p:nvSpPr>
          <p:cNvPr id="15" name="TextBox 14"/>
          <p:cNvSpPr txBox="1"/>
          <p:nvPr/>
        </p:nvSpPr>
        <p:spPr>
          <a:xfrm>
            <a:off x="2200268" y="1209441"/>
            <a:ext cx="1159856" cy="646137"/>
          </a:xfrm>
          <a:prstGeom prst="rect">
            <a:avLst/>
          </a:prstGeom>
          <a:noFill/>
        </p:spPr>
        <p:txBody>
          <a:bodyPr wrap="square" lIns="0" tIns="0" rIns="0" bIns="0" rtlCol="0">
            <a:noAutofit/>
          </a:bodyPr>
          <a:lstStyle/>
          <a:p>
            <a:r>
              <a:rPr lang="ja-JP" altLang="en-US" sz="1400" dirty="0">
                <a:latin typeface="ＭＳ Ｐゴシック" panose="020B0600070205080204" pitchFamily="50" charset="-128"/>
                <a:ea typeface="ＭＳ Ｐゴシック" panose="020B0600070205080204" pitchFamily="50" charset="-128"/>
              </a:rPr>
              <a:t>廃水は地下の</a:t>
            </a:r>
            <a:r>
              <a:rPr lang="ja-JP" altLang="en-US" sz="1400" b="1" dirty="0">
                <a:latin typeface="ＭＳ Ｐゴシック" panose="020B0600070205080204" pitchFamily="50" charset="-128"/>
                <a:ea typeface="ＭＳ Ｐゴシック" panose="020B0600070205080204" pitchFamily="50" charset="-128"/>
              </a:rPr>
              <a:t>沈殿／浄化槽</a:t>
            </a:r>
            <a:r>
              <a:rPr lang="ja-JP" altLang="en-US" sz="1400" dirty="0">
                <a:latin typeface="ＭＳ Ｐゴシック" panose="020B0600070205080204" pitchFamily="50" charset="-128"/>
                <a:ea typeface="ＭＳ Ｐゴシック" panose="020B0600070205080204" pitchFamily="50" charset="-128"/>
              </a:rPr>
              <a:t>に集められる</a:t>
            </a:r>
            <a:endParaRPr lang="en-US" sz="1400" dirty="0" smtClean="0">
              <a:latin typeface="ＭＳ Ｐゴシック" panose="020B0600070205080204" pitchFamily="50" charset="-128"/>
              <a:ea typeface="ＭＳ Ｐゴシック" panose="020B0600070205080204" pitchFamily="50" charset="-128"/>
            </a:endParaRPr>
          </a:p>
        </p:txBody>
      </p:sp>
      <p:sp>
        <p:nvSpPr>
          <p:cNvPr id="17" name="Rectangle 16"/>
          <p:cNvSpPr/>
          <p:nvPr/>
        </p:nvSpPr>
        <p:spPr>
          <a:xfrm>
            <a:off x="1219200" y="3688634"/>
            <a:ext cx="891522" cy="10341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p:cNvSpPr/>
          <p:nvPr/>
        </p:nvSpPr>
        <p:spPr>
          <a:xfrm>
            <a:off x="3273783" y="3404854"/>
            <a:ext cx="1226902" cy="93167"/>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p:cNvSpPr/>
          <p:nvPr/>
        </p:nvSpPr>
        <p:spPr>
          <a:xfrm>
            <a:off x="3936704" y="3247999"/>
            <a:ext cx="4791659" cy="397966"/>
          </a:xfrm>
          <a:prstGeom prst="rect">
            <a:avLst/>
          </a:prstGeom>
          <a:solidFill>
            <a:schemeClr val="accent2">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p:cNvSpPr/>
          <p:nvPr/>
        </p:nvSpPr>
        <p:spPr>
          <a:xfrm>
            <a:off x="3936704" y="4030272"/>
            <a:ext cx="4791659" cy="397966"/>
          </a:xfrm>
          <a:prstGeom prst="rect">
            <a:avLst/>
          </a:prstGeom>
          <a:solidFill>
            <a:schemeClr val="accent2">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p:cNvSpPr/>
          <p:nvPr/>
        </p:nvSpPr>
        <p:spPr>
          <a:xfrm>
            <a:off x="1639958" y="5686039"/>
            <a:ext cx="7073572" cy="115067"/>
          </a:xfrm>
          <a:prstGeom prst="rect">
            <a:avLst/>
          </a:prstGeom>
          <a:solidFill>
            <a:srgbClr val="66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a:off x="556278" y="3498021"/>
            <a:ext cx="662921" cy="527131"/>
          </a:xfrm>
          <a:prstGeom prst="rect">
            <a:avLst/>
          </a:prstGeom>
          <a:solidFill>
            <a:schemeClr val="bg1">
              <a:lumMod val="95000"/>
            </a:schemeClr>
          </a:solid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p:cNvSpPr txBox="1"/>
          <p:nvPr/>
        </p:nvSpPr>
        <p:spPr>
          <a:xfrm>
            <a:off x="415637" y="2819400"/>
            <a:ext cx="4085048" cy="304800"/>
          </a:xfrm>
          <a:prstGeom prst="rect">
            <a:avLst/>
          </a:prstGeom>
          <a:noFill/>
        </p:spPr>
        <p:txBody>
          <a:bodyPr wrap="square" lIns="0" tIns="0" rIns="0" bIns="0" rtlCol="0">
            <a:noAutofit/>
          </a:bodyPr>
          <a:lstStyle/>
          <a:p>
            <a:pPr marL="231775" indent="-231775"/>
            <a:r>
              <a:rPr lang="ja-JP" altLang="en-US" sz="1600" i="1" dirty="0" smtClean="0">
                <a:latin typeface="ＭＳ Ｐゴシック" panose="020B0600070205080204" pitchFamily="50" charset="-128"/>
                <a:ea typeface="ＭＳ Ｐゴシック" panose="020B0600070205080204" pitchFamily="50" charset="-128"/>
              </a:rPr>
              <a:t>俯瞰図</a:t>
            </a:r>
            <a:endParaRPr lang="en-US" sz="1600" i="1" dirty="0" smtClean="0">
              <a:latin typeface="ＭＳ Ｐゴシック" panose="020B0600070205080204" pitchFamily="50" charset="-128"/>
              <a:ea typeface="ＭＳ Ｐゴシック" panose="020B0600070205080204" pitchFamily="50" charset="-128"/>
            </a:endParaRPr>
          </a:p>
        </p:txBody>
      </p:sp>
      <p:sp>
        <p:nvSpPr>
          <p:cNvPr id="11" name="TextBox 10"/>
          <p:cNvSpPr txBox="1"/>
          <p:nvPr/>
        </p:nvSpPr>
        <p:spPr>
          <a:xfrm>
            <a:off x="1780666" y="4457297"/>
            <a:ext cx="3048000" cy="372362"/>
          </a:xfrm>
          <a:prstGeom prst="rect">
            <a:avLst/>
          </a:prstGeom>
          <a:noFill/>
        </p:spPr>
        <p:txBody>
          <a:bodyPr wrap="square" lIns="0" tIns="0" rIns="0" bIns="0" rtlCol="0">
            <a:noAutofit/>
          </a:bodyPr>
          <a:lstStyle/>
          <a:p>
            <a:pPr marL="231775" indent="-231775"/>
            <a:r>
              <a:rPr lang="ja-JP" altLang="en-US" sz="1600" i="1" dirty="0" smtClean="0">
                <a:latin typeface="ＭＳ Ｐゴシック" panose="020B0600070205080204" pitchFamily="50" charset="-128"/>
                <a:ea typeface="ＭＳ Ｐゴシック" panose="020B0600070205080204" pitchFamily="50" charset="-128"/>
              </a:rPr>
              <a:t>草で被覆する</a:t>
            </a:r>
            <a:endParaRPr lang="en-US" sz="1600" i="1" dirty="0" smtClean="0">
              <a:latin typeface="ＭＳ Ｐゴシック" panose="020B0600070205080204" pitchFamily="50" charset="-128"/>
              <a:ea typeface="ＭＳ Ｐゴシック" panose="020B0600070205080204" pitchFamily="50" charset="-128"/>
            </a:endParaRPr>
          </a:p>
        </p:txBody>
      </p:sp>
      <p:sp>
        <p:nvSpPr>
          <p:cNvPr id="27" name="TextBox 26"/>
          <p:cNvSpPr txBox="1"/>
          <p:nvPr/>
        </p:nvSpPr>
        <p:spPr>
          <a:xfrm>
            <a:off x="415637" y="4903452"/>
            <a:ext cx="4085048" cy="304800"/>
          </a:xfrm>
          <a:prstGeom prst="rect">
            <a:avLst/>
          </a:prstGeom>
          <a:noFill/>
        </p:spPr>
        <p:txBody>
          <a:bodyPr wrap="square" lIns="0" tIns="0" rIns="0" bIns="0" rtlCol="0">
            <a:noAutofit/>
          </a:bodyPr>
          <a:lstStyle/>
          <a:p>
            <a:pPr marL="231775" indent="-231775"/>
            <a:r>
              <a:rPr lang="ja-JP" altLang="en-US" sz="1600" i="1" dirty="0" smtClean="0">
                <a:latin typeface="ＭＳ Ｐゴシック" panose="020B0600070205080204" pitchFamily="50" charset="-128"/>
                <a:ea typeface="ＭＳ Ｐゴシック" panose="020B0600070205080204" pitchFamily="50" charset="-128"/>
              </a:rPr>
              <a:t>横から見た図</a:t>
            </a:r>
            <a:endParaRPr lang="en-US" sz="1600" i="1" dirty="0" smtClean="0">
              <a:latin typeface="ＭＳ Ｐゴシック" panose="020B0600070205080204" pitchFamily="50" charset="-128"/>
              <a:ea typeface="ＭＳ Ｐゴシック" panose="020B0600070205080204" pitchFamily="50" charset="-128"/>
            </a:endParaRPr>
          </a:p>
        </p:txBody>
      </p:sp>
      <p:sp>
        <p:nvSpPr>
          <p:cNvPr id="30" name="Rectangle 29"/>
          <p:cNvSpPr/>
          <p:nvPr/>
        </p:nvSpPr>
        <p:spPr>
          <a:xfrm>
            <a:off x="3935670" y="5756211"/>
            <a:ext cx="4777860" cy="256194"/>
          </a:xfrm>
          <a:prstGeom prst="rect">
            <a:avLst/>
          </a:prstGeom>
          <a:solidFill>
            <a:srgbClr val="66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p:cNvSpPr/>
          <p:nvPr/>
        </p:nvSpPr>
        <p:spPr>
          <a:xfrm>
            <a:off x="2113927" y="5806289"/>
            <a:ext cx="1159856" cy="571812"/>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32"/>
          <p:cNvSpPr/>
          <p:nvPr/>
        </p:nvSpPr>
        <p:spPr>
          <a:xfrm>
            <a:off x="3124200" y="6157489"/>
            <a:ext cx="1226902" cy="9316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p:cNvSpPr/>
          <p:nvPr/>
        </p:nvSpPr>
        <p:spPr>
          <a:xfrm>
            <a:off x="3935670" y="6012405"/>
            <a:ext cx="4778838" cy="397966"/>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Rectangle 33"/>
          <p:cNvSpPr/>
          <p:nvPr/>
        </p:nvSpPr>
        <p:spPr>
          <a:xfrm>
            <a:off x="3273783" y="5732362"/>
            <a:ext cx="660909" cy="425127"/>
          </a:xfrm>
          <a:prstGeom prst="rect">
            <a:avLst/>
          </a:prstGeom>
          <a:solidFill>
            <a:srgbClr val="66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Rectangle 34"/>
          <p:cNvSpPr/>
          <p:nvPr/>
        </p:nvSpPr>
        <p:spPr>
          <a:xfrm>
            <a:off x="549161" y="5694785"/>
            <a:ext cx="1554444" cy="695824"/>
          </a:xfrm>
          <a:prstGeom prst="rect">
            <a:avLst/>
          </a:prstGeom>
          <a:solidFill>
            <a:srgbClr val="663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6" name="Picture 35"/>
          <p:cNvPicPr>
            <a:picLocks noChangeAspect="1"/>
          </p:cNvPicPr>
          <p:nvPr/>
        </p:nvPicPr>
        <p:blipFill rotWithShape="1">
          <a:blip r:embed="rId7" cstate="screen">
            <a:extLst>
              <a:ext uri="{BEBA8EAE-BF5A-486C-A8C5-ECC9F3942E4B}">
                <a14:imgProps xmlns:a14="http://schemas.microsoft.com/office/drawing/2010/main">
                  <a14:imgLayer r:embed="rId8">
                    <a14:imgEffect>
                      <a14:brightnessContrast bright="40000" contrast="-40000"/>
                    </a14:imgEffect>
                  </a14:imgLayer>
                </a14:imgProps>
              </a:ext>
              <a:ext uri="{28A0092B-C50C-407E-A947-70E740481C1C}">
                <a14:useLocalDpi xmlns:a14="http://schemas.microsoft.com/office/drawing/2010/main"/>
              </a:ext>
            </a:extLst>
          </a:blip>
          <a:srcRect/>
          <a:stretch/>
        </p:blipFill>
        <p:spPr>
          <a:xfrm>
            <a:off x="472506" y="5168281"/>
            <a:ext cx="699122" cy="546334"/>
          </a:xfrm>
          <a:prstGeom prst="rect">
            <a:avLst/>
          </a:prstGeom>
        </p:spPr>
      </p:pic>
      <p:sp>
        <p:nvSpPr>
          <p:cNvPr id="37" name="Rectangle 36"/>
          <p:cNvSpPr/>
          <p:nvPr/>
        </p:nvSpPr>
        <p:spPr>
          <a:xfrm>
            <a:off x="914400" y="5841356"/>
            <a:ext cx="1285868" cy="10341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ectangle 37"/>
          <p:cNvSpPr/>
          <p:nvPr/>
        </p:nvSpPr>
        <p:spPr>
          <a:xfrm>
            <a:off x="838200" y="5570189"/>
            <a:ext cx="72996" cy="37346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p:nvSpPr>
        <p:spPr>
          <a:xfrm>
            <a:off x="556278" y="5637929"/>
            <a:ext cx="8155560" cy="8333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Oval 30"/>
          <p:cNvSpPr/>
          <p:nvPr/>
        </p:nvSpPr>
        <p:spPr>
          <a:xfrm>
            <a:off x="67021" y="90655"/>
            <a:ext cx="274320" cy="2743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bg1"/>
                </a:solidFill>
              </a:rPr>
              <a:t>1</a:t>
            </a:r>
            <a:endParaRPr lang="en-US" sz="1400" b="1" dirty="0">
              <a:solidFill>
                <a:schemeClr val="bg1"/>
              </a:solidFill>
            </a:endParaRPr>
          </a:p>
        </p:txBody>
      </p:sp>
    </p:spTree>
    <p:extLst>
      <p:ext uri="{BB962C8B-B14F-4D97-AF65-F5344CB8AC3E}">
        <p14:creationId xmlns:p14="http://schemas.microsoft.com/office/powerpoint/2010/main" val="378706890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ja-JP" u="sng" dirty="0">
                <a:latin typeface="ＭＳ Ｐゴシック" panose="020B0600070205080204" pitchFamily="50" charset="-128"/>
                <a:ea typeface="ＭＳ Ｐゴシック" panose="020B0600070205080204" pitchFamily="50" charset="-128"/>
              </a:rPr>
              <a:t>ニイミトレンチ：</a:t>
            </a:r>
            <a:r>
              <a:rPr lang="ja-JP" altLang="ja-JP" b="0" i="1" dirty="0">
                <a:latin typeface="ＭＳ Ｐゴシック" panose="020B0600070205080204" pitchFamily="50" charset="-128"/>
                <a:ea typeface="ＭＳ Ｐゴシック" panose="020B0600070205080204" pitchFamily="50" charset="-128"/>
              </a:rPr>
              <a:t>下水道</a:t>
            </a:r>
            <a:r>
              <a:rPr lang="ja-JP" altLang="ja-JP" b="0" i="1" dirty="0" smtClean="0">
                <a:latin typeface="ＭＳ Ｐゴシック" panose="020B0600070205080204" pitchFamily="50" charset="-128"/>
                <a:ea typeface="ＭＳ Ｐゴシック" panose="020B0600070205080204" pitchFamily="50" charset="-128"/>
              </a:rPr>
              <a:t>システム</a:t>
            </a:r>
            <a:r>
              <a:rPr lang="ja-JP" altLang="en-US" b="0" i="1" dirty="0" smtClean="0">
                <a:latin typeface="ＭＳ Ｐゴシック" panose="020B0600070205080204" pitchFamily="50" charset="-128"/>
                <a:ea typeface="ＭＳ Ｐゴシック" panose="020B0600070205080204" pitchFamily="50" charset="-128"/>
              </a:rPr>
              <a:t>につなげられておらず</a:t>
            </a:r>
            <a:r>
              <a:rPr lang="ja-JP" altLang="ja-JP" b="0" i="1" dirty="0" smtClean="0">
                <a:latin typeface="ＭＳ Ｐゴシック" panose="020B0600070205080204" pitchFamily="50" charset="-128"/>
                <a:ea typeface="ＭＳ Ｐゴシック" panose="020B0600070205080204" pitchFamily="50" charset="-128"/>
              </a:rPr>
              <a:t>、</a:t>
            </a:r>
            <a:r>
              <a:rPr lang="ja-JP" altLang="ja-JP" b="0" i="1" dirty="0">
                <a:latin typeface="ＭＳ Ｐゴシック" panose="020B0600070205080204" pitchFamily="50" charset="-128"/>
                <a:ea typeface="ＭＳ Ｐゴシック" panose="020B0600070205080204" pitchFamily="50" charset="-128"/>
              </a:rPr>
              <a:t>空間的な制約</a:t>
            </a:r>
            <a:r>
              <a:rPr lang="ja-JP" altLang="ja-JP" b="0" i="1" dirty="0" smtClean="0">
                <a:latin typeface="ＭＳ Ｐゴシック" panose="020B0600070205080204" pitchFamily="50" charset="-128"/>
                <a:ea typeface="ＭＳ Ｐゴシック" panose="020B0600070205080204" pitchFamily="50" charset="-128"/>
              </a:rPr>
              <a:t>が</a:t>
            </a:r>
            <a:r>
              <a:rPr lang="ja-JP" altLang="en-US" b="0" i="1" dirty="0" smtClean="0">
                <a:latin typeface="ＭＳ Ｐゴシック" panose="020B0600070205080204" pitchFamily="50" charset="-128"/>
                <a:ea typeface="ＭＳ Ｐゴシック" panose="020B0600070205080204" pitchFamily="50" charset="-128"/>
              </a:rPr>
              <a:t>それほ</a:t>
            </a:r>
            <a:r>
              <a:rPr lang="ja-JP" altLang="en-US" b="0" i="1" dirty="0">
                <a:latin typeface="ＭＳ Ｐゴシック" panose="020B0600070205080204" pitchFamily="50" charset="-128"/>
                <a:ea typeface="ＭＳ Ｐゴシック" panose="020B0600070205080204" pitchFamily="50" charset="-128"/>
              </a:rPr>
              <a:t>ど</a:t>
            </a:r>
            <a:r>
              <a:rPr lang="ja-JP" altLang="ja-JP" b="0" i="1" dirty="0" smtClean="0">
                <a:latin typeface="ＭＳ Ｐゴシック" panose="020B0600070205080204" pitchFamily="50" charset="-128"/>
                <a:ea typeface="ＭＳ Ｐゴシック" panose="020B0600070205080204" pitchFamily="50" charset="-128"/>
              </a:rPr>
              <a:t>ない</a:t>
            </a:r>
            <a:r>
              <a:rPr lang="ja-JP" altLang="ja-JP" b="0" i="1" dirty="0">
                <a:latin typeface="ＭＳ Ｐゴシック" panose="020B0600070205080204" pitchFamily="50" charset="-128"/>
                <a:ea typeface="ＭＳ Ｐゴシック" panose="020B0600070205080204" pitchFamily="50" charset="-128"/>
              </a:rPr>
              <a:t>地域に最適</a:t>
            </a:r>
            <a:r>
              <a:rPr lang="en-US" altLang="ja-JP" b="0" i="1" dirty="0">
                <a:latin typeface="ＭＳ Ｐゴシック" panose="020B0600070205080204" pitchFamily="50" charset="-128"/>
                <a:ea typeface="ＭＳ Ｐゴシック" panose="020B0600070205080204" pitchFamily="50" charset="-128"/>
              </a:rPr>
              <a:t> </a:t>
            </a:r>
            <a:endParaRPr lang="ja-JP" altLang="ja-JP" b="0" i="1" dirty="0">
              <a:latin typeface="ＭＳ Ｐゴシック" panose="020B0600070205080204" pitchFamily="50" charset="-128"/>
              <a:ea typeface="ＭＳ Ｐゴシック" panose="020B0600070205080204" pitchFamily="50" charset="-128"/>
            </a:endParaRPr>
          </a:p>
        </p:txBody>
      </p:sp>
      <p:sp>
        <p:nvSpPr>
          <p:cNvPr id="3" name="Text Placeholder 2"/>
          <p:cNvSpPr>
            <a:spLocks noGrp="1"/>
          </p:cNvSpPr>
          <p:nvPr>
            <p:ph type="body" sz="quarter" idx="37"/>
          </p:nvPr>
        </p:nvSpPr>
        <p:spPr/>
        <p:txBody>
          <a:bodyPr/>
          <a:lstStyle/>
          <a:p>
            <a:endParaRPr lang="en-US" dirty="0"/>
          </a:p>
        </p:txBody>
      </p:sp>
      <p:sp>
        <p:nvSpPr>
          <p:cNvPr id="5" name="TextBox 4"/>
          <p:cNvSpPr txBox="1"/>
          <p:nvPr/>
        </p:nvSpPr>
        <p:spPr>
          <a:xfrm>
            <a:off x="2350390" y="1486755"/>
            <a:ext cx="6377974" cy="448236"/>
          </a:xfrm>
          <a:prstGeom prst="rect">
            <a:avLst/>
          </a:prstGeom>
          <a:noFill/>
        </p:spPr>
        <p:txBody>
          <a:bodyPr wrap="square" lIns="0" tIns="0" rIns="0" bIns="0" rtlCol="0">
            <a:noAutofit/>
          </a:bodyPr>
          <a:lstStyle/>
          <a:p>
            <a:pPr algn="just"/>
            <a:r>
              <a:rPr lang="ja-JP" altLang="en-US" sz="1400" b="1" dirty="0">
                <a:latin typeface="ＭＳ Ｐゴシック" panose="020B0600070205080204" pitchFamily="50" charset="-128"/>
                <a:ea typeface="ＭＳ Ｐゴシック" panose="020B0600070205080204" pitchFamily="50" charset="-128"/>
              </a:rPr>
              <a:t>都市周辺部や農村の一般住宅集合地域</a:t>
            </a:r>
            <a:r>
              <a:rPr lang="ja-JP" altLang="en-US" sz="1400" dirty="0">
                <a:latin typeface="ＭＳ Ｐゴシック" panose="020B0600070205080204" pitchFamily="50" charset="-128"/>
                <a:ea typeface="ＭＳ Ｐゴシック" panose="020B0600070205080204" pitchFamily="50" charset="-128"/>
              </a:rPr>
              <a:t>－世帯には既に何らかのトイレ設備はあるものの、有効</a:t>
            </a:r>
            <a:r>
              <a:rPr lang="ja-JP" altLang="en-US" sz="1400" dirty="0" smtClean="0">
                <a:latin typeface="ＭＳ Ｐゴシック" panose="020B0600070205080204" pitchFamily="50" charset="-128"/>
                <a:ea typeface="ＭＳ Ｐゴシック" panose="020B0600070205080204" pitchFamily="50" charset="-128"/>
              </a:rPr>
              <a:t>な</a:t>
            </a:r>
            <a:r>
              <a:rPr lang="ja-JP" altLang="en-US" sz="1400" dirty="0">
                <a:latin typeface="ＭＳ Ｐゴシック" panose="020B0600070205080204" pitchFamily="50" charset="-128"/>
                <a:ea typeface="ＭＳ Ｐゴシック" panose="020B0600070205080204" pitchFamily="50" charset="-128"/>
              </a:rPr>
              <a:t>汚物</a:t>
            </a:r>
            <a:r>
              <a:rPr lang="ja-JP" altLang="en-US" sz="1400" dirty="0" smtClean="0">
                <a:latin typeface="ＭＳ Ｐゴシック" panose="020B0600070205080204" pitchFamily="50" charset="-128"/>
                <a:ea typeface="ＭＳ Ｐゴシック" panose="020B0600070205080204" pitchFamily="50" charset="-128"/>
              </a:rPr>
              <a:t>理</a:t>
            </a:r>
            <a:r>
              <a:rPr lang="ja-JP" altLang="en-US" sz="1400" dirty="0">
                <a:latin typeface="ＭＳ Ｐゴシック" panose="020B0600070205080204" pitchFamily="50" charset="-128"/>
                <a:ea typeface="ＭＳ Ｐゴシック" panose="020B0600070205080204" pitchFamily="50" charset="-128"/>
              </a:rPr>
              <a:t>設備</a:t>
            </a:r>
            <a:r>
              <a:rPr lang="ja-JP" altLang="en-US" sz="1400" dirty="0" smtClean="0">
                <a:latin typeface="ＭＳ Ｐゴシック" panose="020B0600070205080204" pitchFamily="50" charset="-128"/>
                <a:ea typeface="ＭＳ Ｐゴシック" panose="020B0600070205080204" pitchFamily="50" charset="-128"/>
              </a:rPr>
              <a:t>は有していない </a:t>
            </a:r>
            <a:endParaRPr lang="en-US" sz="1400" dirty="0">
              <a:latin typeface="ＭＳ Ｐゴシック" panose="020B0600070205080204" pitchFamily="50" charset="-128"/>
              <a:ea typeface="ＭＳ Ｐゴシック" panose="020B0600070205080204" pitchFamily="50" charset="-128"/>
            </a:endParaRPr>
          </a:p>
        </p:txBody>
      </p:sp>
      <p:pic>
        <p:nvPicPr>
          <p:cNvPr id="8" name="Picture 7"/>
          <p:cNvPicPr>
            <a:picLocks noChangeAspect="1"/>
          </p:cNvPicPr>
          <p:nvPr/>
        </p:nvPicPr>
        <p:blipFill>
          <a:blip r:embed="rId2"/>
          <a:stretch>
            <a:fillRect/>
          </a:stretch>
        </p:blipFill>
        <p:spPr>
          <a:xfrm>
            <a:off x="415637" y="3856731"/>
            <a:ext cx="1306226" cy="978408"/>
          </a:xfrm>
          <a:prstGeom prst="rect">
            <a:avLst/>
          </a:prstGeom>
        </p:spPr>
      </p:pic>
      <p:pic>
        <p:nvPicPr>
          <p:cNvPr id="800772" name="Picture 4" descr="https://encrypted-tbn1.gstatic.com/images?q=tbn:ANd9GcRRl6sEyNWoPptcF7GIZgDQBB_DJM51soaSB2ngz3tzgIwbzxp4P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5637" y="1223402"/>
            <a:ext cx="1465078" cy="974943"/>
          </a:xfrm>
          <a:prstGeom prst="rect">
            <a:avLst/>
          </a:prstGeom>
          <a:noFill/>
          <a:extLst>
            <a:ext uri="{909E8E84-426E-40DD-AFC4-6F175D3DCCD1}">
              <a14:hiddenFill xmlns:a14="http://schemas.microsoft.com/office/drawing/2010/main">
                <a:solidFill>
                  <a:srgbClr val="FFFFFF"/>
                </a:solidFill>
              </a14:hiddenFill>
            </a:ext>
          </a:extLst>
        </p:spPr>
      </p:pic>
      <p:pic>
        <p:nvPicPr>
          <p:cNvPr id="800776" name="Picture 8" descr="http://media-cdn.tripadvisor.com/media/photo-s/01/22/63/1d/village-school-orphanage.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422238" y="2508479"/>
            <a:ext cx="1306126" cy="978408"/>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395289" y="2675368"/>
            <a:ext cx="6262744" cy="644630"/>
          </a:xfrm>
          <a:prstGeom prst="rect">
            <a:avLst/>
          </a:prstGeom>
          <a:noFill/>
        </p:spPr>
        <p:txBody>
          <a:bodyPr wrap="square" lIns="0" tIns="0" rIns="0" bIns="0" rtlCol="0">
            <a:noAutofit/>
          </a:bodyPr>
          <a:lstStyle/>
          <a:p>
            <a:pPr algn="just"/>
            <a:r>
              <a:rPr lang="ja-JP" altLang="en-US" sz="1400" b="1" dirty="0">
                <a:latin typeface="ＭＳ Ｐゴシック" panose="020B0600070205080204" pitchFamily="50" charset="-128"/>
                <a:ea typeface="ＭＳ Ｐゴシック" panose="020B0600070205080204" pitchFamily="50" charset="-128"/>
              </a:rPr>
              <a:t>人々が多くの時間を過ごすことがあるクリニックや学校といったコミュニティ施設</a:t>
            </a:r>
            <a:r>
              <a:rPr lang="ja-JP" altLang="en-US" sz="1400" dirty="0">
                <a:latin typeface="ＭＳ Ｐゴシック" panose="020B0600070205080204" pitchFamily="50" charset="-128"/>
                <a:ea typeface="ＭＳ Ｐゴシック" panose="020B0600070205080204" pitchFamily="50" charset="-128"/>
              </a:rPr>
              <a:t>－より大きな処理</a:t>
            </a:r>
            <a:r>
              <a:rPr lang="ja-JP" altLang="en-US" sz="1400" dirty="0" smtClean="0">
                <a:latin typeface="ＭＳ Ｐゴシック" panose="020B0600070205080204" pitchFamily="50" charset="-128"/>
                <a:ea typeface="ＭＳ Ｐゴシック" panose="020B0600070205080204" pitchFamily="50" charset="-128"/>
              </a:rPr>
              <a:t>能力が必要と思われるが、汚物処理問題</a:t>
            </a:r>
            <a:r>
              <a:rPr lang="ja-JP" altLang="en-US" sz="1400" dirty="0">
                <a:latin typeface="ＭＳ Ｐゴシック" panose="020B0600070205080204" pitchFamily="50" charset="-128"/>
                <a:ea typeface="ＭＳ Ｐゴシック" panose="020B0600070205080204" pitchFamily="50" charset="-128"/>
              </a:rPr>
              <a:t>に対処するための資源が限られている </a:t>
            </a:r>
            <a:endParaRPr lang="en-US" sz="1400" dirty="0">
              <a:latin typeface="ＭＳ Ｐゴシック" panose="020B0600070205080204" pitchFamily="50" charset="-128"/>
              <a:ea typeface="ＭＳ Ｐゴシック" panose="020B0600070205080204" pitchFamily="50" charset="-128"/>
            </a:endParaRPr>
          </a:p>
        </p:txBody>
      </p:sp>
      <p:sp>
        <p:nvSpPr>
          <p:cNvPr id="13" name="TextBox 12"/>
          <p:cNvSpPr txBox="1"/>
          <p:nvPr/>
        </p:nvSpPr>
        <p:spPr>
          <a:xfrm>
            <a:off x="2350490" y="4110256"/>
            <a:ext cx="6398223" cy="471358"/>
          </a:xfrm>
          <a:prstGeom prst="rect">
            <a:avLst/>
          </a:prstGeom>
          <a:noFill/>
        </p:spPr>
        <p:txBody>
          <a:bodyPr wrap="square" lIns="0" tIns="0" rIns="0" bIns="0" rtlCol="0">
            <a:noAutofit/>
          </a:bodyPr>
          <a:lstStyle/>
          <a:p>
            <a:pPr algn="just"/>
            <a:r>
              <a:rPr lang="ja-JP" altLang="en-US" sz="1400" b="1" dirty="0">
                <a:latin typeface="ＭＳ Ｐゴシック" panose="020B0600070205080204" pitchFamily="50" charset="-128"/>
                <a:ea typeface="ＭＳ Ｐゴシック" panose="020B0600070205080204" pitchFamily="50" charset="-128"/>
              </a:rPr>
              <a:t>既存の</a:t>
            </a:r>
            <a:r>
              <a:rPr lang="ja-JP" altLang="en-US" sz="1400" b="1" dirty="0" smtClean="0">
                <a:latin typeface="ＭＳ Ｐゴシック" panose="020B0600070205080204" pitchFamily="50" charset="-128"/>
                <a:ea typeface="ＭＳ Ｐゴシック" panose="020B0600070205080204" pitchFamily="50" charset="-128"/>
              </a:rPr>
              <a:t>コミュニティの下水</a:t>
            </a:r>
            <a:r>
              <a:rPr lang="ja-JP" altLang="en-US" sz="1400" b="1" dirty="0">
                <a:latin typeface="ＭＳ Ｐゴシック" panose="020B0600070205080204" pitchFamily="50" charset="-128"/>
                <a:ea typeface="ＭＳ Ｐゴシック" panose="020B0600070205080204" pitchFamily="50" charset="-128"/>
              </a:rPr>
              <a:t>処理施設</a:t>
            </a:r>
            <a:r>
              <a:rPr lang="ja-JP" altLang="en-US" sz="1400" dirty="0">
                <a:latin typeface="ＭＳ Ｐゴシック" panose="020B0600070205080204" pitchFamily="50" charset="-128"/>
                <a:ea typeface="ＭＳ Ｐゴシック" panose="020B0600070205080204" pitchFamily="50" charset="-128"/>
              </a:rPr>
              <a:t>－有料トイレやエコ汚物処理</a:t>
            </a:r>
            <a:r>
              <a:rPr lang="ja-JP" altLang="en-US" sz="1400" dirty="0" smtClean="0">
                <a:latin typeface="ＭＳ Ｐゴシック" panose="020B0600070205080204" pitchFamily="50" charset="-128"/>
                <a:ea typeface="ＭＳ Ｐゴシック" panose="020B0600070205080204" pitchFamily="50" charset="-128"/>
              </a:rPr>
              <a:t>設備の汚物処理には</a:t>
            </a:r>
            <a:r>
              <a:rPr lang="ja-JP" altLang="en-US" sz="1400" dirty="0">
                <a:latin typeface="ＭＳ Ｐゴシック" panose="020B0600070205080204" pitchFamily="50" charset="-128"/>
                <a:ea typeface="ＭＳ Ｐゴシック" panose="020B0600070205080204" pitchFamily="50" charset="-128"/>
              </a:rPr>
              <a:t>現在のところ</a:t>
            </a:r>
            <a:r>
              <a:rPr lang="ja-JP" altLang="en-US" sz="1400" dirty="0" smtClean="0">
                <a:latin typeface="ＭＳ Ｐゴシック" panose="020B0600070205080204" pitchFamily="50" charset="-128"/>
                <a:ea typeface="ＭＳ Ｐゴシック" panose="020B0600070205080204" pitchFamily="50" charset="-128"/>
              </a:rPr>
              <a:t>、浄化槽が使用されている過ぎない</a:t>
            </a:r>
            <a:endParaRPr lang="en-US" sz="1400" dirty="0">
              <a:latin typeface="ＭＳ Ｐゴシック" panose="020B0600070205080204" pitchFamily="50" charset="-128"/>
              <a:ea typeface="ＭＳ Ｐゴシック" panose="020B0600070205080204" pitchFamily="50" charset="-128"/>
            </a:endParaRPr>
          </a:p>
        </p:txBody>
      </p:sp>
      <p:sp>
        <p:nvSpPr>
          <p:cNvPr id="14" name="TextBox 13"/>
          <p:cNvSpPr txBox="1"/>
          <p:nvPr/>
        </p:nvSpPr>
        <p:spPr>
          <a:xfrm>
            <a:off x="415637" y="5394147"/>
            <a:ext cx="6242395" cy="489476"/>
          </a:xfrm>
          <a:prstGeom prst="rect">
            <a:avLst/>
          </a:prstGeom>
          <a:noFill/>
        </p:spPr>
        <p:txBody>
          <a:bodyPr wrap="square" lIns="0" tIns="0" rIns="0" bIns="0" rtlCol="0">
            <a:noAutofit/>
          </a:bodyPr>
          <a:lstStyle/>
          <a:p>
            <a:pPr algn="just"/>
            <a:r>
              <a:rPr lang="ja-JP" altLang="en-US" sz="1400" b="1" dirty="0">
                <a:latin typeface="ＭＳ Ｐゴシック" panose="020B0600070205080204" pitchFamily="50" charset="-128"/>
                <a:ea typeface="ＭＳ Ｐゴシック" panose="020B0600070205080204" pitchFamily="50" charset="-128"/>
              </a:rPr>
              <a:t>エコツーリズムのホームスティ</a:t>
            </a:r>
            <a:r>
              <a:rPr lang="ja-JP" altLang="en-US" sz="1400" b="1" dirty="0" smtClean="0">
                <a:latin typeface="ＭＳ Ｐゴシック" panose="020B0600070205080204" pitchFamily="50" charset="-128"/>
                <a:ea typeface="ＭＳ Ｐゴシック" panose="020B0600070205080204" pitchFamily="50" charset="-128"/>
              </a:rPr>
              <a:t>受入先</a:t>
            </a:r>
            <a:r>
              <a:rPr lang="ja-JP" altLang="en-US" sz="1400" dirty="0" smtClean="0">
                <a:latin typeface="ＭＳ Ｐゴシック" panose="020B0600070205080204" pitchFamily="50" charset="-128"/>
                <a:ea typeface="ＭＳ Ｐゴシック" panose="020B0600070205080204" pitchFamily="50" charset="-128"/>
              </a:rPr>
              <a:t>－</a:t>
            </a:r>
            <a:r>
              <a:rPr lang="ja-JP" altLang="en-US" sz="1400" dirty="0">
                <a:latin typeface="ＭＳ Ｐゴシック" panose="020B0600070205080204" pitchFamily="50" charset="-128"/>
                <a:ea typeface="ＭＳ Ｐゴシック" panose="020B0600070205080204" pitchFamily="50" charset="-128"/>
              </a:rPr>
              <a:t>ホームスティの受入先となることを希望している</a:t>
            </a:r>
            <a:r>
              <a:rPr lang="ja-JP" altLang="en-US" sz="1400" dirty="0" smtClean="0">
                <a:latin typeface="ＭＳ Ｐゴシック" panose="020B0600070205080204" pitchFamily="50" charset="-128"/>
                <a:ea typeface="ＭＳ Ｐゴシック" panose="020B0600070205080204" pitchFamily="50" charset="-128"/>
              </a:rPr>
              <a:t>が汚物</a:t>
            </a:r>
            <a:r>
              <a:rPr lang="ja-JP" altLang="en-US" sz="1400" dirty="0">
                <a:latin typeface="ＭＳ Ｐゴシック" panose="020B0600070205080204" pitchFamily="50" charset="-128"/>
                <a:ea typeface="ＭＳ Ｐゴシック" panose="020B0600070205080204" pitchFamily="50" charset="-128"/>
              </a:rPr>
              <a:t>処理設備の改善が必要な</a:t>
            </a:r>
            <a:r>
              <a:rPr lang="ja-JP" altLang="en-US" sz="1400" dirty="0" smtClean="0">
                <a:latin typeface="ＭＳ Ｐゴシック" panose="020B0600070205080204" pitchFamily="50" charset="-128"/>
                <a:ea typeface="ＭＳ Ｐゴシック" panose="020B0600070205080204" pitchFamily="50" charset="-128"/>
              </a:rPr>
              <a:t>エリアの住宅向け</a:t>
            </a:r>
            <a:endParaRPr lang="en-US" sz="1400" dirty="0">
              <a:latin typeface="ＭＳ Ｐゴシック" panose="020B0600070205080204" pitchFamily="50" charset="-128"/>
              <a:ea typeface="ＭＳ Ｐゴシック" panose="020B0600070205080204" pitchFamily="50" charset="-128"/>
            </a:endParaRPr>
          </a:p>
        </p:txBody>
      </p:sp>
      <p:pic>
        <p:nvPicPr>
          <p:cNvPr id="800778" name="Picture 10" descr="https://encrypted-tbn2.gstatic.com/images?q=tbn:ANd9GcQ-Qp_TjOD2pFOVF-4uDPrW-eDNwVUYfhvDk3PFTjgxH2hwJdfZ6w"/>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22140" y="5149681"/>
            <a:ext cx="1306224" cy="978408"/>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p:cNvCxnSpPr/>
          <p:nvPr/>
        </p:nvCxnSpPr>
        <p:spPr>
          <a:xfrm>
            <a:off x="395288" y="2351311"/>
            <a:ext cx="8333076" cy="0"/>
          </a:xfrm>
          <a:prstGeom prst="line">
            <a:avLst/>
          </a:prstGeom>
          <a:ln w="31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395288" y="3680790"/>
            <a:ext cx="8333076" cy="0"/>
          </a:xfrm>
          <a:prstGeom prst="line">
            <a:avLst/>
          </a:prstGeom>
          <a:ln w="31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395288" y="4994107"/>
            <a:ext cx="8333076" cy="0"/>
          </a:xfrm>
          <a:prstGeom prst="line">
            <a:avLst/>
          </a:prstGeom>
          <a:ln w="31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5" name="Oval 14"/>
          <p:cNvSpPr/>
          <p:nvPr/>
        </p:nvSpPr>
        <p:spPr>
          <a:xfrm>
            <a:off x="67021" y="90655"/>
            <a:ext cx="274320" cy="2743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bg1"/>
                </a:solidFill>
              </a:rPr>
              <a:t>1</a:t>
            </a:r>
            <a:endParaRPr lang="en-US" sz="1400" b="1" dirty="0">
              <a:solidFill>
                <a:schemeClr val="bg1"/>
              </a:solidFill>
            </a:endParaRPr>
          </a:p>
        </p:txBody>
      </p:sp>
    </p:spTree>
    <p:extLst>
      <p:ext uri="{BB962C8B-B14F-4D97-AF65-F5344CB8AC3E}">
        <p14:creationId xmlns:p14="http://schemas.microsoft.com/office/powerpoint/2010/main" val="251220443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3806668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156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ja-JP" altLang="en-US" dirty="0" smtClean="0"/>
              <a:t>毛管浄化社が提供する排泄物処理関連の製品は</a:t>
            </a:r>
            <a:r>
              <a:rPr lang="en-US" altLang="ja-JP" dirty="0" smtClean="0"/>
              <a:t>2</a:t>
            </a:r>
            <a:r>
              <a:rPr lang="ja-JP" altLang="en-US" dirty="0" smtClean="0"/>
              <a:t>つ：ニイミトレンチとニイミシステム</a:t>
            </a:r>
            <a:r>
              <a:rPr lang="en-US" dirty="0" smtClean="0"/>
              <a:t> </a:t>
            </a:r>
            <a:endParaRPr lang="en-US" dirty="0"/>
          </a:p>
        </p:txBody>
      </p:sp>
      <p:pic>
        <p:nvPicPr>
          <p:cNvPr id="10" name="Picture 12" descr="二次公害対策装置"/>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6385214" y="1606880"/>
            <a:ext cx="1485900" cy="1089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63"/>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864840" y="1606880"/>
            <a:ext cx="1403350" cy="1051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a:xfrm>
            <a:off x="1966315" y="1023457"/>
            <a:ext cx="3200400" cy="377504"/>
          </a:xfrm>
          <a:prstGeom prst="rect">
            <a:avLst/>
          </a:prstGeom>
          <a:solidFill>
            <a:srgbClr val="6710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smtClean="0">
                <a:solidFill>
                  <a:schemeClr val="bg1"/>
                </a:solidFill>
              </a:rPr>
              <a:t>ニイミトレンチ</a:t>
            </a:r>
            <a:endParaRPr lang="en-US" sz="1400" b="1" dirty="0">
              <a:solidFill>
                <a:schemeClr val="bg1"/>
              </a:solidFill>
            </a:endParaRPr>
          </a:p>
        </p:txBody>
      </p:sp>
      <p:sp>
        <p:nvSpPr>
          <p:cNvPr id="14" name="Rectangle 13"/>
          <p:cNvSpPr/>
          <p:nvPr/>
        </p:nvSpPr>
        <p:spPr>
          <a:xfrm>
            <a:off x="5527964" y="1023457"/>
            <a:ext cx="3200400" cy="377504"/>
          </a:xfrm>
          <a:prstGeom prst="rect">
            <a:avLst/>
          </a:prstGeom>
          <a:solidFill>
            <a:srgbClr val="6710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smtClean="0">
                <a:solidFill>
                  <a:schemeClr val="bg1"/>
                </a:solidFill>
              </a:rPr>
              <a:t>ニイミシステム</a:t>
            </a:r>
            <a:endParaRPr lang="en-US" sz="1400" b="1" dirty="0">
              <a:solidFill>
                <a:schemeClr val="bg1"/>
              </a:solidFill>
            </a:endParaRPr>
          </a:p>
        </p:txBody>
      </p:sp>
      <p:sp>
        <p:nvSpPr>
          <p:cNvPr id="16" name="TextBox 15"/>
          <p:cNvSpPr txBox="1"/>
          <p:nvPr/>
        </p:nvSpPr>
        <p:spPr>
          <a:xfrm>
            <a:off x="1966315" y="2706023"/>
            <a:ext cx="3200400" cy="704088"/>
          </a:xfrm>
          <a:prstGeom prst="rect">
            <a:avLst/>
          </a:prstGeom>
          <a:noFill/>
        </p:spPr>
        <p:txBody>
          <a:bodyPr wrap="square" lIns="0" tIns="0" rIns="0" bIns="0" rtlCol="0" anchor="t">
            <a:noAutofit/>
          </a:bodyPr>
          <a:lstStyle/>
          <a:p>
            <a:pPr marL="171450" indent="-171450">
              <a:buFont typeface="Arial" panose="020B0604020202020204" pitchFamily="34" charset="0"/>
              <a:buChar char="•"/>
            </a:pPr>
            <a:r>
              <a:rPr lang="ja-JP" altLang="en-US" sz="1200" i="1" dirty="0" smtClean="0"/>
              <a:t>個人住宅や小規模コミュニティが環境的に安全に排泄物を収集・処理できる簡易な分散型システム</a:t>
            </a:r>
            <a:endParaRPr lang="en-US" sz="1200" i="1" dirty="0" smtClean="0"/>
          </a:p>
        </p:txBody>
      </p:sp>
      <p:sp>
        <p:nvSpPr>
          <p:cNvPr id="18" name="Rounded Rectangle 17"/>
          <p:cNvSpPr/>
          <p:nvPr/>
        </p:nvSpPr>
        <p:spPr>
          <a:xfrm>
            <a:off x="415637" y="2706023"/>
            <a:ext cx="1275127" cy="704088"/>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dirty="0" smtClean="0">
                <a:solidFill>
                  <a:schemeClr val="tx1"/>
                </a:solidFill>
              </a:rPr>
              <a:t>特徴</a:t>
            </a:r>
            <a:endParaRPr lang="en-US" sz="1200" b="1" dirty="0">
              <a:solidFill>
                <a:schemeClr val="tx1"/>
              </a:solidFill>
            </a:endParaRPr>
          </a:p>
        </p:txBody>
      </p:sp>
      <p:sp>
        <p:nvSpPr>
          <p:cNvPr id="20" name="TextBox 19"/>
          <p:cNvSpPr txBox="1"/>
          <p:nvPr/>
        </p:nvSpPr>
        <p:spPr>
          <a:xfrm>
            <a:off x="5527964" y="2706022"/>
            <a:ext cx="3200400" cy="704088"/>
          </a:xfrm>
          <a:prstGeom prst="rect">
            <a:avLst/>
          </a:prstGeom>
          <a:noFill/>
        </p:spPr>
        <p:txBody>
          <a:bodyPr wrap="square" lIns="0" tIns="0" rIns="0" bIns="0" rtlCol="0" anchor="t">
            <a:noAutofit/>
          </a:bodyPr>
          <a:lstStyle/>
          <a:p>
            <a:pPr marL="171450" indent="-171450">
              <a:buFont typeface="Arial" panose="020B0604020202020204" pitchFamily="34" charset="0"/>
              <a:buChar char="•"/>
            </a:pPr>
            <a:r>
              <a:rPr lang="ja-JP" altLang="en-US" sz="1200" i="1" dirty="0" smtClean="0"/>
              <a:t>小規模な市や町のために設計された土壌被覆型下水処理施設で、簡易な技術で排泄物を安全に処理できる</a:t>
            </a:r>
            <a:endParaRPr lang="en-US" sz="1200" i="1" dirty="0" smtClean="0"/>
          </a:p>
        </p:txBody>
      </p:sp>
      <p:sp>
        <p:nvSpPr>
          <p:cNvPr id="21" name="TextBox 20"/>
          <p:cNvSpPr txBox="1"/>
          <p:nvPr/>
        </p:nvSpPr>
        <p:spPr>
          <a:xfrm>
            <a:off x="1966315" y="3589374"/>
            <a:ext cx="3200400" cy="594391"/>
          </a:xfrm>
          <a:prstGeom prst="rect">
            <a:avLst/>
          </a:prstGeom>
          <a:noFill/>
        </p:spPr>
        <p:txBody>
          <a:bodyPr wrap="square" lIns="0" tIns="0" rIns="0" bIns="0" rtlCol="0" anchor="t">
            <a:noAutofit/>
          </a:bodyPr>
          <a:lstStyle/>
          <a:p>
            <a:pPr marL="171450" indent="-171450">
              <a:buFont typeface="Arial" panose="020B0604020202020204" pitchFamily="34" charset="0"/>
              <a:buChar char="•"/>
            </a:pPr>
            <a:r>
              <a:rPr lang="ja-JP" altLang="en-US" sz="1200" i="1" dirty="0" smtClean="0"/>
              <a:t>沈殿槽で汚泥を除去する</a:t>
            </a:r>
            <a:endParaRPr lang="en-US" sz="1200" i="1" dirty="0" smtClean="0"/>
          </a:p>
          <a:p>
            <a:pPr marL="171450" indent="-171450">
              <a:buFont typeface="Arial" panose="020B0604020202020204" pitchFamily="34" charset="0"/>
              <a:buChar char="•"/>
            </a:pPr>
            <a:r>
              <a:rPr lang="en-US" altLang="ja-JP" sz="1200" i="1" dirty="0" smtClean="0"/>
              <a:t>2</a:t>
            </a:r>
            <a:r>
              <a:rPr lang="ja-JP" altLang="en-US" sz="1200" i="1" dirty="0" smtClean="0"/>
              <a:t>本のトレンチを（交互に）用いて土壌バクテリアにより汚水を処理する</a:t>
            </a:r>
            <a:endParaRPr lang="en-US" sz="1200" i="1" dirty="0" smtClean="0"/>
          </a:p>
        </p:txBody>
      </p:sp>
      <p:sp>
        <p:nvSpPr>
          <p:cNvPr id="22" name="Rounded Rectangle 21"/>
          <p:cNvSpPr/>
          <p:nvPr/>
        </p:nvSpPr>
        <p:spPr>
          <a:xfrm>
            <a:off x="415637" y="3589374"/>
            <a:ext cx="1275127" cy="59439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dirty="0" smtClean="0">
                <a:solidFill>
                  <a:schemeClr val="tx1"/>
                </a:solidFill>
              </a:rPr>
              <a:t>技術</a:t>
            </a:r>
            <a:endParaRPr lang="en-US" sz="1200" b="1" dirty="0">
              <a:solidFill>
                <a:schemeClr val="tx1"/>
              </a:solidFill>
            </a:endParaRPr>
          </a:p>
        </p:txBody>
      </p:sp>
      <p:sp>
        <p:nvSpPr>
          <p:cNvPr id="23" name="TextBox 22"/>
          <p:cNvSpPr txBox="1"/>
          <p:nvPr/>
        </p:nvSpPr>
        <p:spPr>
          <a:xfrm>
            <a:off x="5527964" y="3589374"/>
            <a:ext cx="3200400" cy="594391"/>
          </a:xfrm>
          <a:prstGeom prst="rect">
            <a:avLst/>
          </a:prstGeom>
          <a:noFill/>
        </p:spPr>
        <p:txBody>
          <a:bodyPr wrap="square" lIns="0" tIns="0" rIns="0" bIns="0" rtlCol="0" anchor="t">
            <a:noAutofit/>
          </a:bodyPr>
          <a:lstStyle/>
          <a:p>
            <a:pPr marL="171450" indent="-171450">
              <a:buFont typeface="Arial" panose="020B0604020202020204" pitchFamily="34" charset="0"/>
              <a:buChar char="•"/>
            </a:pPr>
            <a:r>
              <a:rPr lang="ja-JP" altLang="en-US" sz="1200" i="1" dirty="0" smtClean="0"/>
              <a:t>沈殿槽と接触酸化槽を組み合わせて排泄物を処理する</a:t>
            </a:r>
            <a:endParaRPr lang="en-US" sz="1200" i="1" dirty="0" smtClean="0"/>
          </a:p>
        </p:txBody>
      </p:sp>
      <p:sp>
        <p:nvSpPr>
          <p:cNvPr id="27" name="TextBox 26"/>
          <p:cNvSpPr txBox="1"/>
          <p:nvPr/>
        </p:nvSpPr>
        <p:spPr>
          <a:xfrm>
            <a:off x="1966315" y="4363027"/>
            <a:ext cx="3200400" cy="932688"/>
          </a:xfrm>
          <a:prstGeom prst="rect">
            <a:avLst/>
          </a:prstGeom>
          <a:noFill/>
        </p:spPr>
        <p:txBody>
          <a:bodyPr wrap="square" lIns="0" tIns="0" rIns="0" bIns="0" rtlCol="0" anchor="t">
            <a:noAutofit/>
          </a:bodyPr>
          <a:lstStyle/>
          <a:p>
            <a:pPr marL="171450" indent="-171450">
              <a:buFont typeface="Arial" panose="020B0604020202020204" pitchFamily="34" charset="0"/>
              <a:buChar char="•"/>
            </a:pPr>
            <a:r>
              <a:rPr lang="ja-JP" altLang="en-US" sz="1200" i="1" dirty="0" smtClean="0"/>
              <a:t>分散型ソリューションとして、農村地域や下水道ネットワークへの接続が困難な地形の場所に最適</a:t>
            </a:r>
            <a:endParaRPr lang="en-US" sz="1200" i="1" dirty="0" smtClean="0"/>
          </a:p>
        </p:txBody>
      </p:sp>
      <p:sp>
        <p:nvSpPr>
          <p:cNvPr id="28" name="Rounded Rectangle 27"/>
          <p:cNvSpPr/>
          <p:nvPr/>
        </p:nvSpPr>
        <p:spPr>
          <a:xfrm>
            <a:off x="415637" y="4363027"/>
            <a:ext cx="1275127" cy="932688"/>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dirty="0" smtClean="0">
                <a:solidFill>
                  <a:schemeClr val="tx1"/>
                </a:solidFill>
              </a:rPr>
              <a:t>適用可能性</a:t>
            </a:r>
            <a:endParaRPr lang="en-US" sz="1200" b="1" dirty="0">
              <a:solidFill>
                <a:schemeClr val="tx1"/>
              </a:solidFill>
            </a:endParaRPr>
          </a:p>
        </p:txBody>
      </p:sp>
      <p:sp>
        <p:nvSpPr>
          <p:cNvPr id="29" name="TextBox 28"/>
          <p:cNvSpPr txBox="1"/>
          <p:nvPr/>
        </p:nvSpPr>
        <p:spPr>
          <a:xfrm>
            <a:off x="5527964" y="4363027"/>
            <a:ext cx="3200400" cy="932688"/>
          </a:xfrm>
          <a:prstGeom prst="rect">
            <a:avLst/>
          </a:prstGeom>
          <a:noFill/>
        </p:spPr>
        <p:txBody>
          <a:bodyPr wrap="square" lIns="0" tIns="0" rIns="0" bIns="0" rtlCol="0" anchor="t">
            <a:noAutofit/>
          </a:bodyPr>
          <a:lstStyle/>
          <a:p>
            <a:pPr marL="171450" indent="-171450">
              <a:buFont typeface="Arial" panose="020B0604020202020204" pitchFamily="34" charset="0"/>
              <a:buChar char="•"/>
            </a:pPr>
            <a:r>
              <a:rPr lang="ja-JP" altLang="en-US" sz="1200" i="1" dirty="0" smtClean="0"/>
              <a:t>処理施設の代替として低コストであまり手がかからないため、小規模な市や町でも利用可能</a:t>
            </a:r>
            <a:endParaRPr lang="en-US" sz="1200" i="1" dirty="0" smtClean="0"/>
          </a:p>
          <a:p>
            <a:pPr marL="171450" indent="-171450">
              <a:buFont typeface="Arial" panose="020B0604020202020204" pitchFamily="34" charset="0"/>
              <a:buChar char="•"/>
            </a:pPr>
            <a:r>
              <a:rPr lang="ja-JP" altLang="en-US" sz="1200" i="1" dirty="0" smtClean="0"/>
              <a:t>臭気を最小限に抑えるので集落に近い地域でも利用可能</a:t>
            </a:r>
            <a:endParaRPr lang="en-US" sz="1200" i="1" dirty="0" smtClean="0"/>
          </a:p>
        </p:txBody>
      </p:sp>
      <p:sp>
        <p:nvSpPr>
          <p:cNvPr id="31" name="Rounded Rectangle 30"/>
          <p:cNvSpPr/>
          <p:nvPr/>
        </p:nvSpPr>
        <p:spPr>
          <a:xfrm>
            <a:off x="415637" y="5474977"/>
            <a:ext cx="1275127" cy="841248"/>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dirty="0" smtClean="0">
                <a:solidFill>
                  <a:schemeClr val="tx1"/>
                </a:solidFill>
              </a:rPr>
              <a:t>運用要件</a:t>
            </a:r>
            <a:endParaRPr lang="en-US" sz="1200" b="1" dirty="0">
              <a:solidFill>
                <a:schemeClr val="tx1"/>
              </a:solidFill>
            </a:endParaRPr>
          </a:p>
        </p:txBody>
      </p:sp>
      <p:sp>
        <p:nvSpPr>
          <p:cNvPr id="33" name="TextBox 32"/>
          <p:cNvSpPr txBox="1"/>
          <p:nvPr/>
        </p:nvSpPr>
        <p:spPr>
          <a:xfrm>
            <a:off x="1966315" y="5474976"/>
            <a:ext cx="3200400" cy="841248"/>
          </a:xfrm>
          <a:prstGeom prst="rect">
            <a:avLst/>
          </a:prstGeom>
          <a:noFill/>
        </p:spPr>
        <p:txBody>
          <a:bodyPr wrap="square" lIns="0" tIns="0" rIns="0" bIns="0" rtlCol="0" anchor="t">
            <a:noAutofit/>
          </a:bodyPr>
          <a:lstStyle/>
          <a:p>
            <a:pPr marL="171450" indent="-171450">
              <a:buFont typeface="Arial" panose="020B0604020202020204" pitchFamily="34" charset="0"/>
              <a:buChar char="•"/>
            </a:pPr>
            <a:r>
              <a:rPr lang="ja-JP" altLang="en-US" sz="1200" i="1" dirty="0" smtClean="0"/>
              <a:t>トレンチの設置スペース（</a:t>
            </a:r>
            <a:r>
              <a:rPr lang="en-US" altLang="ja-JP" sz="1200" i="1" dirty="0" smtClean="0"/>
              <a:t>20</a:t>
            </a:r>
            <a:r>
              <a:rPr lang="ja-JP" altLang="en-US" sz="1200" i="1" dirty="0" smtClean="0"/>
              <a:t>～</a:t>
            </a:r>
            <a:r>
              <a:rPr lang="en-US" altLang="ja-JP" sz="1200" i="1" dirty="0" smtClean="0"/>
              <a:t>50</a:t>
            </a:r>
            <a:r>
              <a:rPr lang="ja-JP" altLang="en-US" sz="1200" i="1" dirty="0" smtClean="0"/>
              <a:t>平方メートル）が必要</a:t>
            </a:r>
            <a:endParaRPr lang="en-US" sz="1200" i="1" dirty="0" smtClean="0"/>
          </a:p>
          <a:p>
            <a:pPr marL="171450" indent="-171450">
              <a:buFont typeface="Arial" panose="020B0604020202020204" pitchFamily="34" charset="0"/>
              <a:buChar char="•"/>
            </a:pPr>
            <a:r>
              <a:rPr lang="ja-JP" altLang="en-US" sz="1200" i="1" dirty="0" smtClean="0"/>
              <a:t>土壌は適切な吸収容量があり、排泄物を分解する微生物を豊富に含んでいる必要ある</a:t>
            </a:r>
            <a:endParaRPr lang="en-US" sz="1200" i="1" dirty="0" smtClean="0"/>
          </a:p>
        </p:txBody>
      </p:sp>
      <p:sp>
        <p:nvSpPr>
          <p:cNvPr id="34" name="TextBox 33"/>
          <p:cNvSpPr txBox="1"/>
          <p:nvPr/>
        </p:nvSpPr>
        <p:spPr>
          <a:xfrm>
            <a:off x="5527964" y="5474976"/>
            <a:ext cx="3200400" cy="841248"/>
          </a:xfrm>
          <a:prstGeom prst="rect">
            <a:avLst/>
          </a:prstGeom>
          <a:noFill/>
        </p:spPr>
        <p:txBody>
          <a:bodyPr wrap="square" lIns="0" tIns="0" rIns="0" bIns="0" rtlCol="0" anchor="t">
            <a:noAutofit/>
          </a:bodyPr>
          <a:lstStyle>
            <a:defPPr>
              <a:defRPr lang="en-US"/>
            </a:defPPr>
            <a:lvl1pPr marL="171450" indent="-171450">
              <a:buFont typeface="Arial" panose="020B0604020202020204" pitchFamily="34" charset="0"/>
              <a:buChar char="•"/>
              <a:defRPr sz="1200" i="1"/>
            </a:lvl1pPr>
          </a:lstStyle>
          <a:p>
            <a:r>
              <a:rPr lang="ja-JP" altLang="en-US" dirty="0" smtClean="0"/>
              <a:t>トレンチや槽の設置スペースが必要</a:t>
            </a:r>
            <a:endParaRPr lang="en-US" dirty="0" smtClean="0"/>
          </a:p>
          <a:p>
            <a:r>
              <a:rPr lang="ja-JP" altLang="en-US" dirty="0" smtClean="0"/>
              <a:t>主に酸化槽に空気を送り込む</a:t>
            </a:r>
            <a:r>
              <a:rPr lang="ja-JP" altLang="en-US" dirty="0"/>
              <a:t>ため</a:t>
            </a:r>
            <a:r>
              <a:rPr lang="ja-JP" altLang="en-US" dirty="0" smtClean="0"/>
              <a:t>に電気が必要</a:t>
            </a:r>
            <a:endParaRPr lang="en-US" dirty="0"/>
          </a:p>
        </p:txBody>
      </p:sp>
      <p:cxnSp>
        <p:nvCxnSpPr>
          <p:cNvPr id="24" name="Straight Connector 23"/>
          <p:cNvCxnSpPr/>
          <p:nvPr/>
        </p:nvCxnSpPr>
        <p:spPr>
          <a:xfrm>
            <a:off x="415637" y="3500515"/>
            <a:ext cx="8199858" cy="0"/>
          </a:xfrm>
          <a:prstGeom prst="line">
            <a:avLst/>
          </a:prstGeom>
          <a:ln w="31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15637" y="4255279"/>
            <a:ext cx="8199858" cy="0"/>
          </a:xfrm>
          <a:prstGeom prst="line">
            <a:avLst/>
          </a:prstGeom>
          <a:ln w="31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415637" y="5374960"/>
            <a:ext cx="8199858" cy="0"/>
          </a:xfrm>
          <a:prstGeom prst="line">
            <a:avLst/>
          </a:prstGeom>
          <a:ln w="31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383036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855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ja-JP" altLang="en-US" u="sng" dirty="0">
                <a:latin typeface="ＭＳ Ｐゴシック" panose="020B0600070205080204" pitchFamily="50" charset="-128"/>
                <a:ea typeface="ＭＳ Ｐゴシック" panose="020B0600070205080204" pitchFamily="50" charset="-128"/>
              </a:rPr>
              <a:t>ニイミトレンチ：</a:t>
            </a:r>
            <a:r>
              <a:rPr lang="ja-JP" altLang="en-US" b="0" i="1" dirty="0">
                <a:latin typeface="ＭＳ Ｐゴシック" panose="020B0600070205080204" pitchFamily="50" charset="-128"/>
                <a:ea typeface="ＭＳ Ｐゴシック" panose="020B0600070205080204" pitchFamily="50" charset="-128"/>
              </a:rPr>
              <a:t>トレンチの施工手順は極めて単純で、</a:t>
            </a:r>
            <a:r>
              <a:rPr lang="en-US" altLang="ja-JP" b="0" i="1" dirty="0">
                <a:latin typeface="ＭＳ Ｐゴシック" panose="020B0600070205080204" pitchFamily="50" charset="-128"/>
                <a:ea typeface="ＭＳ Ｐゴシック" panose="020B0600070205080204" pitchFamily="50" charset="-128"/>
              </a:rPr>
              <a:t>3</a:t>
            </a:r>
            <a:r>
              <a:rPr lang="ja-JP" altLang="en-US" b="0" i="1" dirty="0">
                <a:latin typeface="ＭＳ Ｐゴシック" panose="020B0600070205080204" pitchFamily="50" charset="-128"/>
                <a:ea typeface="ＭＳ Ｐゴシック" panose="020B0600070205080204" pitchFamily="50" charset="-128"/>
              </a:rPr>
              <a:t>～</a:t>
            </a:r>
            <a:r>
              <a:rPr lang="en-US" altLang="ja-JP" b="0" i="1" dirty="0">
                <a:latin typeface="ＭＳ Ｐゴシック" panose="020B0600070205080204" pitchFamily="50" charset="-128"/>
                <a:ea typeface="ＭＳ Ｐゴシック" panose="020B0600070205080204" pitchFamily="50" charset="-128"/>
              </a:rPr>
              <a:t>4</a:t>
            </a:r>
            <a:r>
              <a:rPr lang="ja-JP" altLang="en-US" b="0" i="1" dirty="0">
                <a:latin typeface="ＭＳ Ｐゴシック" panose="020B0600070205080204" pitchFamily="50" charset="-128"/>
                <a:ea typeface="ＭＳ Ｐゴシック" panose="020B0600070205080204" pitchFamily="50" charset="-128"/>
              </a:rPr>
              <a:t>日で完成する </a:t>
            </a:r>
            <a:endParaRPr lang="en-US" b="0" i="1" dirty="0">
              <a:latin typeface="ＭＳ Ｐゴシック" panose="020B0600070205080204" pitchFamily="50" charset="-128"/>
              <a:ea typeface="ＭＳ Ｐゴシック" panose="020B0600070205080204" pitchFamily="50" charset="-128"/>
            </a:endParaRPr>
          </a:p>
        </p:txBody>
      </p:sp>
      <p:sp>
        <p:nvSpPr>
          <p:cNvPr id="15" name="Oval 14"/>
          <p:cNvSpPr/>
          <p:nvPr/>
        </p:nvSpPr>
        <p:spPr>
          <a:xfrm>
            <a:off x="67021" y="90655"/>
            <a:ext cx="274320" cy="2743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bg1"/>
                </a:solidFill>
              </a:rPr>
              <a:t>1</a:t>
            </a:r>
            <a:endParaRPr lang="en-US" sz="1400" b="1" dirty="0">
              <a:solidFill>
                <a:schemeClr val="bg1"/>
              </a:solidFill>
            </a:endParaRPr>
          </a:p>
        </p:txBody>
      </p:sp>
      <p:pic>
        <p:nvPicPr>
          <p:cNvPr id="4" name="Picture 3"/>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15636" y="3682397"/>
            <a:ext cx="1219200" cy="914400"/>
          </a:xfrm>
          <a:prstGeom prst="rect">
            <a:avLst/>
          </a:prstGeom>
        </p:spPr>
      </p:pic>
      <p:pic>
        <p:nvPicPr>
          <p:cNvPr id="6" name="Picture 5"/>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920124" y="2168995"/>
            <a:ext cx="1219200" cy="914400"/>
          </a:xfrm>
          <a:prstGeom prst="rect">
            <a:avLst/>
          </a:prstGeom>
        </p:spPr>
      </p:pic>
      <p:pic>
        <p:nvPicPr>
          <p:cNvPr id="7" name="Picture 6"/>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920124" y="4228177"/>
            <a:ext cx="1219200" cy="914400"/>
          </a:xfrm>
          <a:prstGeom prst="rect">
            <a:avLst/>
          </a:prstGeom>
        </p:spPr>
      </p:pic>
      <p:pic>
        <p:nvPicPr>
          <p:cNvPr id="17" name="Picture 16"/>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920124" y="5257767"/>
            <a:ext cx="1219200" cy="914400"/>
          </a:xfrm>
          <a:prstGeom prst="rect">
            <a:avLst/>
          </a:prstGeom>
        </p:spPr>
      </p:pic>
      <p:pic>
        <p:nvPicPr>
          <p:cNvPr id="18" name="Picture 17"/>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509164" y="3682397"/>
            <a:ext cx="1219200" cy="914400"/>
          </a:xfrm>
          <a:prstGeom prst="rect">
            <a:avLst/>
          </a:prstGeom>
        </p:spPr>
      </p:pic>
      <p:pic>
        <p:nvPicPr>
          <p:cNvPr id="21" name="Picture 20"/>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2920124" y="3198586"/>
            <a:ext cx="1219200" cy="914400"/>
          </a:xfrm>
          <a:prstGeom prst="rect">
            <a:avLst/>
          </a:prstGeom>
        </p:spPr>
      </p:pic>
      <p:sp>
        <p:nvSpPr>
          <p:cNvPr id="26" name="TextBox 25"/>
          <p:cNvSpPr txBox="1"/>
          <p:nvPr/>
        </p:nvSpPr>
        <p:spPr>
          <a:xfrm>
            <a:off x="415636" y="1035156"/>
            <a:ext cx="2194560" cy="427669"/>
          </a:xfrm>
          <a:prstGeom prst="homePlate">
            <a:avLst/>
          </a:prstGeom>
          <a:solidFill>
            <a:srgbClr val="67103F"/>
          </a:solidFill>
        </p:spPr>
        <p:txBody>
          <a:bodyPr wrap="square" lIns="0" tIns="0" rIns="0" bIns="0" rtlCol="0" anchor="ctr">
            <a:noAutofit/>
          </a:bodyPr>
          <a:lstStyle/>
          <a:p>
            <a:pPr algn="ctr"/>
            <a:r>
              <a:rPr lang="ja-JP" altLang="en-US" sz="1400" b="1" dirty="0" smtClean="0">
                <a:solidFill>
                  <a:schemeClr val="bg1"/>
                </a:solidFill>
                <a:latin typeface="ＭＳ Ｐゴシック" panose="020B0600070205080204" pitchFamily="50" charset="-128"/>
                <a:ea typeface="ＭＳ Ｐゴシック" panose="020B0600070205080204" pitchFamily="50" charset="-128"/>
              </a:rPr>
              <a:t>現場整備</a:t>
            </a:r>
            <a:endParaRPr lang="en-US" sz="1400" dirty="0" smtClean="0">
              <a:solidFill>
                <a:schemeClr val="bg1"/>
              </a:solidFill>
              <a:latin typeface="ＭＳ Ｐゴシック" panose="020B0600070205080204" pitchFamily="50" charset="-128"/>
              <a:ea typeface="ＭＳ Ｐゴシック" panose="020B0600070205080204" pitchFamily="50" charset="-128"/>
            </a:endParaRPr>
          </a:p>
        </p:txBody>
      </p:sp>
      <p:sp>
        <p:nvSpPr>
          <p:cNvPr id="27" name="TextBox 26"/>
          <p:cNvSpPr txBox="1"/>
          <p:nvPr/>
        </p:nvSpPr>
        <p:spPr>
          <a:xfrm>
            <a:off x="415636" y="1535201"/>
            <a:ext cx="2011680" cy="706170"/>
          </a:xfrm>
          <a:prstGeom prst="rect">
            <a:avLst/>
          </a:prstGeom>
          <a:noFill/>
        </p:spPr>
        <p:txBody>
          <a:bodyPr wrap="square" lIns="0" tIns="0" rIns="0" bIns="0" rtlCol="0">
            <a:noAutofit/>
          </a:bodyPr>
          <a:lstStyle/>
          <a:p>
            <a:r>
              <a:rPr lang="ja-JP" altLang="en-US" sz="1200" i="1" dirty="0">
                <a:latin typeface="ＭＳ Ｐゴシック" panose="020B0600070205080204" pitchFamily="50" charset="-128"/>
                <a:ea typeface="ＭＳ Ｐゴシック" panose="020B0600070205080204" pitchFamily="50" charset="-128"/>
              </a:rPr>
              <a:t>土壌吸収力テストを実施し、トレンチと沈殿槽用に土を掘る</a:t>
            </a:r>
            <a:endParaRPr lang="en-US" sz="1200" i="1" dirty="0" smtClean="0">
              <a:latin typeface="ＭＳ Ｐゴシック" panose="020B0600070205080204" pitchFamily="50" charset="-128"/>
              <a:ea typeface="ＭＳ Ｐゴシック" panose="020B0600070205080204" pitchFamily="50" charset="-128"/>
            </a:endParaRPr>
          </a:p>
        </p:txBody>
      </p:sp>
      <p:sp>
        <p:nvSpPr>
          <p:cNvPr id="30" name="TextBox 29"/>
          <p:cNvSpPr txBox="1"/>
          <p:nvPr/>
        </p:nvSpPr>
        <p:spPr>
          <a:xfrm>
            <a:off x="2462924" y="1035156"/>
            <a:ext cx="2194560" cy="427669"/>
          </a:xfrm>
          <a:prstGeom prst="chevron">
            <a:avLst/>
          </a:prstGeom>
          <a:solidFill>
            <a:srgbClr val="67103F"/>
          </a:solidFill>
        </p:spPr>
        <p:txBody>
          <a:bodyPr wrap="square" lIns="0" tIns="0" rIns="0" bIns="0" rtlCol="0" anchor="ctr">
            <a:noAutofit/>
          </a:bodyPr>
          <a:lstStyle/>
          <a:p>
            <a:pPr algn="ctr"/>
            <a:r>
              <a:rPr lang="ja-JP" altLang="en-US" sz="1400" b="1" dirty="0" smtClean="0">
                <a:solidFill>
                  <a:schemeClr val="bg1"/>
                </a:solidFill>
                <a:latin typeface="ＭＳ Ｐゴシック" panose="020B0600070205080204" pitchFamily="50" charset="-128"/>
                <a:ea typeface="ＭＳ Ｐゴシック" panose="020B0600070205080204" pitchFamily="50" charset="-128"/>
              </a:rPr>
              <a:t>沈殿槽の設置</a:t>
            </a:r>
            <a:endParaRPr lang="en-US" sz="1400" b="1" dirty="0" smtClean="0">
              <a:solidFill>
                <a:schemeClr val="bg1"/>
              </a:solidFill>
              <a:latin typeface="ＭＳ Ｐゴシック" panose="020B0600070205080204" pitchFamily="50" charset="-128"/>
              <a:ea typeface="ＭＳ Ｐゴシック" panose="020B0600070205080204" pitchFamily="50" charset="-128"/>
            </a:endParaRPr>
          </a:p>
        </p:txBody>
      </p:sp>
      <p:sp>
        <p:nvSpPr>
          <p:cNvPr id="31" name="TextBox 30"/>
          <p:cNvSpPr txBox="1"/>
          <p:nvPr/>
        </p:nvSpPr>
        <p:spPr>
          <a:xfrm>
            <a:off x="6557500" y="1035156"/>
            <a:ext cx="2194560" cy="427669"/>
          </a:xfrm>
          <a:prstGeom prst="chevron">
            <a:avLst/>
          </a:prstGeom>
          <a:solidFill>
            <a:srgbClr val="67103F"/>
          </a:solidFill>
        </p:spPr>
        <p:txBody>
          <a:bodyPr wrap="square" lIns="0" tIns="0" rIns="0" bIns="0" rtlCol="0" anchor="ctr">
            <a:noAutofit/>
          </a:bodyPr>
          <a:lstStyle/>
          <a:p>
            <a:pPr algn="ctr"/>
            <a:r>
              <a:rPr lang="ja-JP" altLang="en-US" sz="1400" b="1" dirty="0" smtClean="0">
                <a:solidFill>
                  <a:schemeClr val="bg1"/>
                </a:solidFill>
              </a:rPr>
              <a:t>完成</a:t>
            </a:r>
            <a:endParaRPr lang="en-US" sz="1400" b="1" dirty="0" smtClean="0">
              <a:solidFill>
                <a:schemeClr val="bg1"/>
              </a:solidFill>
            </a:endParaRPr>
          </a:p>
        </p:txBody>
      </p:sp>
      <p:sp>
        <p:nvSpPr>
          <p:cNvPr id="34" name="TextBox 33"/>
          <p:cNvSpPr txBox="1"/>
          <p:nvPr/>
        </p:nvSpPr>
        <p:spPr>
          <a:xfrm>
            <a:off x="2462924" y="1535201"/>
            <a:ext cx="2011680" cy="512780"/>
          </a:xfrm>
          <a:prstGeom prst="rect">
            <a:avLst/>
          </a:prstGeom>
          <a:noFill/>
        </p:spPr>
        <p:txBody>
          <a:bodyPr wrap="square" lIns="0" tIns="0" rIns="0" bIns="0" rtlCol="0">
            <a:noAutofit/>
          </a:bodyPr>
          <a:lstStyle/>
          <a:p>
            <a:r>
              <a:rPr lang="ja-JP" altLang="en-US" sz="1200" i="1" dirty="0" smtClean="0">
                <a:latin typeface="ＭＳ Ｐゴシック" panose="020B0600070205080204" pitchFamily="50" charset="-128"/>
                <a:ea typeface="ＭＳ Ｐゴシック" panose="020B0600070205080204" pitchFamily="50" charset="-128"/>
              </a:rPr>
              <a:t>沈殿槽と配水箱用</a:t>
            </a:r>
            <a:r>
              <a:rPr lang="ja-JP" altLang="en-US" sz="1200" i="1" dirty="0">
                <a:latin typeface="ＭＳ Ｐゴシック" panose="020B0600070205080204" pitchFamily="50" charset="-128"/>
                <a:ea typeface="ＭＳ Ｐゴシック" panose="020B0600070205080204" pitchFamily="50" charset="-128"/>
              </a:rPr>
              <a:t>のレンガを敷く</a:t>
            </a:r>
            <a:endParaRPr lang="en-US" sz="1200" i="1" dirty="0" smtClean="0">
              <a:latin typeface="ＭＳ Ｐゴシック" panose="020B0600070205080204" pitchFamily="50" charset="-128"/>
              <a:ea typeface="ＭＳ Ｐゴシック" panose="020B0600070205080204" pitchFamily="50" charset="-128"/>
            </a:endParaRPr>
          </a:p>
        </p:txBody>
      </p:sp>
      <p:sp>
        <p:nvSpPr>
          <p:cNvPr id="35" name="TextBox 34"/>
          <p:cNvSpPr txBox="1"/>
          <p:nvPr/>
        </p:nvSpPr>
        <p:spPr>
          <a:xfrm>
            <a:off x="6557500" y="1535201"/>
            <a:ext cx="2011680" cy="512780"/>
          </a:xfrm>
          <a:prstGeom prst="rect">
            <a:avLst/>
          </a:prstGeom>
          <a:noFill/>
        </p:spPr>
        <p:txBody>
          <a:bodyPr wrap="square" lIns="0" tIns="0" rIns="0" bIns="0" rtlCol="0">
            <a:noAutofit/>
          </a:bodyPr>
          <a:lstStyle/>
          <a:p>
            <a:r>
              <a:rPr lang="ja-JP" altLang="en-US" sz="1200" i="1" dirty="0">
                <a:latin typeface="ＭＳ Ｐゴシック" panose="020B0600070205080204" pitchFamily="50" charset="-128"/>
                <a:ea typeface="ＭＳ Ｐゴシック" panose="020B0600070205080204" pitchFamily="50" charset="-128"/>
              </a:rPr>
              <a:t>システム全体を土壌で被覆する</a:t>
            </a:r>
            <a:endParaRPr lang="en-US" sz="1200" i="1" dirty="0" smtClean="0">
              <a:latin typeface="ＭＳ Ｐゴシック" panose="020B0600070205080204" pitchFamily="50" charset="-128"/>
              <a:ea typeface="ＭＳ Ｐゴシック" panose="020B0600070205080204" pitchFamily="50" charset="-128"/>
            </a:endParaRPr>
          </a:p>
        </p:txBody>
      </p:sp>
      <p:cxnSp>
        <p:nvCxnSpPr>
          <p:cNvPr id="25" name="Straight Connector 24"/>
          <p:cNvCxnSpPr/>
          <p:nvPr/>
        </p:nvCxnSpPr>
        <p:spPr>
          <a:xfrm flipV="1">
            <a:off x="1720563" y="2215196"/>
            <a:ext cx="1097280" cy="1399032"/>
          </a:xfrm>
          <a:prstGeom prst="line">
            <a:avLst/>
          </a:prstGeom>
          <a:ln>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1720563" y="4681165"/>
            <a:ext cx="1097280" cy="1399032"/>
          </a:xfrm>
          <a:prstGeom prst="line">
            <a:avLst/>
          </a:prstGeom>
          <a:ln>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V="1">
            <a:off x="6332644" y="4681165"/>
            <a:ext cx="1097280" cy="1399032"/>
          </a:xfrm>
          <a:prstGeom prst="line">
            <a:avLst/>
          </a:prstGeom>
          <a:ln>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6332644" y="2215196"/>
            <a:ext cx="1097280" cy="1399032"/>
          </a:xfrm>
          <a:prstGeom prst="line">
            <a:avLst/>
          </a:prstGeom>
          <a:ln>
            <a:solidFill>
              <a:schemeClr val="bg1">
                <a:lumMod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28" name="Picture 27"/>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5028372" y="2168995"/>
            <a:ext cx="1219200" cy="914400"/>
          </a:xfrm>
          <a:prstGeom prst="rect">
            <a:avLst/>
          </a:prstGeom>
        </p:spPr>
      </p:pic>
      <p:pic>
        <p:nvPicPr>
          <p:cNvPr id="32" name="Picture 31"/>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5028372" y="4223965"/>
            <a:ext cx="1219200" cy="914400"/>
          </a:xfrm>
          <a:prstGeom prst="rect">
            <a:avLst/>
          </a:prstGeom>
        </p:spPr>
      </p:pic>
      <p:pic>
        <p:nvPicPr>
          <p:cNvPr id="36" name="Picture 35"/>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5028372" y="5251450"/>
            <a:ext cx="1219200" cy="914400"/>
          </a:xfrm>
          <a:prstGeom prst="rect">
            <a:avLst/>
          </a:prstGeom>
        </p:spPr>
      </p:pic>
      <p:pic>
        <p:nvPicPr>
          <p:cNvPr id="37" name="Picture 36"/>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5028372" y="3196480"/>
            <a:ext cx="1219200" cy="914400"/>
          </a:xfrm>
          <a:prstGeom prst="rect">
            <a:avLst/>
          </a:prstGeom>
        </p:spPr>
      </p:pic>
      <p:sp>
        <p:nvSpPr>
          <p:cNvPr id="41" name="TextBox 40"/>
          <p:cNvSpPr txBox="1"/>
          <p:nvPr/>
        </p:nvSpPr>
        <p:spPr>
          <a:xfrm>
            <a:off x="4510212" y="1035156"/>
            <a:ext cx="2194560" cy="427669"/>
          </a:xfrm>
          <a:prstGeom prst="chevron">
            <a:avLst/>
          </a:prstGeom>
          <a:solidFill>
            <a:srgbClr val="67103F"/>
          </a:solidFill>
        </p:spPr>
        <p:txBody>
          <a:bodyPr wrap="square" lIns="0" tIns="0" rIns="0" bIns="0" rtlCol="0" anchor="ctr">
            <a:noAutofit/>
          </a:bodyPr>
          <a:lstStyle/>
          <a:p>
            <a:pPr algn="ctr"/>
            <a:r>
              <a:rPr lang="ja-JP" altLang="en-US" sz="1400" b="1" dirty="0" smtClean="0">
                <a:solidFill>
                  <a:schemeClr val="bg1"/>
                </a:solidFill>
                <a:latin typeface="ＭＳ Ｐゴシック" panose="020B0600070205080204" pitchFamily="50" charset="-128"/>
                <a:ea typeface="ＭＳ Ｐゴシック" panose="020B0600070205080204" pitchFamily="50" charset="-128"/>
              </a:rPr>
              <a:t>トレンチの設置</a:t>
            </a:r>
            <a:endParaRPr lang="en-US" sz="1400" dirty="0" smtClean="0">
              <a:solidFill>
                <a:schemeClr val="bg1"/>
              </a:solidFill>
              <a:latin typeface="ＭＳ Ｐゴシック" panose="020B0600070205080204" pitchFamily="50" charset="-128"/>
              <a:ea typeface="ＭＳ Ｐゴシック" panose="020B0600070205080204" pitchFamily="50" charset="-128"/>
            </a:endParaRPr>
          </a:p>
        </p:txBody>
      </p:sp>
      <p:sp>
        <p:nvSpPr>
          <p:cNvPr id="42" name="TextBox 41"/>
          <p:cNvSpPr txBox="1"/>
          <p:nvPr/>
        </p:nvSpPr>
        <p:spPr>
          <a:xfrm>
            <a:off x="4510212" y="1535201"/>
            <a:ext cx="2011680" cy="512780"/>
          </a:xfrm>
          <a:prstGeom prst="rect">
            <a:avLst/>
          </a:prstGeom>
          <a:noFill/>
        </p:spPr>
        <p:txBody>
          <a:bodyPr wrap="square" lIns="0" tIns="0" rIns="0" bIns="0" rtlCol="0">
            <a:noAutofit/>
          </a:bodyPr>
          <a:lstStyle/>
          <a:p>
            <a:r>
              <a:rPr lang="ja-JP" altLang="en-US" sz="1200" i="1" dirty="0">
                <a:latin typeface="ＭＳ Ｐゴシック" panose="020B0600070205080204" pitchFamily="50" charset="-128"/>
                <a:ea typeface="ＭＳ Ｐゴシック" panose="020B0600070205080204" pitchFamily="50" charset="-128"/>
              </a:rPr>
              <a:t>管、礫 、プラスチックシート、ネット</a:t>
            </a:r>
            <a:r>
              <a:rPr lang="ja-JP" altLang="en-US" sz="1200" i="1" dirty="0" smtClean="0">
                <a:latin typeface="ＭＳ Ｐゴシック" panose="020B0600070205080204" pitchFamily="50" charset="-128"/>
                <a:ea typeface="ＭＳ Ｐゴシック" panose="020B0600070205080204" pitchFamily="50" charset="-128"/>
              </a:rPr>
              <a:t>を配置する</a:t>
            </a:r>
            <a:endParaRPr lang="en-US" sz="1200" i="1" dirty="0" smtClean="0">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279092866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957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ja-JP" altLang="en-US" u="sng" dirty="0">
                <a:latin typeface="ＭＳ Ｐゴシック" panose="020B0600070205080204" pitchFamily="50" charset="-128"/>
                <a:ea typeface="ＭＳ Ｐゴシック" panose="020B0600070205080204" pitchFamily="50" charset="-128"/>
              </a:rPr>
              <a:t>ニイミトレンチ： </a:t>
            </a:r>
            <a:r>
              <a:rPr lang="ja-JP" altLang="en-US" b="0" i="1" dirty="0" smtClean="0">
                <a:latin typeface="ＭＳ Ｐゴシック" panose="020B0600070205080204" pitchFamily="50" charset="-128"/>
                <a:ea typeface="ＭＳ Ｐゴシック" panose="020B0600070205080204" pitchFamily="50" charset="-128"/>
              </a:rPr>
              <a:t>利用者がほとんど</a:t>
            </a:r>
            <a:r>
              <a:rPr lang="ja-JP" altLang="en-US" b="0" i="1" dirty="0">
                <a:latin typeface="ＭＳ Ｐゴシック" panose="020B0600070205080204" pitchFamily="50" charset="-128"/>
                <a:ea typeface="ＭＳ Ｐゴシック" panose="020B0600070205080204" pitchFamily="50" charset="-128"/>
              </a:rPr>
              <a:t>の維持管理を行うことができ、約</a:t>
            </a:r>
            <a:r>
              <a:rPr lang="en-US" altLang="ja-JP" b="0" i="1" dirty="0">
                <a:latin typeface="ＭＳ Ｐゴシック" panose="020B0600070205080204" pitchFamily="50" charset="-128"/>
                <a:ea typeface="ＭＳ Ｐゴシック" panose="020B0600070205080204" pitchFamily="50" charset="-128"/>
              </a:rPr>
              <a:t>1</a:t>
            </a:r>
            <a:r>
              <a:rPr lang="ja-JP" altLang="en-US" b="0" i="1" dirty="0">
                <a:latin typeface="ＭＳ Ｐゴシック" panose="020B0600070205080204" pitchFamily="50" charset="-128"/>
                <a:ea typeface="ＭＳ Ｐゴシック" panose="020B0600070205080204" pitchFamily="50" charset="-128"/>
              </a:rPr>
              <a:t>年に</a:t>
            </a:r>
            <a:r>
              <a:rPr lang="en-US" altLang="ja-JP" b="0" i="1" dirty="0">
                <a:latin typeface="ＭＳ Ｐゴシック" panose="020B0600070205080204" pitchFamily="50" charset="-128"/>
                <a:ea typeface="ＭＳ Ｐゴシック" panose="020B0600070205080204" pitchFamily="50" charset="-128"/>
              </a:rPr>
              <a:t>1</a:t>
            </a:r>
            <a:r>
              <a:rPr lang="ja-JP" altLang="en-US" b="0" i="1" dirty="0" smtClean="0">
                <a:latin typeface="ＭＳ Ｐゴシック" panose="020B0600070205080204" pitchFamily="50" charset="-128"/>
                <a:ea typeface="ＭＳ Ｐゴシック" panose="020B0600070205080204" pitchFamily="50" charset="-128"/>
              </a:rPr>
              <a:t>回、吸引ポンプを洗浄する必要がある</a:t>
            </a:r>
            <a:endParaRPr lang="en-US" b="0" i="1" dirty="0">
              <a:latin typeface="ＭＳ Ｐゴシック" panose="020B0600070205080204" pitchFamily="50" charset="-128"/>
              <a:ea typeface="ＭＳ Ｐゴシック" panose="020B0600070205080204" pitchFamily="50" charset="-128"/>
            </a:endParaRPr>
          </a:p>
        </p:txBody>
      </p:sp>
      <p:sp>
        <p:nvSpPr>
          <p:cNvPr id="15" name="Oval 14"/>
          <p:cNvSpPr/>
          <p:nvPr/>
        </p:nvSpPr>
        <p:spPr>
          <a:xfrm>
            <a:off x="67021" y="90655"/>
            <a:ext cx="274320" cy="2743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bg1"/>
                </a:solidFill>
              </a:rPr>
              <a:t>1</a:t>
            </a:r>
            <a:endParaRPr lang="en-US" sz="1400" b="1" dirty="0">
              <a:solidFill>
                <a:schemeClr val="bg1"/>
              </a:solidFill>
            </a:endParaRPr>
          </a:p>
        </p:txBody>
      </p:sp>
      <p:pic>
        <p:nvPicPr>
          <p:cNvPr id="17" name="Picture 1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15638" y="1876096"/>
            <a:ext cx="1950720" cy="1463040"/>
          </a:xfrm>
          <a:prstGeom prst="rect">
            <a:avLst/>
          </a:prstGeom>
        </p:spPr>
      </p:pic>
      <p:pic>
        <p:nvPicPr>
          <p:cNvPr id="21" name="Picture 20"/>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167313" y="1876096"/>
            <a:ext cx="1447800" cy="1085850"/>
          </a:xfrm>
          <a:prstGeom prst="rect">
            <a:avLst/>
          </a:prstGeom>
        </p:spPr>
      </p:pic>
      <p:pic>
        <p:nvPicPr>
          <p:cNvPr id="28" name="Picture 27"/>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15638" y="4161291"/>
            <a:ext cx="1950720" cy="1463040"/>
          </a:xfrm>
          <a:prstGeom prst="rect">
            <a:avLst/>
          </a:prstGeom>
        </p:spPr>
      </p:pic>
      <p:sp>
        <p:nvSpPr>
          <p:cNvPr id="29" name="TextBox 28"/>
          <p:cNvSpPr txBox="1"/>
          <p:nvPr/>
        </p:nvSpPr>
        <p:spPr>
          <a:xfrm>
            <a:off x="395288" y="1020009"/>
            <a:ext cx="3441988" cy="433622"/>
          </a:xfrm>
          <a:prstGeom prst="rect">
            <a:avLst/>
          </a:prstGeom>
          <a:noFill/>
        </p:spPr>
        <p:txBody>
          <a:bodyPr wrap="square" lIns="0" tIns="0" rIns="0" bIns="0" rtlCol="0">
            <a:noAutofit/>
          </a:bodyPr>
          <a:lstStyle/>
          <a:p>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か月毎に廃水の流れる方向を変える必要がある</a:t>
            </a:r>
            <a:endParaRPr lang="en-US" sz="1400" dirty="0" smtClean="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8" name="Straight Connector 7"/>
          <p:cNvCxnSpPr/>
          <p:nvPr/>
        </p:nvCxnSpPr>
        <p:spPr>
          <a:xfrm>
            <a:off x="395288" y="1496495"/>
            <a:ext cx="3441988"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5167313" y="1020009"/>
            <a:ext cx="3441988" cy="433622"/>
          </a:xfrm>
          <a:prstGeom prst="rect">
            <a:avLst/>
          </a:prstGeom>
          <a:noFill/>
        </p:spPr>
        <p:txBody>
          <a:bodyPr wrap="square" lIns="0" tIns="0" rIns="0" bIns="0" rtlCol="0">
            <a:noAutofit/>
          </a:bodyPr>
          <a:lstStyle/>
          <a:p>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沈殿槽は約</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b="1" dirty="0" smtClean="0">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回</a:t>
            </a:r>
            <a:r>
              <a:rPr lang="ja-JP" altLang="en-US" sz="1400" b="1" dirty="0" smtClean="0">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洗浄しなくてはならない </a:t>
            </a:r>
            <a:endParaRPr 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43" name="Straight Connector 42"/>
          <p:cNvCxnSpPr/>
          <p:nvPr/>
        </p:nvCxnSpPr>
        <p:spPr>
          <a:xfrm>
            <a:off x="5167313" y="1496495"/>
            <a:ext cx="3441988"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rotWithShape="1">
          <a:blip r:embed="rId9"/>
          <a:srcRect l="42300" t="45508" r="43741" b="35937"/>
          <a:stretch/>
        </p:blipFill>
        <p:spPr>
          <a:xfrm>
            <a:off x="7158038" y="3112875"/>
            <a:ext cx="1088708" cy="813613"/>
          </a:xfrm>
          <a:prstGeom prst="rect">
            <a:avLst/>
          </a:prstGeom>
        </p:spPr>
      </p:pic>
      <p:sp>
        <p:nvSpPr>
          <p:cNvPr id="44" name="TextBox 43"/>
          <p:cNvSpPr txBox="1"/>
          <p:nvPr/>
        </p:nvSpPr>
        <p:spPr>
          <a:xfrm>
            <a:off x="395288" y="3417800"/>
            <a:ext cx="3441988" cy="433622"/>
          </a:xfrm>
          <a:prstGeom prst="rect">
            <a:avLst/>
          </a:prstGeom>
          <a:noFill/>
        </p:spPr>
        <p:txBody>
          <a:bodyPr wrap="square" lIns="0" tIns="0" rIns="0" bIns="0" rtlCol="0">
            <a:noAutofit/>
          </a:bodyPr>
          <a:lstStyle/>
          <a:p>
            <a:r>
              <a:rPr lang="ja-JP" altLang="en-US" sz="1400" i="1" dirty="0">
                <a:latin typeface="ＭＳ Ｐゴシック" panose="020B0600070205080204" pitchFamily="50" charset="-128"/>
                <a:ea typeface="ＭＳ Ｐゴシック" panose="020B0600070205080204" pitchFamily="50" charset="-128"/>
              </a:rPr>
              <a:t>配水箱には廃水の流れの方向を</a:t>
            </a:r>
            <a:r>
              <a:rPr lang="ja-JP" altLang="en-US" sz="1400" i="1" dirty="0" smtClean="0">
                <a:latin typeface="ＭＳ Ｐゴシック" panose="020B0600070205080204" pitchFamily="50" charset="-128"/>
                <a:ea typeface="ＭＳ Ｐゴシック" panose="020B0600070205080204" pitchFamily="50" charset="-128"/>
              </a:rPr>
              <a:t>変えるの</a:t>
            </a:r>
            <a:r>
              <a:rPr lang="ja-JP" altLang="en-US" sz="1400" i="1" dirty="0">
                <a:latin typeface="ＭＳ Ｐゴシック" panose="020B0600070205080204" pitchFamily="50" charset="-128"/>
                <a:ea typeface="ＭＳ Ｐゴシック" panose="020B0600070205080204" pitchFamily="50" charset="-128"/>
              </a:rPr>
              <a:t>に</a:t>
            </a:r>
            <a:r>
              <a:rPr lang="ja-JP" altLang="en-US" sz="1400" i="1" dirty="0" smtClean="0">
                <a:latin typeface="ＭＳ Ｐゴシック" panose="020B0600070205080204" pitchFamily="50" charset="-128"/>
                <a:ea typeface="ＭＳ Ｐゴシック" panose="020B0600070205080204" pitchFamily="50" charset="-128"/>
              </a:rPr>
              <a:t>用いる</a:t>
            </a:r>
            <a:r>
              <a:rPr lang="en-US" altLang="ja-JP" sz="1400" i="1" dirty="0">
                <a:latin typeface="ＭＳ Ｐゴシック" panose="020B0600070205080204" pitchFamily="50" charset="-128"/>
                <a:ea typeface="ＭＳ Ｐゴシック" panose="020B0600070205080204" pitchFamily="50" charset="-128"/>
              </a:rPr>
              <a:t>L</a:t>
            </a:r>
            <a:r>
              <a:rPr lang="ja-JP" altLang="en-US" sz="1400" i="1" dirty="0">
                <a:latin typeface="ＭＳ Ｐゴシック" panose="020B0600070205080204" pitchFamily="50" charset="-128"/>
                <a:ea typeface="ＭＳ Ｐゴシック" panose="020B0600070205080204" pitchFamily="50" charset="-128"/>
              </a:rPr>
              <a:t>曲げ</a:t>
            </a:r>
            <a:r>
              <a:rPr lang="ja-JP" altLang="en-US" sz="1400" i="1" dirty="0" smtClean="0">
                <a:latin typeface="ＭＳ Ｐゴシック" panose="020B0600070205080204" pitchFamily="50" charset="-128"/>
                <a:ea typeface="ＭＳ Ｐゴシック" panose="020B0600070205080204" pitchFamily="50" charset="-128"/>
              </a:rPr>
              <a:t>がついてい</a:t>
            </a:r>
            <a:r>
              <a:rPr lang="ja-JP" altLang="en-US" sz="1400" i="1" dirty="0">
                <a:latin typeface="ＭＳ Ｐゴシック" panose="020B0600070205080204" pitchFamily="50" charset="-128"/>
                <a:ea typeface="ＭＳ Ｐゴシック" panose="020B0600070205080204" pitchFamily="50" charset="-128"/>
              </a:rPr>
              <a:t>る</a:t>
            </a:r>
            <a:endParaRPr lang="en-US" sz="1400" i="1" dirty="0" smtClean="0">
              <a:latin typeface="ＭＳ Ｐゴシック" panose="020B0600070205080204" pitchFamily="50" charset="-128"/>
              <a:ea typeface="ＭＳ Ｐゴシック" panose="020B0600070205080204" pitchFamily="50" charset="-128"/>
            </a:endParaRPr>
          </a:p>
        </p:txBody>
      </p:sp>
      <p:sp>
        <p:nvSpPr>
          <p:cNvPr id="45" name="TextBox 44"/>
          <p:cNvSpPr txBox="1"/>
          <p:nvPr/>
        </p:nvSpPr>
        <p:spPr>
          <a:xfrm>
            <a:off x="395288" y="5732228"/>
            <a:ext cx="3441988" cy="433622"/>
          </a:xfrm>
          <a:prstGeom prst="rect">
            <a:avLst/>
          </a:prstGeom>
          <a:noFill/>
        </p:spPr>
        <p:txBody>
          <a:bodyPr wrap="square" lIns="0" tIns="0" rIns="0" bIns="0" rtlCol="0">
            <a:noAutofit/>
          </a:bodyPr>
          <a:lstStyle/>
          <a:p>
            <a:r>
              <a:rPr lang="ja-JP" altLang="en-US" sz="1400" i="1" dirty="0">
                <a:latin typeface="ＭＳ Ｐゴシック" panose="020B0600070205080204" pitchFamily="50" charset="-128"/>
                <a:ea typeface="ＭＳ Ｐゴシック" panose="020B0600070205080204" pitchFamily="50" charset="-128"/>
              </a:rPr>
              <a:t>土壌の</a:t>
            </a:r>
            <a:r>
              <a:rPr lang="ja-JP" altLang="en-US" sz="1400" i="1" dirty="0" smtClean="0">
                <a:latin typeface="ＭＳ Ｐゴシック" panose="020B0600070205080204" pitchFamily="50" charset="-128"/>
                <a:ea typeface="ＭＳ Ｐゴシック" panose="020B0600070205080204" pitchFamily="50" charset="-128"/>
              </a:rPr>
              <a:t>微生物が時間をかけて汚物</a:t>
            </a:r>
            <a:r>
              <a:rPr lang="ja-JP" altLang="en-US" sz="1400" i="1" dirty="0">
                <a:latin typeface="ＭＳ Ｐゴシック" panose="020B0600070205080204" pitchFamily="50" charset="-128"/>
                <a:ea typeface="ＭＳ Ｐゴシック" panose="020B0600070205080204" pitchFamily="50" charset="-128"/>
              </a:rPr>
              <a:t>を</a:t>
            </a:r>
            <a:r>
              <a:rPr lang="ja-JP" altLang="en-US" sz="1400" i="1" dirty="0" smtClean="0">
                <a:latin typeface="ＭＳ Ｐゴシック" panose="020B0600070205080204" pitchFamily="50" charset="-128"/>
                <a:ea typeface="ＭＳ Ｐゴシック" panose="020B0600070205080204" pitchFamily="50" charset="-128"/>
              </a:rPr>
              <a:t>分解できるよう、</a:t>
            </a:r>
            <a:r>
              <a:rPr lang="ja-JP" altLang="en-US" sz="1400" i="1" dirty="0">
                <a:latin typeface="ＭＳ Ｐゴシック" panose="020B0600070205080204" pitchFamily="50" charset="-128"/>
                <a:ea typeface="ＭＳ Ｐゴシック" panose="020B0600070205080204" pitchFamily="50" charset="-128"/>
              </a:rPr>
              <a:t>管は</a:t>
            </a:r>
            <a:r>
              <a:rPr lang="en-US" altLang="ja-JP" sz="1400" i="1" dirty="0">
                <a:latin typeface="ＭＳ Ｐゴシック" panose="020B0600070205080204" pitchFamily="50" charset="-128"/>
                <a:ea typeface="ＭＳ Ｐゴシック" panose="020B0600070205080204" pitchFamily="50" charset="-128"/>
              </a:rPr>
              <a:t>6</a:t>
            </a:r>
            <a:r>
              <a:rPr lang="ja-JP" altLang="en-US" sz="1400" i="1" dirty="0">
                <a:latin typeface="ＭＳ Ｐゴシック" panose="020B0600070205080204" pitchFamily="50" charset="-128"/>
                <a:ea typeface="ＭＳ Ｐゴシック" panose="020B0600070205080204" pitchFamily="50" charset="-128"/>
              </a:rPr>
              <a:t>か月毎</a:t>
            </a:r>
            <a:r>
              <a:rPr lang="ja-JP" altLang="en-US" sz="1400" i="1" dirty="0" smtClean="0">
                <a:latin typeface="ＭＳ Ｐゴシック" panose="020B0600070205080204" pitchFamily="50" charset="-128"/>
                <a:ea typeface="ＭＳ Ｐゴシック" panose="020B0600070205080204" pitchFamily="50" charset="-128"/>
              </a:rPr>
              <a:t>に交互に使用</a:t>
            </a:r>
            <a:r>
              <a:rPr lang="ja-JP" altLang="en-US" sz="1400" i="1" dirty="0">
                <a:latin typeface="ＭＳ Ｐゴシック" panose="020B0600070205080204" pitchFamily="50" charset="-128"/>
                <a:ea typeface="ＭＳ Ｐゴシック" panose="020B0600070205080204" pitchFamily="50" charset="-128"/>
              </a:rPr>
              <a:t>する</a:t>
            </a:r>
            <a:endParaRPr lang="en-US" sz="1400" i="1" dirty="0" smtClean="0">
              <a:latin typeface="ＭＳ Ｐゴシック" panose="020B0600070205080204" pitchFamily="50" charset="-128"/>
              <a:ea typeface="ＭＳ Ｐゴシック" panose="020B0600070205080204" pitchFamily="50" charset="-128"/>
            </a:endParaRPr>
          </a:p>
        </p:txBody>
      </p:sp>
      <p:sp>
        <p:nvSpPr>
          <p:cNvPr id="46" name="TextBox 45"/>
          <p:cNvSpPr txBox="1"/>
          <p:nvPr/>
        </p:nvSpPr>
        <p:spPr>
          <a:xfrm>
            <a:off x="5167313" y="4053782"/>
            <a:ext cx="3441988" cy="884389"/>
          </a:xfrm>
          <a:prstGeom prst="rect">
            <a:avLst/>
          </a:prstGeom>
          <a:noFill/>
        </p:spPr>
        <p:txBody>
          <a:bodyPr wrap="square" lIns="0" tIns="0" rIns="0" bIns="0" rtlCol="0">
            <a:noAutofit/>
          </a:bodyPr>
          <a:lstStyle/>
          <a:p>
            <a:r>
              <a:rPr lang="ja-JP" altLang="en-US" sz="1400" i="1" dirty="0">
                <a:latin typeface="ＭＳ Ｐゴシック" panose="020B0600070205080204" pitchFamily="50" charset="-128"/>
                <a:ea typeface="ＭＳ Ｐゴシック" panose="020B0600070205080204" pitchFamily="50" charset="-128"/>
              </a:rPr>
              <a:t>特にインドでは手作業で</a:t>
            </a:r>
            <a:r>
              <a:rPr lang="ja-JP" altLang="en-US" sz="1400" i="1" dirty="0" smtClean="0">
                <a:latin typeface="ＭＳ Ｐゴシック" panose="020B0600070205080204" pitchFamily="50" charset="-128"/>
                <a:ea typeface="ＭＳ Ｐゴシック" panose="020B0600070205080204" pitchFamily="50" charset="-128"/>
              </a:rPr>
              <a:t>の汲み取りが</a:t>
            </a:r>
            <a:r>
              <a:rPr lang="ja-JP" altLang="en-US" sz="1400" i="1" dirty="0">
                <a:latin typeface="ＭＳ Ｐゴシック" panose="020B0600070205080204" pitchFamily="50" charset="-128"/>
                <a:ea typeface="ＭＳ Ｐゴシック" panose="020B0600070205080204" pitchFamily="50" charset="-128"/>
              </a:rPr>
              <a:t>違法とされているため、沈殿槽は通常、吸引</a:t>
            </a:r>
            <a:r>
              <a:rPr lang="ja-JP" altLang="en-US" sz="1400" i="1" dirty="0" smtClean="0">
                <a:latin typeface="ＭＳ Ｐゴシック" panose="020B0600070205080204" pitchFamily="50" charset="-128"/>
                <a:ea typeface="ＭＳ Ｐゴシック" panose="020B0600070205080204" pitchFamily="50" charset="-128"/>
              </a:rPr>
              <a:t>トラックにより洗浄</a:t>
            </a:r>
            <a:r>
              <a:rPr lang="ja-JP" altLang="en-US" sz="1400" i="1" dirty="0">
                <a:latin typeface="ＭＳ Ｐゴシック" panose="020B0600070205080204" pitchFamily="50" charset="-128"/>
                <a:ea typeface="ＭＳ Ｐゴシック" panose="020B0600070205080204" pitchFamily="50" charset="-128"/>
              </a:rPr>
              <a:t>するが</a:t>
            </a:r>
            <a:r>
              <a:rPr lang="ja-JP" altLang="en-US" sz="1400" i="1" dirty="0" smtClean="0">
                <a:latin typeface="ＭＳ Ｐゴシック" panose="020B0600070205080204" pitchFamily="50" charset="-128"/>
                <a:ea typeface="ＭＳ Ｐゴシック" panose="020B0600070205080204" pitchFamily="50" charset="-128"/>
              </a:rPr>
              <a:t>、遠隔地や農村地域では困難</a:t>
            </a:r>
            <a:r>
              <a:rPr lang="ja-JP" altLang="en-US" sz="1400" i="1" dirty="0">
                <a:latin typeface="ＭＳ Ｐゴシック" panose="020B0600070205080204" pitchFamily="50" charset="-128"/>
                <a:ea typeface="ＭＳ Ｐゴシック" panose="020B0600070205080204" pitchFamily="50" charset="-128"/>
              </a:rPr>
              <a:t>な可能性がある</a:t>
            </a:r>
            <a:endParaRPr lang="en-US" sz="1400" i="1" dirty="0" smtClean="0">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243786288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ext uri="{D42A27DB-BD31-4B8C-83A1-F6EECF244321}">
                <p14:modId xmlns:p14="http://schemas.microsoft.com/office/powerpoint/2010/main" val="9789569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0626"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dirty="0">
              <a:latin typeface="Calibri" panose="020F0502020204030204" pitchFamily="34" charset="0"/>
              <a:sym typeface="Calibri" panose="020F0502020204030204" pitchFamily="34" charset="0"/>
            </a:endParaRPr>
          </a:p>
        </p:txBody>
      </p:sp>
      <p:sp>
        <p:nvSpPr>
          <p:cNvPr id="2" name="Title 1"/>
          <p:cNvSpPr>
            <a:spLocks noGrp="1"/>
          </p:cNvSpPr>
          <p:nvPr>
            <p:ph type="title"/>
          </p:nvPr>
        </p:nvSpPr>
        <p:spPr/>
        <p:txBody>
          <a:bodyPr/>
          <a:lstStyle/>
          <a:p>
            <a:r>
              <a:rPr lang="ja-JP" altLang="ja-JP" u="sng" dirty="0" smtClean="0">
                <a:latin typeface="ＭＳ Ｐゴシック" panose="020B0600070205080204" pitchFamily="50" charset="-128"/>
                <a:ea typeface="ＭＳ Ｐゴシック" panose="020B0600070205080204" pitchFamily="50" charset="-128"/>
              </a:rPr>
              <a:t>ニイミトレンチ：</a:t>
            </a:r>
            <a:r>
              <a:rPr lang="ja-JP" altLang="ja-JP" b="0" i="1" dirty="0" smtClean="0">
                <a:latin typeface="ＭＳ Ｐゴシック" panose="020B0600070205080204" pitchFamily="50" charset="-128"/>
                <a:ea typeface="ＭＳ Ｐゴシック" panose="020B0600070205080204" pitchFamily="50" charset="-128"/>
              </a:rPr>
              <a:t>家庭</a:t>
            </a:r>
            <a:r>
              <a:rPr lang="ja-JP" altLang="en-US" b="0" i="1" dirty="0" smtClean="0">
                <a:latin typeface="ＭＳ Ｐゴシック" panose="020B0600070205080204" pitchFamily="50" charset="-128"/>
                <a:ea typeface="ＭＳ Ｐゴシック" panose="020B0600070205080204" pitchFamily="50" charset="-128"/>
              </a:rPr>
              <a:t>で使用する場合</a:t>
            </a:r>
            <a:r>
              <a:rPr lang="ja-JP" altLang="ja-JP" b="0" i="1" dirty="0" smtClean="0">
                <a:latin typeface="ＭＳ Ｐゴシック" panose="020B0600070205080204" pitchFamily="50" charset="-128"/>
                <a:ea typeface="ＭＳ Ｐゴシック" panose="020B0600070205080204" pitchFamily="50" charset="-128"/>
              </a:rPr>
              <a:t>、農村地域で通常使用されている浄化槽・排水穴システムよりも高価</a:t>
            </a:r>
            <a:endParaRPr lang="en-US" b="0" i="1" dirty="0">
              <a:latin typeface="ＭＳ Ｐゴシック" panose="020B0600070205080204" pitchFamily="50" charset="-128"/>
              <a:ea typeface="ＭＳ Ｐゴシック" panose="020B0600070205080204" pitchFamily="50" charset="-128"/>
            </a:endParaRPr>
          </a:p>
        </p:txBody>
      </p:sp>
      <p:sp>
        <p:nvSpPr>
          <p:cNvPr id="3" name="Text Placeholder 2"/>
          <p:cNvSpPr>
            <a:spLocks noGrp="1"/>
          </p:cNvSpPr>
          <p:nvPr>
            <p:ph type="body" sz="quarter" idx="37"/>
          </p:nvPr>
        </p:nvSpPr>
        <p:spPr/>
        <p:txBody>
          <a:bodyPr/>
          <a:lstStyle/>
          <a:p>
            <a:r>
              <a:rPr lang="en-US" baseline="30000" dirty="0" smtClean="0"/>
              <a:t>1</a:t>
            </a:r>
            <a:r>
              <a:rPr lang="ja-JP" altLang="ja-JP" dirty="0" smtClean="0">
                <a:latin typeface="Arial" panose="020B0604020202020204" pitchFamily="34" charset="0"/>
                <a:ea typeface="ＭＳ Ｐゴシック" panose="020B0600070205080204" pitchFamily="50" charset="-128"/>
                <a:cs typeface="Arial" panose="020B0604020202020204" pitchFamily="34" charset="0"/>
              </a:rPr>
              <a:t>輸入</a:t>
            </a:r>
            <a:r>
              <a:rPr lang="ja-JP" altLang="ja-JP" dirty="0">
                <a:latin typeface="Arial" panose="020B0604020202020204" pitchFamily="34" charset="0"/>
                <a:ea typeface="ＭＳ Ｐゴシック" panose="020B0600070205080204" pitchFamily="50" charset="-128"/>
                <a:cs typeface="Arial" panose="020B0604020202020204" pitchFamily="34" charset="0"/>
              </a:rPr>
              <a:t>資材（トレンチと沈殿槽に用いるナイロンネット、プラスチックシート）を現地調達に切り替えることで</a:t>
            </a:r>
            <a:r>
              <a:rPr lang="ja-JP" altLang="ja-JP" dirty="0" smtClean="0">
                <a:latin typeface="Arial" panose="020B0604020202020204" pitchFamily="34" charset="0"/>
                <a:ea typeface="ＭＳ Ｐゴシック" panose="020B0600070205080204" pitchFamily="50" charset="-128"/>
                <a:cs typeface="Arial" panose="020B0604020202020204" pitchFamily="34" charset="0"/>
              </a:rPr>
              <a:t>、</a:t>
            </a:r>
            <a:r>
              <a:rPr lang="en-US" altLang="ja-JP" dirty="0" smtClean="0">
                <a:latin typeface="Arial" panose="020B0604020202020204" pitchFamily="34" charset="0"/>
                <a:ea typeface="ＭＳ Ｐゴシック" panose="020B0600070205080204" pitchFamily="50" charset="-128"/>
                <a:cs typeface="Arial" panose="020B0604020202020204" pitchFamily="34" charset="0"/>
              </a:rPr>
              <a:t>370</a:t>
            </a:r>
            <a:r>
              <a:rPr lang="ja-JP" altLang="ja-JP" dirty="0">
                <a:latin typeface="Arial" panose="020B0604020202020204" pitchFamily="34" charset="0"/>
                <a:ea typeface="ＭＳ Ｐゴシック" panose="020B0600070205080204" pitchFamily="50" charset="-128"/>
                <a:cs typeface="Arial" panose="020B0604020202020204" pitchFamily="34" charset="0"/>
              </a:rPr>
              <a:t>米ドルを</a:t>
            </a:r>
            <a:r>
              <a:rPr lang="en-US" altLang="ja-JP" dirty="0">
                <a:latin typeface="Arial" panose="020B0604020202020204" pitchFamily="34" charset="0"/>
                <a:ea typeface="ＭＳ Ｐゴシック" panose="020B0600070205080204" pitchFamily="50" charset="-128"/>
                <a:cs typeface="Arial" panose="020B0604020202020204" pitchFamily="34" charset="0"/>
              </a:rPr>
              <a:t>100</a:t>
            </a:r>
            <a:r>
              <a:rPr lang="ja-JP" altLang="ja-JP" dirty="0">
                <a:latin typeface="Arial" panose="020B0604020202020204" pitchFamily="34" charset="0"/>
                <a:ea typeface="ＭＳ Ｐゴシック" panose="020B0600070205080204" pitchFamily="50" charset="-128"/>
                <a:cs typeface="Arial" panose="020B0604020202020204" pitchFamily="34" charset="0"/>
              </a:rPr>
              <a:t>米ドル以内に抑えることができるが、それでもニイミトレンチには浄化槽と</a:t>
            </a:r>
            <a:r>
              <a:rPr lang="ja-JP" altLang="ja-JP" dirty="0" smtClean="0">
                <a:latin typeface="Arial" panose="020B0604020202020204" pitchFamily="34" charset="0"/>
                <a:ea typeface="ＭＳ Ｐゴシック" panose="020B0600070205080204" pitchFamily="50" charset="-128"/>
                <a:cs typeface="Arial" panose="020B0604020202020204" pitchFamily="34" charset="0"/>
              </a:rPr>
              <a:t>同じ</a:t>
            </a:r>
            <a:r>
              <a:rPr lang="ja-JP" altLang="en-US" dirty="0" smtClean="0">
                <a:latin typeface="Arial" panose="020B0604020202020204" pitchFamily="34" charset="0"/>
                <a:ea typeface="ＭＳ Ｐゴシック" panose="020B0600070205080204" pitchFamily="50" charset="-128"/>
                <a:cs typeface="Arial" panose="020B0604020202020204" pitchFamily="34" charset="0"/>
              </a:rPr>
              <a:t>だけの</a:t>
            </a:r>
            <a:r>
              <a:rPr lang="ja-JP" altLang="ja-JP" dirty="0" smtClean="0">
                <a:latin typeface="Arial" panose="020B0604020202020204" pitchFamily="34" charset="0"/>
                <a:ea typeface="ＭＳ Ｐゴシック" panose="020B0600070205080204" pitchFamily="50" charset="-128"/>
                <a:cs typeface="Arial" panose="020B0604020202020204" pitchFamily="34" charset="0"/>
              </a:rPr>
              <a:t>コスト</a:t>
            </a:r>
            <a:r>
              <a:rPr lang="ja-JP" altLang="ja-JP" dirty="0">
                <a:latin typeface="Arial" panose="020B0604020202020204" pitchFamily="34" charset="0"/>
                <a:ea typeface="ＭＳ Ｐゴシック" panose="020B0600070205080204" pitchFamily="50" charset="-128"/>
                <a:cs typeface="Arial" panose="020B0604020202020204" pitchFamily="34" charset="0"/>
              </a:rPr>
              <a:t>がかかる</a:t>
            </a:r>
          </a:p>
          <a:p>
            <a:r>
              <a:rPr lang="en-US" baseline="30000" dirty="0" smtClean="0"/>
              <a:t>2</a:t>
            </a:r>
            <a:r>
              <a:rPr lang="ja-JP" altLang="ja-JP" dirty="0">
                <a:latin typeface="Arial" panose="020B0604020202020204" pitchFamily="34" charset="0"/>
                <a:cs typeface="Arial" panose="020B0604020202020204" pitchFamily="34" charset="0"/>
              </a:rPr>
              <a:t>プラスチックシート、沈殿槽用シート、ナイロンネット</a:t>
            </a:r>
            <a:r>
              <a:rPr lang="ja-JP" altLang="ja-JP" dirty="0" smtClean="0">
                <a:latin typeface="Arial" panose="020B0604020202020204" pitchFamily="34" charset="0"/>
                <a:cs typeface="Arial" panose="020B0604020202020204" pitchFamily="34" charset="0"/>
              </a:rPr>
              <a:t>の</a:t>
            </a:r>
            <a:r>
              <a:rPr lang="ja-JP" altLang="en-US" dirty="0" smtClean="0">
                <a:latin typeface="Arial" panose="020B0604020202020204" pitchFamily="34" charset="0"/>
                <a:cs typeface="Arial" panose="020B0604020202020204" pitchFamily="34" charset="0"/>
              </a:rPr>
              <a:t>原価</a:t>
            </a:r>
            <a:r>
              <a:rPr lang="ja-JP" altLang="ja-JP" dirty="0" smtClean="0">
                <a:latin typeface="Arial" panose="020B0604020202020204" pitchFamily="34" charset="0"/>
                <a:cs typeface="Arial" panose="020B0604020202020204" pitchFamily="34" charset="0"/>
              </a:rPr>
              <a:t>の</a:t>
            </a:r>
            <a:r>
              <a:rPr lang="ja-JP" altLang="ja-JP" dirty="0">
                <a:latin typeface="Arial" panose="020B0604020202020204" pitchFamily="34" charset="0"/>
                <a:cs typeface="Arial" panose="020B0604020202020204" pitchFamily="34" charset="0"/>
              </a:rPr>
              <a:t>ほか、配送費</a:t>
            </a:r>
            <a:r>
              <a:rPr lang="en-US" altLang="ja-JP" dirty="0">
                <a:latin typeface="Arial" panose="020B0604020202020204" pitchFamily="34" charset="0"/>
                <a:cs typeface="Arial" panose="020B0604020202020204" pitchFamily="34" charset="0"/>
              </a:rPr>
              <a:t>70</a:t>
            </a:r>
            <a:r>
              <a:rPr lang="ja-JP" altLang="ja-JP" dirty="0">
                <a:latin typeface="Arial" panose="020B0604020202020204" pitchFamily="34" charset="0"/>
                <a:cs typeface="Arial" panose="020B0604020202020204" pitchFamily="34" charset="0"/>
              </a:rPr>
              <a:t>米ドルが</a:t>
            </a:r>
            <a:r>
              <a:rPr lang="ja-JP" altLang="ja-JP" dirty="0" smtClean="0">
                <a:latin typeface="Arial" panose="020B0604020202020204" pitchFamily="34" charset="0"/>
                <a:cs typeface="Arial" panose="020B0604020202020204" pitchFamily="34" charset="0"/>
              </a:rPr>
              <a:t>含まれる</a:t>
            </a:r>
            <a:endParaRPr lang="en-US" dirty="0" smtClean="0">
              <a:latin typeface="Arial" panose="020B0604020202020204" pitchFamily="34" charset="0"/>
              <a:cs typeface="Arial" panose="020B0604020202020204" pitchFamily="34" charset="0"/>
            </a:endParaRPr>
          </a:p>
          <a:p>
            <a:r>
              <a:rPr lang="en-US" baseline="30000" dirty="0" smtClean="0"/>
              <a:t>3</a:t>
            </a:r>
            <a:r>
              <a:rPr lang="ja-JP" altLang="ja-JP" dirty="0">
                <a:latin typeface="Arial" panose="020B0604020202020204" pitchFamily="34" charset="0"/>
                <a:cs typeface="Arial" panose="020B0604020202020204" pitchFamily="34" charset="0"/>
              </a:rPr>
              <a:t>資材、建設、労働、輸送にかかるコストを</a:t>
            </a:r>
            <a:r>
              <a:rPr lang="ja-JP" altLang="ja-JP" dirty="0" smtClean="0">
                <a:latin typeface="Arial" panose="020B0604020202020204" pitchFamily="34" charset="0"/>
                <a:cs typeface="Arial" panose="020B0604020202020204" pitchFamily="34" charset="0"/>
              </a:rPr>
              <a:t>含む</a:t>
            </a:r>
            <a:endParaRPr lang="en-US" dirty="0" smtClean="0">
              <a:latin typeface="Arial" panose="020B0604020202020204" pitchFamily="34" charset="0"/>
              <a:cs typeface="Arial" panose="020B0604020202020204" pitchFamily="34" charset="0"/>
            </a:endParaRPr>
          </a:p>
          <a:p>
            <a:r>
              <a:rPr lang="ja-JP" altLang="en-US" dirty="0" smtClean="0">
                <a:latin typeface="Arial" panose="020B0604020202020204" pitchFamily="34" charset="0"/>
                <a:cs typeface="Arial" panose="020B0604020202020204" pitchFamily="34" charset="0"/>
              </a:rPr>
              <a:t>出典：シッキムでの試験的プログラムのデータ（</a:t>
            </a:r>
            <a:r>
              <a:rPr lang="en-US" altLang="ja-JP" dirty="0" smtClean="0">
                <a:latin typeface="Arial" panose="020B0604020202020204" pitchFamily="34" charset="0"/>
                <a:cs typeface="Arial" panose="020B0604020202020204" pitchFamily="34" charset="0"/>
              </a:rPr>
              <a:t>Dalberg analysis</a:t>
            </a:r>
            <a:r>
              <a:rPr lang="ja-JP" altLang="en-US" dirty="0" smtClean="0">
                <a:latin typeface="Arial" panose="020B0604020202020204" pitchFamily="34" charset="0"/>
                <a:cs typeface="Arial" panose="020B0604020202020204" pitchFamily="34" charset="0"/>
              </a:rPr>
              <a:t>） </a:t>
            </a:r>
            <a:endParaRPr lang="en-US" dirty="0">
              <a:latin typeface="Arial" panose="020B0604020202020204" pitchFamily="34" charset="0"/>
              <a:cs typeface="Arial" panose="020B0604020202020204" pitchFamily="34" charset="0"/>
            </a:endParaRPr>
          </a:p>
        </p:txBody>
      </p:sp>
      <p:sp>
        <p:nvSpPr>
          <p:cNvPr id="5" name="TextBox 4"/>
          <p:cNvSpPr txBox="1"/>
          <p:nvPr/>
        </p:nvSpPr>
        <p:spPr>
          <a:xfrm>
            <a:off x="395288" y="1219200"/>
            <a:ext cx="5076826" cy="495300"/>
          </a:xfrm>
          <a:prstGeom prst="rect">
            <a:avLst/>
          </a:prstGeom>
          <a:noFill/>
        </p:spPr>
        <p:txBody>
          <a:bodyPr wrap="square" lIns="0" tIns="0" rIns="0" bIns="0" rtlCol="0">
            <a:noAutofit/>
          </a:bodyPr>
          <a:lstStyle/>
          <a:p>
            <a:pPr marL="231775" indent="-231775"/>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5</a:t>
            </a:r>
            <a:r>
              <a:rPr lang="ja-JP" altLang="ja-JP"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8</a:t>
            </a:r>
            <a:r>
              <a:rPr lang="ja-JP" altLang="ja-JP" sz="1400" b="1" dirty="0">
                <a:latin typeface="Arial" panose="020B0604020202020204" pitchFamily="34" charset="0"/>
                <a:ea typeface="ＭＳ Ｐゴシック" panose="020B0600070205080204" pitchFamily="50" charset="-128"/>
                <a:cs typeface="Arial" panose="020B0604020202020204" pitchFamily="34" charset="0"/>
              </a:rPr>
              <a:t>人用のトレンチ設置コストの</a:t>
            </a:r>
            <a:r>
              <a:rPr lang="ja-JP" altLang="ja-JP" sz="1400" b="1" dirty="0" smtClean="0">
                <a:latin typeface="Arial" panose="020B0604020202020204" pitchFamily="34" charset="0"/>
                <a:ea typeface="ＭＳ Ｐゴシック" panose="020B0600070205080204" pitchFamily="50" charset="-128"/>
                <a:cs typeface="Arial" panose="020B0604020202020204" pitchFamily="34" charset="0"/>
              </a:rPr>
              <a:t>内訳</a:t>
            </a:r>
            <a:endParaRPr lang="en-US" altLang="ja-JP" sz="1400" b="1" dirty="0" smtClean="0">
              <a:latin typeface="Arial" panose="020B0604020202020204" pitchFamily="34" charset="0"/>
              <a:ea typeface="ＭＳ Ｐゴシック" panose="020B0600070205080204" pitchFamily="50" charset="-128"/>
              <a:cs typeface="Arial" panose="020B0604020202020204" pitchFamily="34" charset="0"/>
            </a:endParaRPr>
          </a:p>
          <a:p>
            <a:pPr marL="231775" indent="-231775"/>
            <a:r>
              <a:rPr lang="ja-JP" altLang="en-US" sz="1400" i="1" dirty="0" smtClean="0">
                <a:latin typeface="Arial" panose="020B0604020202020204" pitchFamily="34" charset="0"/>
                <a:ea typeface="ＭＳ Ｐゴシック" panose="020B0600070205080204" pitchFamily="50" charset="-128"/>
                <a:cs typeface="Arial" panose="020B0604020202020204" pitchFamily="34" charset="0"/>
              </a:rPr>
              <a:t>米ドル</a:t>
            </a:r>
            <a:endParaRPr lang="en-US" sz="1400" i="1" dirty="0" smtClean="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9" name="Straight Connector 28"/>
          <p:cNvCxnSpPr/>
          <p:nvPr>
            <p:custDataLst>
              <p:tags r:id="rId4"/>
            </p:custDataLst>
          </p:nvPr>
        </p:nvCxnSpPr>
        <p:spPr bwMode="auto">
          <a:xfrm>
            <a:off x="6638925" y="2667000"/>
            <a:ext cx="63817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5"/>
            </p:custDataLst>
          </p:nvPr>
        </p:nvCxnSpPr>
        <p:spPr bwMode="auto">
          <a:xfrm>
            <a:off x="3771900" y="3429000"/>
            <a:ext cx="63817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6"/>
            </p:custDataLst>
          </p:nvPr>
        </p:nvCxnSpPr>
        <p:spPr bwMode="auto">
          <a:xfrm>
            <a:off x="5210175" y="2790825"/>
            <a:ext cx="63817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custDataLst>
              <p:tags r:id="rId7"/>
            </p:custDataLst>
          </p:nvPr>
        </p:nvCxnSpPr>
        <p:spPr bwMode="auto">
          <a:xfrm>
            <a:off x="2343150" y="4562475"/>
            <a:ext cx="63817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6" name="Object 5"/>
          <p:cNvGraphicFramePr>
            <a:graphicFrameLocks/>
          </p:cNvGraphicFramePr>
          <p:nvPr>
            <p:custDataLst>
              <p:tags r:id="rId8"/>
            </p:custDataLst>
            <p:extLst>
              <p:ext uri="{D42A27DB-BD31-4B8C-83A1-F6EECF244321}">
                <p14:modId xmlns:p14="http://schemas.microsoft.com/office/powerpoint/2010/main" val="1496179461"/>
              </p:ext>
            </p:extLst>
          </p:nvPr>
        </p:nvGraphicFramePr>
        <p:xfrm>
          <a:off x="1104900" y="2286000"/>
          <a:ext cx="7400969" cy="3343397"/>
        </p:xfrm>
        <a:graphic>
          <a:graphicData uri="http://schemas.openxmlformats.org/presentationml/2006/ole">
            <mc:AlternateContent xmlns:mc="http://schemas.openxmlformats.org/markup-compatibility/2006">
              <mc:Choice xmlns:v="urn:schemas-microsoft-com:vml" Requires="v">
                <p:oleObj spid="_x0000_s920627" name="Chart" r:id="rId21" imgW="7400905" imgH="3343332" progId="MSGraph.Chart.8">
                  <p:embed followColorScheme="full"/>
                </p:oleObj>
              </mc:Choice>
              <mc:Fallback>
                <p:oleObj name="Chart" r:id="rId21" imgW="7400905" imgH="3343332" progId="MSGraph.Chart.8">
                  <p:embed followColorScheme="full"/>
                  <p:pic>
                    <p:nvPicPr>
                      <p:cNvPr id="0" name=""/>
                      <p:cNvPicPr/>
                      <p:nvPr/>
                    </p:nvPicPr>
                    <p:blipFill>
                      <a:blip r:embed="rId22"/>
                      <a:stretch>
                        <a:fillRect/>
                      </a:stretch>
                    </p:blipFill>
                    <p:spPr>
                      <a:xfrm>
                        <a:off x="1104900" y="2286000"/>
                        <a:ext cx="7400969" cy="3343397"/>
                      </a:xfrm>
                      <a:prstGeom prst="rect">
                        <a:avLst/>
                      </a:prstGeom>
                    </p:spPr>
                  </p:pic>
                </p:oleObj>
              </mc:Fallback>
            </mc:AlternateContent>
          </a:graphicData>
        </a:graphic>
      </p:graphicFrame>
      <p:cxnSp>
        <p:nvCxnSpPr>
          <p:cNvPr id="17" name="Straight Connector 16"/>
          <p:cNvCxnSpPr/>
          <p:nvPr>
            <p:custDataLst>
              <p:tags r:id="rId9"/>
            </p:custDataLst>
          </p:nvPr>
        </p:nvCxnSpPr>
        <p:spPr bwMode="gray">
          <a:xfrm flipH="1">
            <a:off x="1227138" y="3381375"/>
            <a:ext cx="7173913" cy="0"/>
          </a:xfrm>
          <a:prstGeom prst="line">
            <a:avLst/>
          </a:prstGeom>
          <a:ln w="19050">
            <a:solidFill>
              <a:srgbClr val="808080"/>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5" name="Right Arrow 24"/>
          <p:cNvSpPr/>
          <p:nvPr>
            <p:custDataLst>
              <p:tags r:id="rId10"/>
            </p:custDataLst>
          </p:nvPr>
        </p:nvSpPr>
        <p:spPr bwMode="auto">
          <a:xfrm>
            <a:off x="1047750" y="3305175"/>
            <a:ext cx="128588" cy="152400"/>
          </a:xfrm>
          <a:prstGeom prst="rightArrow">
            <a:avLst>
              <a:gd name="adj1" fmla="val 100000"/>
              <a:gd name="adj2" fmla="val 10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1"/>
          <p:cNvSpPr>
            <a:spLocks noGrp="1"/>
          </p:cNvSpPr>
          <p:nvPr>
            <p:custDataLst>
              <p:tags r:id="rId11"/>
            </p:custDataLst>
          </p:nvPr>
        </p:nvSpPr>
        <p:spPr bwMode="auto">
          <a:xfrm>
            <a:off x="1438275" y="5664200"/>
            <a:ext cx="1009650"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zh-TW" altLang="en-US" sz="1200" dirty="0">
                <a:latin typeface="ＭＳ Ｐゴシック" panose="020B0600070205080204" pitchFamily="50" charset="-128"/>
                <a:ea typeface="ＭＳ Ｐゴシック" panose="020B0600070205080204" pitchFamily="50" charset="-128"/>
                <a:sym typeface="+mn-lt"/>
              </a:rPr>
              <a:t>資材（現地） </a:t>
            </a:r>
            <a:endParaRPr lang="en-US" sz="1200" dirty="0">
              <a:latin typeface="ＭＳ Ｐゴシック" panose="020B0600070205080204" pitchFamily="50" charset="-128"/>
              <a:ea typeface="ＭＳ Ｐゴシック" panose="020B0600070205080204" pitchFamily="50" charset="-128"/>
              <a:sym typeface="+mn-lt"/>
            </a:endParaRPr>
          </a:p>
        </p:txBody>
      </p:sp>
      <p:sp>
        <p:nvSpPr>
          <p:cNvPr id="24" name="Text Placeholder 4"/>
          <p:cNvSpPr>
            <a:spLocks noGrp="1"/>
          </p:cNvSpPr>
          <p:nvPr>
            <p:custDataLst>
              <p:tags r:id="rId12"/>
            </p:custDataLst>
          </p:nvPr>
        </p:nvSpPr>
        <p:spPr bwMode="auto">
          <a:xfrm>
            <a:off x="2689225" y="5664200"/>
            <a:ext cx="1374775"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ja-JP" sz="1200" dirty="0"/>
              <a:t>資材（輸入）</a:t>
            </a:r>
            <a:r>
              <a:rPr lang="en-US" sz="1200" baseline="30000" dirty="0" smtClean="0">
                <a:sym typeface="+mn-lt"/>
              </a:rPr>
              <a:t>2</a:t>
            </a:r>
            <a:endParaRPr lang="en-US" sz="1200" baseline="30000" dirty="0">
              <a:sym typeface="+mn-lt"/>
            </a:endParaRPr>
          </a:p>
        </p:txBody>
      </p:sp>
      <p:sp>
        <p:nvSpPr>
          <p:cNvPr id="10" name="Text Placeholder 3"/>
          <p:cNvSpPr>
            <a:spLocks noGrp="1"/>
          </p:cNvSpPr>
          <p:nvPr>
            <p:custDataLst>
              <p:tags r:id="rId13"/>
            </p:custDataLst>
          </p:nvPr>
        </p:nvSpPr>
        <p:spPr bwMode="auto">
          <a:xfrm>
            <a:off x="7521575" y="5664200"/>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ja-JP" sz="1200" dirty="0" smtClean="0"/>
              <a:t>合計</a:t>
            </a:r>
            <a:endParaRPr lang="ja-JP" altLang="ja-JP" sz="1200" dirty="0"/>
          </a:p>
        </p:txBody>
      </p:sp>
      <p:sp>
        <p:nvSpPr>
          <p:cNvPr id="30" name="Text Placeholder 4"/>
          <p:cNvSpPr>
            <a:spLocks noGrp="1"/>
          </p:cNvSpPr>
          <p:nvPr>
            <p:custDataLst>
              <p:tags r:id="rId14"/>
            </p:custDataLst>
          </p:nvPr>
        </p:nvSpPr>
        <p:spPr bwMode="auto">
          <a:xfrm>
            <a:off x="415925" y="3289300"/>
            <a:ext cx="58102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en-US" altLang="ja-JP" sz="1200" dirty="0" smtClean="0">
                <a:latin typeface="Arial" panose="020B0604020202020204" pitchFamily="34" charset="0"/>
                <a:ea typeface="ＭＳ Ｐゴシック" panose="020B0600070205080204" pitchFamily="50" charset="-128"/>
                <a:cs typeface="Arial" panose="020B0604020202020204" pitchFamily="34" charset="0"/>
                <a:sym typeface="+mn-lt"/>
              </a:rPr>
              <a:t>700</a:t>
            </a:r>
            <a:r>
              <a:rPr lang="ja-JP" altLang="en-US" sz="1200" dirty="0" smtClean="0">
                <a:latin typeface="Arial" panose="020B0604020202020204" pitchFamily="34" charset="0"/>
                <a:ea typeface="ＭＳ Ｐゴシック" panose="020B0600070205080204" pitchFamily="50" charset="-128"/>
                <a:cs typeface="Arial" panose="020B0604020202020204" pitchFamily="34" charset="0"/>
                <a:sym typeface="+mn-lt"/>
              </a:rPr>
              <a:t>米ドル</a:t>
            </a:r>
            <a:r>
              <a:rPr lang="en-US" altLang="ja-JP" sz="1200" baseline="30000" dirty="0">
                <a:sym typeface="+mn-lt"/>
              </a:rPr>
              <a:t>3</a:t>
            </a:r>
            <a:endParaRPr lang="en-US" sz="1200" baseline="30000" dirty="0">
              <a:sym typeface="+mn-lt"/>
            </a:endParaRPr>
          </a:p>
        </p:txBody>
      </p:sp>
      <p:sp>
        <p:nvSpPr>
          <p:cNvPr id="23" name="Text Placeholder 32"/>
          <p:cNvSpPr>
            <a:spLocks noGrp="1"/>
          </p:cNvSpPr>
          <p:nvPr>
            <p:custDataLst>
              <p:tags r:id="rId15"/>
            </p:custDataLst>
          </p:nvPr>
        </p:nvSpPr>
        <p:spPr bwMode="gray">
          <a:xfrm>
            <a:off x="6143625" y="2638425"/>
            <a:ext cx="200025" cy="182563"/>
          </a:xfrm>
          <a:prstGeom prst="rect">
            <a:avLst/>
          </a:prstGeom>
          <a:solidFill>
            <a:srgbClr val="BBBBBF"/>
          </a:solidFill>
        </p:spPr>
        <p:txBody>
          <a:bodyPr wrap="none" lIns="22225" tIns="0" rIns="22225"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A259DB6E-7D72-47C5-88A7-7227D078C0A5}" type="datetime'''''4''''''''''''''''''''''''''''''''''''''''''''''0'">
              <a:rPr lang="en-US" sz="1200">
                <a:sym typeface="+mn-lt"/>
              </a:rPr>
              <a:pPr marL="0" indent="0" algn="ctr">
                <a:spcBef>
                  <a:spcPct val="0"/>
                </a:spcBef>
                <a:spcAft>
                  <a:spcPct val="0"/>
                </a:spcAft>
                <a:buNone/>
              </a:pPr>
              <a:t>40</a:t>
            </a:fld>
            <a:endParaRPr lang="en-US" sz="1200" dirty="0">
              <a:sym typeface="+mn-lt"/>
            </a:endParaRPr>
          </a:p>
        </p:txBody>
      </p:sp>
      <p:sp>
        <p:nvSpPr>
          <p:cNvPr id="19" name="Text Placeholder 11"/>
          <p:cNvSpPr>
            <a:spLocks noGrp="1"/>
          </p:cNvSpPr>
          <p:nvPr>
            <p:custDataLst>
              <p:tags r:id="rId16"/>
            </p:custDataLst>
          </p:nvPr>
        </p:nvSpPr>
        <p:spPr bwMode="auto">
          <a:xfrm>
            <a:off x="4589463" y="5664200"/>
            <a:ext cx="441325"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ja-JP" sz="1200" dirty="0"/>
              <a:t>労働</a:t>
            </a:r>
            <a:endParaRPr lang="en-US" sz="1200" dirty="0">
              <a:sym typeface="+mn-lt"/>
            </a:endParaRPr>
          </a:p>
        </p:txBody>
      </p:sp>
      <p:sp>
        <p:nvSpPr>
          <p:cNvPr id="20" name="Text Placeholder 12"/>
          <p:cNvSpPr>
            <a:spLocks noGrp="1"/>
          </p:cNvSpPr>
          <p:nvPr>
            <p:custDataLst>
              <p:tags r:id="rId17"/>
            </p:custDataLst>
          </p:nvPr>
        </p:nvSpPr>
        <p:spPr bwMode="auto">
          <a:xfrm>
            <a:off x="5784850" y="5664200"/>
            <a:ext cx="919163"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ja-JP" sz="1200" dirty="0"/>
              <a:t>輸送</a:t>
            </a:r>
            <a:endParaRPr lang="en-US" sz="1200" dirty="0">
              <a:sym typeface="+mn-lt"/>
            </a:endParaRPr>
          </a:p>
        </p:txBody>
      </p:sp>
      <p:sp>
        <p:nvSpPr>
          <p:cNvPr id="22" name="Rounded Rectangular Callout 21"/>
          <p:cNvSpPr/>
          <p:nvPr/>
        </p:nvSpPr>
        <p:spPr>
          <a:xfrm>
            <a:off x="996950" y="1857374"/>
            <a:ext cx="2866904" cy="1162051"/>
          </a:xfrm>
          <a:prstGeom prst="wedgeRoundRectCallout">
            <a:avLst>
              <a:gd name="adj1" fmla="val -44256"/>
              <a:gd name="adj2" fmla="val 72336"/>
              <a:gd name="adj3" fmla="val 16667"/>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次善の代替案である浄化槽</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排水穴の設置費用は</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00</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米ドル以内に収まることから、</a:t>
            </a:r>
            <a:r>
              <a:rPr lang="ja-JP" altLang="en-US" sz="1200" b="1"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rPr>
              <a:t>ニイミトレンチは</a:t>
            </a: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約</a:t>
            </a: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4%</a:t>
            </a: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費用が</a:t>
            </a:r>
            <a:r>
              <a:rPr lang="ja-JP" altLang="en-US" sz="1200" b="1"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rPr>
              <a:t>かさむ</a:t>
            </a:r>
            <a:r>
              <a:rPr lang="en-US" sz="1200" baseline="30000" dirty="0" smtClean="0">
                <a:solidFill>
                  <a:schemeClr val="tx1"/>
                </a:solidFill>
              </a:rPr>
              <a:t>1</a:t>
            </a:r>
            <a:endParaRPr lang="en-US" sz="1200" baseline="30000" dirty="0">
              <a:solidFill>
                <a:schemeClr val="tx1"/>
              </a:solidFill>
            </a:endParaRPr>
          </a:p>
        </p:txBody>
      </p:sp>
      <p:sp>
        <p:nvSpPr>
          <p:cNvPr id="31" name="Oval 30"/>
          <p:cNvSpPr/>
          <p:nvPr/>
        </p:nvSpPr>
        <p:spPr>
          <a:xfrm>
            <a:off x="67021" y="90655"/>
            <a:ext cx="274320" cy="2743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bg1"/>
                </a:solidFill>
              </a:rPr>
              <a:t>1</a:t>
            </a:r>
            <a:endParaRPr lang="en-US" sz="1400" b="1" dirty="0">
              <a:solidFill>
                <a:schemeClr val="bg1"/>
              </a:solidFill>
            </a:endParaRPr>
          </a:p>
        </p:txBody>
      </p:sp>
    </p:spTree>
    <p:extLst>
      <p:ext uri="{BB962C8B-B14F-4D97-AF65-F5344CB8AC3E}">
        <p14:creationId xmlns:p14="http://schemas.microsoft.com/office/powerpoint/2010/main" val="60299878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ext uri="{D42A27DB-BD31-4B8C-83A1-F6EECF244321}">
                <p14:modId xmlns:p14="http://schemas.microsoft.com/office/powerpoint/2010/main" val="19186545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650"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dirty="0">
              <a:latin typeface="Calibri" panose="020F0502020204030204" pitchFamily="34" charset="0"/>
              <a:sym typeface="Calibri" panose="020F0502020204030204" pitchFamily="34" charset="0"/>
            </a:endParaRPr>
          </a:p>
        </p:txBody>
      </p:sp>
      <p:sp>
        <p:nvSpPr>
          <p:cNvPr id="2" name="Title 1"/>
          <p:cNvSpPr>
            <a:spLocks noGrp="1"/>
          </p:cNvSpPr>
          <p:nvPr>
            <p:ph type="title"/>
          </p:nvPr>
        </p:nvSpPr>
        <p:spPr/>
        <p:txBody>
          <a:bodyPr/>
          <a:lstStyle/>
          <a:p>
            <a:r>
              <a:rPr lang="ja-JP" altLang="en-US" u="sng" dirty="0">
                <a:latin typeface="ＭＳ Ｐゴシック" panose="020B0600070205080204" pitchFamily="50" charset="-128"/>
                <a:ea typeface="ＭＳ Ｐゴシック" panose="020B0600070205080204" pitchFamily="50" charset="-128"/>
              </a:rPr>
              <a:t>ニイミトレンチ：</a:t>
            </a:r>
            <a:r>
              <a:rPr lang="ja-JP" altLang="en-US" dirty="0">
                <a:latin typeface="ＭＳ Ｐゴシック" panose="020B0600070205080204" pitchFamily="50" charset="-128"/>
                <a:ea typeface="ＭＳ Ｐゴシック" panose="020B0600070205080204" pitchFamily="50" charset="-128"/>
              </a:rPr>
              <a:t> </a:t>
            </a:r>
            <a:r>
              <a:rPr lang="ja-JP" altLang="en-US" b="0" i="1" dirty="0">
                <a:latin typeface="ＭＳ Ｐゴシック" panose="020B0600070205080204" pitchFamily="50" charset="-128"/>
                <a:ea typeface="ＭＳ Ｐゴシック" panose="020B0600070205080204" pitchFamily="50" charset="-128"/>
              </a:rPr>
              <a:t>ただし、学校をはじめとするコミュニティ施設の場合、 規模が大きいため人件費と輸送費は比較的安くすむ </a:t>
            </a:r>
            <a:endParaRPr lang="ja-JP" altLang="ja-JP" b="0" i="1" dirty="0">
              <a:latin typeface="ＭＳ Ｐゴシック" panose="020B0600070205080204" pitchFamily="50" charset="-128"/>
              <a:ea typeface="ＭＳ Ｐゴシック" panose="020B0600070205080204" pitchFamily="50" charset="-128"/>
            </a:endParaRPr>
          </a:p>
        </p:txBody>
      </p:sp>
      <p:sp>
        <p:nvSpPr>
          <p:cNvPr id="3" name="Text Placeholder 2"/>
          <p:cNvSpPr>
            <a:spLocks noGrp="1"/>
          </p:cNvSpPr>
          <p:nvPr>
            <p:ph type="body" sz="quarter" idx="37"/>
          </p:nvPr>
        </p:nvSpPr>
        <p:spPr/>
        <p:txBody>
          <a:bodyPr/>
          <a:lstStyle/>
          <a:p>
            <a:r>
              <a:rPr lang="en-US" baseline="30000" dirty="0" smtClean="0"/>
              <a:t>1</a:t>
            </a:r>
            <a:r>
              <a:rPr lang="ja-JP" altLang="en-US" dirty="0">
                <a:latin typeface="Arial" panose="020B0604020202020204" pitchFamily="34" charset="0"/>
                <a:ea typeface="ＭＳ Ｐゴシック" panose="020B0600070205080204" pitchFamily="50" charset="-128"/>
                <a:cs typeface="Arial" panose="020B0604020202020204" pitchFamily="34" charset="0"/>
              </a:rPr>
              <a:t>プラスチックシート、沈殿槽用シート、ナイロンネットの原価のほか、配送費</a:t>
            </a:r>
            <a:r>
              <a:rPr lang="en-US" altLang="ja-JP" dirty="0">
                <a:latin typeface="Arial" panose="020B0604020202020204" pitchFamily="34" charset="0"/>
                <a:ea typeface="ＭＳ Ｐゴシック" panose="020B0600070205080204" pitchFamily="50" charset="-128"/>
                <a:cs typeface="Arial" panose="020B0604020202020204" pitchFamily="34" charset="0"/>
              </a:rPr>
              <a:t>180</a:t>
            </a:r>
            <a:r>
              <a:rPr lang="ja-JP" altLang="en-US" dirty="0">
                <a:latin typeface="Arial" panose="020B0604020202020204" pitchFamily="34" charset="0"/>
                <a:ea typeface="ＭＳ Ｐゴシック" panose="020B0600070205080204" pitchFamily="50" charset="-128"/>
                <a:cs typeface="Arial" panose="020B0604020202020204" pitchFamily="34" charset="0"/>
              </a:rPr>
              <a:t>米ドルが含まれる</a:t>
            </a:r>
            <a:endParaRPr lang="en-US" dirty="0" smtClean="0">
              <a:latin typeface="Arial" panose="020B0604020202020204" pitchFamily="34" charset="0"/>
              <a:ea typeface="ＭＳ Ｐゴシック" panose="020B0600070205080204" pitchFamily="50" charset="-128"/>
              <a:cs typeface="Arial" panose="020B0604020202020204" pitchFamily="34" charset="0"/>
            </a:endParaRPr>
          </a:p>
          <a:p>
            <a:r>
              <a:rPr lang="ja-JP" altLang="en-US" dirty="0" smtClean="0">
                <a:latin typeface="Arial" panose="020B0604020202020204" pitchFamily="34" charset="0"/>
                <a:ea typeface="ＭＳ Ｐゴシック" panose="020B0600070205080204" pitchFamily="50" charset="-128"/>
                <a:cs typeface="Arial" panose="020B0604020202020204" pitchFamily="34" charset="0"/>
              </a:rPr>
              <a:t>出典：シッキムでの試験的プログラムのデータ（</a:t>
            </a:r>
            <a:r>
              <a:rPr lang="en-US" altLang="ja-JP" dirty="0" smtClean="0">
                <a:latin typeface="Arial" panose="020B0604020202020204" pitchFamily="34" charset="0"/>
                <a:ea typeface="ＭＳ Ｐゴシック" panose="020B0600070205080204" pitchFamily="50" charset="-128"/>
                <a:cs typeface="Arial" panose="020B0604020202020204" pitchFamily="34" charset="0"/>
              </a:rPr>
              <a:t>Dalberg analysis</a:t>
            </a:r>
            <a:r>
              <a:rPr lang="ja-JP" altLang="en-US" dirty="0" smtClean="0">
                <a:latin typeface="Arial" panose="020B0604020202020204" pitchFamily="34" charset="0"/>
                <a:ea typeface="ＭＳ Ｐゴシック" panose="020B0600070205080204" pitchFamily="50" charset="-128"/>
                <a:cs typeface="Arial" panose="020B0604020202020204" pitchFamily="34" charset="0"/>
              </a:rPr>
              <a:t>） </a:t>
            </a:r>
            <a:endParaRPr 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TextBox 4"/>
          <p:cNvSpPr txBox="1"/>
          <p:nvPr/>
        </p:nvSpPr>
        <p:spPr>
          <a:xfrm>
            <a:off x="395288" y="1219200"/>
            <a:ext cx="5076826" cy="495300"/>
          </a:xfrm>
          <a:prstGeom prst="rect">
            <a:avLst/>
          </a:prstGeom>
          <a:noFill/>
        </p:spPr>
        <p:txBody>
          <a:bodyPr wrap="square" lIns="0" tIns="0" rIns="0" bIns="0" rtlCol="0">
            <a:noAutofit/>
          </a:bodyPr>
          <a:lstStyle/>
          <a:p>
            <a:pPr marL="231775" indent="-231775"/>
            <a:r>
              <a:rPr lang="en-US" altLang="ja-JP" sz="1400" b="1" dirty="0">
                <a:latin typeface="ＭＳ Ｐゴシック" panose="020B0600070205080204" pitchFamily="50" charset="-128"/>
                <a:ea typeface="ＭＳ Ｐゴシック" panose="020B0600070205080204" pitchFamily="50" charset="-128"/>
              </a:rPr>
              <a:t>25</a:t>
            </a:r>
            <a:r>
              <a:rPr lang="ja-JP" altLang="en-US" sz="1400" b="1" dirty="0">
                <a:latin typeface="ＭＳ Ｐゴシック" panose="020B0600070205080204" pitchFamily="50" charset="-128"/>
                <a:ea typeface="ＭＳ Ｐゴシック" panose="020B0600070205080204" pitchFamily="50" charset="-128"/>
              </a:rPr>
              <a:t>～</a:t>
            </a:r>
            <a:r>
              <a:rPr lang="en-US" altLang="ja-JP" sz="1400" b="1" dirty="0">
                <a:latin typeface="ＭＳ Ｐゴシック" panose="020B0600070205080204" pitchFamily="50" charset="-128"/>
                <a:ea typeface="ＭＳ Ｐゴシック" panose="020B0600070205080204" pitchFamily="50" charset="-128"/>
              </a:rPr>
              <a:t>30</a:t>
            </a:r>
            <a:r>
              <a:rPr lang="ja-JP" altLang="en-US" sz="1400" b="1" dirty="0">
                <a:latin typeface="ＭＳ Ｐゴシック" panose="020B0600070205080204" pitchFamily="50" charset="-128"/>
                <a:ea typeface="ＭＳ Ｐゴシック" panose="020B0600070205080204" pitchFamily="50" charset="-128"/>
              </a:rPr>
              <a:t>人用のニイミトレンチ設置コストの</a:t>
            </a:r>
            <a:r>
              <a:rPr lang="ja-JP" altLang="en-US" sz="1400" b="1" dirty="0" smtClean="0">
                <a:latin typeface="ＭＳ Ｐゴシック" panose="020B0600070205080204" pitchFamily="50" charset="-128"/>
                <a:ea typeface="ＭＳ Ｐゴシック" panose="020B0600070205080204" pitchFamily="50" charset="-128"/>
              </a:rPr>
              <a:t>内訳</a:t>
            </a:r>
            <a:endParaRPr lang="en-US" altLang="ja-JP" sz="1400" b="1" dirty="0" smtClean="0">
              <a:latin typeface="ＭＳ Ｐゴシック" panose="020B0600070205080204" pitchFamily="50" charset="-128"/>
              <a:ea typeface="ＭＳ Ｐゴシック" panose="020B0600070205080204" pitchFamily="50" charset="-128"/>
            </a:endParaRPr>
          </a:p>
          <a:p>
            <a:pPr marL="231775" indent="-231775"/>
            <a:r>
              <a:rPr lang="ja-JP" altLang="en-US" sz="1400" i="1" dirty="0">
                <a:latin typeface="Arial" panose="020B0604020202020204" pitchFamily="34" charset="0"/>
                <a:ea typeface="ＭＳ Ｐゴシック" panose="020B0600070205080204" pitchFamily="50" charset="-128"/>
                <a:cs typeface="Arial" panose="020B0604020202020204" pitchFamily="34" charset="0"/>
              </a:rPr>
              <a:t>米ドル</a:t>
            </a:r>
            <a:endParaRPr lang="en-US" altLang="ja-JP" sz="1400" i="1" dirty="0">
              <a:latin typeface="Arial" panose="020B0604020202020204" pitchFamily="34" charset="0"/>
              <a:ea typeface="ＭＳ Ｐゴシック" panose="020B0600070205080204" pitchFamily="50" charset="-128"/>
              <a:cs typeface="Arial" panose="020B0604020202020204" pitchFamily="34" charset="0"/>
            </a:endParaRPr>
          </a:p>
          <a:p>
            <a:pPr marL="231775" indent="-231775"/>
            <a:endParaRPr lang="en-US" sz="1400" i="1" dirty="0" smtClean="0">
              <a:latin typeface="ＭＳ Ｐゴシック" panose="020B0600070205080204" pitchFamily="50" charset="-128"/>
              <a:ea typeface="ＭＳ Ｐゴシック" panose="020B0600070205080204" pitchFamily="50" charset="-128"/>
            </a:endParaRPr>
          </a:p>
        </p:txBody>
      </p:sp>
      <p:cxnSp>
        <p:nvCxnSpPr>
          <p:cNvPr id="14" name="Straight Connector 13"/>
          <p:cNvCxnSpPr/>
          <p:nvPr>
            <p:custDataLst>
              <p:tags r:id="rId4"/>
            </p:custDataLst>
          </p:nvPr>
        </p:nvCxnSpPr>
        <p:spPr bwMode="auto">
          <a:xfrm>
            <a:off x="2343150" y="4162425"/>
            <a:ext cx="63817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5"/>
            </p:custDataLst>
          </p:nvPr>
        </p:nvCxnSpPr>
        <p:spPr bwMode="auto">
          <a:xfrm>
            <a:off x="6638925" y="2066925"/>
            <a:ext cx="63817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6"/>
            </p:custDataLst>
          </p:nvPr>
        </p:nvCxnSpPr>
        <p:spPr bwMode="auto">
          <a:xfrm>
            <a:off x="5210175" y="2181225"/>
            <a:ext cx="63817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7"/>
            </p:custDataLst>
          </p:nvPr>
        </p:nvCxnSpPr>
        <p:spPr bwMode="auto">
          <a:xfrm>
            <a:off x="3771900" y="2628900"/>
            <a:ext cx="638175"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6" name="Object 5"/>
          <p:cNvGraphicFramePr>
            <a:graphicFrameLocks/>
          </p:cNvGraphicFramePr>
          <p:nvPr>
            <p:custDataLst>
              <p:tags r:id="rId8"/>
            </p:custDataLst>
            <p:extLst>
              <p:ext uri="{D42A27DB-BD31-4B8C-83A1-F6EECF244321}">
                <p14:modId xmlns:p14="http://schemas.microsoft.com/office/powerpoint/2010/main" val="1152447528"/>
              </p:ext>
            </p:extLst>
          </p:nvPr>
        </p:nvGraphicFramePr>
        <p:xfrm>
          <a:off x="1104900" y="1714500"/>
          <a:ext cx="7400969" cy="3314784"/>
        </p:xfrm>
        <a:graphic>
          <a:graphicData uri="http://schemas.openxmlformats.org/presentationml/2006/ole">
            <mc:AlternateContent xmlns:mc="http://schemas.openxmlformats.org/markup-compatibility/2006">
              <mc:Choice xmlns:v="urn:schemas-microsoft-com:vml" Requires="v">
                <p:oleObj spid="_x0000_s921651" name="Chart" r:id="rId18" imgW="7400905" imgH="3314726" progId="MSGraph.Chart.8">
                  <p:embed followColorScheme="full"/>
                </p:oleObj>
              </mc:Choice>
              <mc:Fallback>
                <p:oleObj name="Chart" r:id="rId18" imgW="7400905" imgH="3314726" progId="MSGraph.Chart.8">
                  <p:embed followColorScheme="full"/>
                  <p:pic>
                    <p:nvPicPr>
                      <p:cNvPr id="0" name=""/>
                      <p:cNvPicPr/>
                      <p:nvPr/>
                    </p:nvPicPr>
                    <p:blipFill>
                      <a:blip r:embed="rId19"/>
                      <a:stretch>
                        <a:fillRect/>
                      </a:stretch>
                    </p:blipFill>
                    <p:spPr>
                      <a:xfrm>
                        <a:off x="1104900" y="1714500"/>
                        <a:ext cx="7400969" cy="3314784"/>
                      </a:xfrm>
                      <a:prstGeom prst="rect">
                        <a:avLst/>
                      </a:prstGeom>
                    </p:spPr>
                  </p:pic>
                </p:oleObj>
              </mc:Fallback>
            </mc:AlternateContent>
          </a:graphicData>
        </a:graphic>
      </p:graphicFrame>
      <p:sp>
        <p:nvSpPr>
          <p:cNvPr id="10" name="Text Placeholder 3"/>
          <p:cNvSpPr>
            <a:spLocks noGrp="1"/>
          </p:cNvSpPr>
          <p:nvPr>
            <p:custDataLst>
              <p:tags r:id="rId9"/>
            </p:custDataLst>
          </p:nvPr>
        </p:nvSpPr>
        <p:spPr bwMode="auto">
          <a:xfrm>
            <a:off x="7521575" y="5064125"/>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1200" dirty="0" smtClean="0">
                <a:latin typeface="ＭＳ Ｐゴシック" panose="020B0600070205080204" pitchFamily="50" charset="-128"/>
                <a:ea typeface="ＭＳ Ｐゴシック" panose="020B0600070205080204" pitchFamily="50" charset="-128"/>
                <a:sym typeface="+mn-lt"/>
              </a:rPr>
              <a:t>合計</a:t>
            </a:r>
            <a:endParaRPr lang="en-US" sz="1200" dirty="0">
              <a:latin typeface="ＭＳ Ｐゴシック" panose="020B0600070205080204" pitchFamily="50" charset="-128"/>
              <a:ea typeface="ＭＳ Ｐゴシック" panose="020B0600070205080204" pitchFamily="50" charset="-128"/>
              <a:sym typeface="+mn-lt"/>
            </a:endParaRPr>
          </a:p>
        </p:txBody>
      </p:sp>
      <p:sp>
        <p:nvSpPr>
          <p:cNvPr id="20" name="Text Placeholder 12"/>
          <p:cNvSpPr>
            <a:spLocks noGrp="1"/>
          </p:cNvSpPr>
          <p:nvPr>
            <p:custDataLst>
              <p:tags r:id="rId10"/>
            </p:custDataLst>
          </p:nvPr>
        </p:nvSpPr>
        <p:spPr bwMode="auto">
          <a:xfrm>
            <a:off x="5784850" y="5064125"/>
            <a:ext cx="919163"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1200" dirty="0" smtClean="0">
                <a:latin typeface="ＭＳ Ｐゴシック" panose="020B0600070205080204" pitchFamily="50" charset="-128"/>
                <a:ea typeface="ＭＳ Ｐゴシック" panose="020B0600070205080204" pitchFamily="50" charset="-128"/>
                <a:sym typeface="+mn-lt"/>
              </a:rPr>
              <a:t>輸送</a:t>
            </a:r>
            <a:endParaRPr lang="en-US" sz="1200" dirty="0">
              <a:latin typeface="ＭＳ Ｐゴシック" panose="020B0600070205080204" pitchFamily="50" charset="-128"/>
              <a:ea typeface="ＭＳ Ｐゴシック" panose="020B0600070205080204" pitchFamily="50" charset="-128"/>
              <a:sym typeface="+mn-lt"/>
            </a:endParaRPr>
          </a:p>
        </p:txBody>
      </p:sp>
      <p:sp>
        <p:nvSpPr>
          <p:cNvPr id="21" name="Text Placeholder 2"/>
          <p:cNvSpPr>
            <a:spLocks noGrp="1"/>
          </p:cNvSpPr>
          <p:nvPr>
            <p:custDataLst>
              <p:tags r:id="rId11"/>
            </p:custDataLst>
          </p:nvPr>
        </p:nvSpPr>
        <p:spPr bwMode="gray">
          <a:xfrm>
            <a:off x="6143625" y="2033588"/>
            <a:ext cx="200025" cy="182563"/>
          </a:xfrm>
          <a:prstGeom prst="rect">
            <a:avLst/>
          </a:prstGeom>
          <a:solidFill>
            <a:srgbClr val="BBBBBF"/>
          </a:solidFill>
        </p:spPr>
        <p:txBody>
          <a:bodyPr wrap="none" lIns="22225" tIns="0" rIns="22225"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905029B0-2760-4737-A8F2-5227E7CCC88C}" type="datetime'''''''''''''''''''''''''7''''''''''''3'''''''''''''''''''''">
              <a:rPr lang="en-US" sz="1200">
                <a:latin typeface="Calibri" panose="020F0502020204030204" pitchFamily="34" charset="0"/>
                <a:sym typeface="Calibri" panose="020F0502020204030204" pitchFamily="34" charset="0"/>
              </a:rPr>
              <a:pPr marL="0" indent="0" algn="ctr">
                <a:spcBef>
                  <a:spcPct val="0"/>
                </a:spcBef>
                <a:spcAft>
                  <a:spcPct val="0"/>
                </a:spcAft>
                <a:buNone/>
              </a:pPr>
              <a:t>73</a:t>
            </a:fld>
            <a:endParaRPr lang="en-US" sz="1200" dirty="0">
              <a:latin typeface="Calibri" panose="020F0502020204030204" pitchFamily="34" charset="0"/>
              <a:sym typeface="Calibri" panose="020F0502020204030204" pitchFamily="34" charset="0"/>
            </a:endParaRPr>
          </a:p>
        </p:txBody>
      </p:sp>
      <p:sp>
        <p:nvSpPr>
          <p:cNvPr id="19" name="Text Placeholder 11"/>
          <p:cNvSpPr>
            <a:spLocks noGrp="1"/>
          </p:cNvSpPr>
          <p:nvPr>
            <p:custDataLst>
              <p:tags r:id="rId12"/>
            </p:custDataLst>
          </p:nvPr>
        </p:nvSpPr>
        <p:spPr bwMode="auto">
          <a:xfrm>
            <a:off x="4589463" y="5064125"/>
            <a:ext cx="441325"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1200" dirty="0" smtClean="0">
                <a:latin typeface="ＭＳ Ｐゴシック" panose="020B0600070205080204" pitchFamily="50" charset="-128"/>
                <a:ea typeface="ＭＳ Ｐゴシック" panose="020B0600070205080204" pitchFamily="50" charset="-128"/>
                <a:sym typeface="+mn-lt"/>
              </a:rPr>
              <a:t>労働</a:t>
            </a:r>
            <a:endParaRPr lang="en-US" sz="1200" dirty="0">
              <a:latin typeface="ＭＳ Ｐゴシック" panose="020B0600070205080204" pitchFamily="50" charset="-128"/>
              <a:ea typeface="ＭＳ Ｐゴシック" panose="020B0600070205080204" pitchFamily="50" charset="-128"/>
              <a:sym typeface="+mn-lt"/>
            </a:endParaRPr>
          </a:p>
        </p:txBody>
      </p:sp>
      <p:sp>
        <p:nvSpPr>
          <p:cNvPr id="24" name="Text Placeholder 4"/>
          <p:cNvSpPr>
            <a:spLocks noGrp="1"/>
          </p:cNvSpPr>
          <p:nvPr>
            <p:custDataLst>
              <p:tags r:id="rId13"/>
            </p:custDataLst>
          </p:nvPr>
        </p:nvSpPr>
        <p:spPr bwMode="auto">
          <a:xfrm>
            <a:off x="2689225" y="5064125"/>
            <a:ext cx="1374775"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ja-JP" sz="1200" dirty="0">
                <a:latin typeface="ＭＳ Ｐゴシック" panose="020B0600070205080204" pitchFamily="50" charset="-128"/>
                <a:ea typeface="ＭＳ Ｐゴシック" panose="020B0600070205080204" pitchFamily="50" charset="-128"/>
              </a:rPr>
              <a:t>資材 （</a:t>
            </a:r>
            <a:r>
              <a:rPr lang="ja-JP" altLang="ja-JP" sz="1200" dirty="0" smtClean="0">
                <a:latin typeface="ＭＳ Ｐゴシック" panose="020B0600070205080204" pitchFamily="50" charset="-128"/>
                <a:ea typeface="ＭＳ Ｐゴシック" panose="020B0600070205080204" pitchFamily="50" charset="-128"/>
              </a:rPr>
              <a:t>輸入</a:t>
            </a:r>
            <a:r>
              <a:rPr lang="ja-JP" altLang="en-US" sz="1200" dirty="0" smtClean="0">
                <a:latin typeface="ＭＳ Ｐゴシック" panose="020B0600070205080204" pitchFamily="50" charset="-128"/>
                <a:ea typeface="ＭＳ Ｐゴシック" panose="020B0600070205080204" pitchFamily="50" charset="-128"/>
              </a:rPr>
              <a:t>）</a:t>
            </a:r>
            <a:r>
              <a:rPr lang="en-US" sz="1200" baseline="30000" dirty="0" smtClean="0">
                <a:sym typeface="+mn-lt"/>
              </a:rPr>
              <a:t>1</a:t>
            </a:r>
            <a:endParaRPr lang="en-US" sz="1200" baseline="30000" dirty="0">
              <a:sym typeface="+mn-lt"/>
            </a:endParaRPr>
          </a:p>
        </p:txBody>
      </p:sp>
      <p:sp>
        <p:nvSpPr>
          <p:cNvPr id="7" name="Text Placeholder 1"/>
          <p:cNvSpPr>
            <a:spLocks noGrp="1"/>
          </p:cNvSpPr>
          <p:nvPr>
            <p:custDataLst>
              <p:tags r:id="rId14"/>
            </p:custDataLst>
          </p:nvPr>
        </p:nvSpPr>
        <p:spPr bwMode="auto">
          <a:xfrm>
            <a:off x="1438275" y="5064125"/>
            <a:ext cx="1009650"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ja-JP" sz="1200" dirty="0">
                <a:latin typeface="ＭＳ Ｐゴシック" panose="020B0600070205080204" pitchFamily="50" charset="-128"/>
                <a:ea typeface="ＭＳ Ｐゴシック" panose="020B0600070205080204" pitchFamily="50" charset="-128"/>
              </a:rPr>
              <a:t>資材（地元）</a:t>
            </a:r>
            <a:endParaRPr lang="en-US" sz="1200" dirty="0">
              <a:latin typeface="ＭＳ Ｐゴシック" panose="020B0600070205080204" pitchFamily="50" charset="-128"/>
              <a:ea typeface="ＭＳ Ｐゴシック" panose="020B0600070205080204" pitchFamily="50" charset="-128"/>
              <a:sym typeface="+mn-lt"/>
            </a:endParaRPr>
          </a:p>
        </p:txBody>
      </p:sp>
      <p:sp>
        <p:nvSpPr>
          <p:cNvPr id="31" name="Oval 30"/>
          <p:cNvSpPr/>
          <p:nvPr/>
        </p:nvSpPr>
        <p:spPr>
          <a:xfrm>
            <a:off x="67021" y="90655"/>
            <a:ext cx="274320" cy="2743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chemeClr val="bg1"/>
                </a:solidFill>
              </a:rPr>
              <a:t>1</a:t>
            </a:r>
            <a:endParaRPr lang="en-US" sz="1400" b="1" dirty="0">
              <a:solidFill>
                <a:schemeClr val="bg1"/>
              </a:solidFill>
            </a:endParaRPr>
          </a:p>
        </p:txBody>
      </p:sp>
      <p:sp>
        <p:nvSpPr>
          <p:cNvPr id="32" name="Rounded Rectangle 31"/>
          <p:cNvSpPr/>
          <p:nvPr/>
        </p:nvSpPr>
        <p:spPr>
          <a:xfrm>
            <a:off x="817318" y="5587513"/>
            <a:ext cx="7509365" cy="565638"/>
          </a:xfrm>
          <a:prstGeom prst="roundRect">
            <a:avLst/>
          </a:prstGeom>
          <a:noFill/>
          <a:ln>
            <a:solidFill>
              <a:srgbClr val="6710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a:solidFill>
                  <a:schemeClr val="tx1"/>
                </a:solidFill>
                <a:latin typeface="ＭＳ Ｐゴシック" panose="020B0600070205080204" pitchFamily="50" charset="-128"/>
                <a:ea typeface="ＭＳ Ｐゴシック" panose="020B0600070205080204" pitchFamily="50" charset="-128"/>
              </a:rPr>
              <a:t>学校でのトレンチ設置は、公衆衛生</a:t>
            </a:r>
            <a:r>
              <a:rPr lang="ja-JP" altLang="en-US" sz="1400" b="1" dirty="0" smtClean="0">
                <a:solidFill>
                  <a:schemeClr val="tx1"/>
                </a:solidFill>
                <a:latin typeface="ＭＳ Ｐゴシック" panose="020B0600070205080204" pitchFamily="50" charset="-128"/>
                <a:ea typeface="ＭＳ Ｐゴシック" panose="020B0600070205080204" pitchFamily="50" charset="-128"/>
              </a:rPr>
              <a:t>に関する意識向上</a:t>
            </a:r>
            <a:r>
              <a:rPr lang="ja-JP" altLang="en-US" sz="1400" b="1" dirty="0">
                <a:solidFill>
                  <a:schemeClr val="tx1"/>
                </a:solidFill>
                <a:latin typeface="ＭＳ Ｐゴシック" panose="020B0600070205080204" pitchFamily="50" charset="-128"/>
                <a:ea typeface="ＭＳ Ｐゴシック" panose="020B0600070205080204" pitchFamily="50" charset="-128"/>
              </a:rPr>
              <a:t>にもつながり、児童は適切な汚物収集・処理の必要をよく理解できるようになる</a:t>
            </a:r>
            <a:endParaRPr lang="en-US" sz="1400" b="1" dirty="0">
              <a:solidFill>
                <a:schemeClr val="tx1"/>
              </a:solidFill>
              <a:latin typeface="ＭＳ Ｐゴシック" panose="020B0600070205080204" pitchFamily="50" charset="-128"/>
              <a:ea typeface="ＭＳ Ｐゴシック" panose="020B0600070205080204" pitchFamily="50" charset="-128"/>
            </a:endParaRPr>
          </a:p>
        </p:txBody>
      </p:sp>
      <p:sp>
        <p:nvSpPr>
          <p:cNvPr id="33" name="Rounded Rectangular Callout 32"/>
          <p:cNvSpPr/>
          <p:nvPr/>
        </p:nvSpPr>
        <p:spPr>
          <a:xfrm>
            <a:off x="686716" y="1782586"/>
            <a:ext cx="2470822" cy="854428"/>
          </a:xfrm>
          <a:prstGeom prst="wedgeRoundRectCallout">
            <a:avLst>
              <a:gd name="adj1" fmla="val 35931"/>
              <a:gd name="adj2" fmla="val 69188"/>
              <a:gd name="adj3" fmla="val 16667"/>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学校用トレンチ（</a:t>
            </a: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0</a:t>
            </a: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米ドル）の利用者</a:t>
            </a: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当たりのコストは家庭用トレンチ（</a:t>
            </a: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17</a:t>
            </a: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米ドル）の約半分</a:t>
            </a:r>
            <a:endParaRPr lang="en-US" sz="12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02838000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65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p:cNvSpPr/>
          <p:nvPr/>
        </p:nvSpPr>
        <p:spPr>
          <a:xfrm>
            <a:off x="1282148" y="3380869"/>
            <a:ext cx="7215900" cy="1510018"/>
          </a:xfrm>
          <a:prstGeom prst="rect">
            <a:avLst/>
          </a:prstGeom>
          <a:solidFill>
            <a:schemeClr val="bg1">
              <a:lumMod val="95000"/>
            </a:schemeClr>
          </a:solidFill>
          <a:ln w="3175">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ja-JP" altLang="ja-JP" dirty="0">
                <a:latin typeface="ＭＳ Ｐゴシック" panose="020B0600070205080204" pitchFamily="50" charset="-128"/>
                <a:ea typeface="ＭＳ Ｐゴシック" panose="020B0600070205080204" pitchFamily="50" charset="-128"/>
              </a:rPr>
              <a:t>ニイミトレンチとニイミシステム</a:t>
            </a:r>
            <a:r>
              <a:rPr lang="ja-JP" altLang="ja-JP" dirty="0" smtClean="0">
                <a:latin typeface="ＭＳ Ｐゴシック" panose="020B0600070205080204" pitchFamily="50" charset="-128"/>
                <a:ea typeface="ＭＳ Ｐゴシック" panose="020B0600070205080204" pitchFamily="50" charset="-128"/>
              </a:rPr>
              <a:t>の</a:t>
            </a:r>
            <a:r>
              <a:rPr lang="ja-JP" altLang="en-US" dirty="0" smtClean="0">
                <a:latin typeface="ＭＳ Ｐゴシック" panose="020B0600070205080204" pitchFamily="50" charset="-128"/>
                <a:ea typeface="ＭＳ Ｐゴシック" panose="020B0600070205080204" pitchFamily="50" charset="-128"/>
              </a:rPr>
              <a:t>機能</a:t>
            </a:r>
            <a:endParaRPr lang="en-US" dirty="0">
              <a:latin typeface="ＭＳ Ｐゴシック" panose="020B0600070205080204" pitchFamily="50" charset="-128"/>
              <a:ea typeface="ＭＳ Ｐゴシック" panose="020B0600070205080204" pitchFamily="50" charset="-128"/>
            </a:endParaRPr>
          </a:p>
        </p:txBody>
      </p:sp>
      <p:sp>
        <p:nvSpPr>
          <p:cNvPr id="5" name="TextBox 4"/>
          <p:cNvSpPr txBox="1"/>
          <p:nvPr/>
        </p:nvSpPr>
        <p:spPr>
          <a:xfrm>
            <a:off x="3072848" y="3628688"/>
            <a:ext cx="5232952" cy="1447800"/>
          </a:xfrm>
          <a:prstGeom prst="rect">
            <a:avLst/>
          </a:prstGeom>
          <a:noFill/>
        </p:spPr>
        <p:txBody>
          <a:bodyPr wrap="square" lIns="0" tIns="0" rIns="0" bIns="0" rtlCol="0">
            <a:noAutofit/>
          </a:bodyPr>
          <a:lstStyle/>
          <a:p>
            <a:pPr marL="231775" indent="-231775"/>
            <a:r>
              <a:rPr lang="en-US" sz="1400" b="1" dirty="0" smtClean="0"/>
              <a:t>	</a:t>
            </a:r>
            <a:r>
              <a:rPr lang="ja-JP" altLang="ja-JP" sz="1400" b="1" dirty="0">
                <a:latin typeface="ＭＳ Ｐゴシック" panose="020B0600070205080204" pitchFamily="50" charset="-128"/>
                <a:ea typeface="ＭＳ Ｐゴシック" panose="020B0600070205080204" pitchFamily="50" charset="-128"/>
              </a:rPr>
              <a:t>ニイミシステム</a:t>
            </a:r>
            <a:r>
              <a:rPr lang="en-US" altLang="ja-JP" sz="1400" dirty="0">
                <a:latin typeface="ＭＳ Ｐゴシック" panose="020B0600070205080204" pitchFamily="50" charset="-128"/>
                <a:ea typeface="ＭＳ Ｐゴシック" panose="020B0600070205080204" pitchFamily="50" charset="-128"/>
              </a:rPr>
              <a:t>―</a:t>
            </a:r>
            <a:r>
              <a:rPr lang="ja-JP" altLang="ja-JP" sz="1400" dirty="0">
                <a:latin typeface="ＭＳ Ｐゴシック" panose="020B0600070205080204" pitchFamily="50" charset="-128"/>
                <a:ea typeface="ＭＳ Ｐゴシック" panose="020B0600070205080204" pitchFamily="50" charset="-128"/>
              </a:rPr>
              <a:t>小都市向けに設計された、持続可能かつ</a:t>
            </a:r>
            <a:r>
              <a:rPr lang="ja-JP" altLang="ja-JP" sz="1400" dirty="0" smtClean="0">
                <a:latin typeface="ＭＳ Ｐゴシック" panose="020B0600070205080204" pitchFamily="50" charset="-128"/>
                <a:ea typeface="ＭＳ Ｐゴシック" panose="020B0600070205080204" pitchFamily="50" charset="-128"/>
              </a:rPr>
              <a:t>コミュニティ</a:t>
            </a:r>
            <a:r>
              <a:rPr lang="ja-JP" altLang="en-US" sz="1400" dirty="0" smtClean="0">
                <a:latin typeface="ＭＳ Ｐゴシック" panose="020B0600070205080204" pitchFamily="50" charset="-128"/>
                <a:ea typeface="ＭＳ Ｐゴシック" panose="020B0600070205080204" pitchFamily="50" charset="-128"/>
              </a:rPr>
              <a:t>重視</a:t>
            </a:r>
            <a:r>
              <a:rPr lang="ja-JP" altLang="ja-JP" sz="1400" dirty="0" smtClean="0">
                <a:latin typeface="ＭＳ Ｐゴシック" panose="020B0600070205080204" pitchFamily="50" charset="-128"/>
                <a:ea typeface="ＭＳ Ｐゴシック" panose="020B0600070205080204" pitchFamily="50" charset="-128"/>
              </a:rPr>
              <a:t>の</a:t>
            </a:r>
            <a:r>
              <a:rPr lang="ja-JP" altLang="ja-JP" sz="1400" dirty="0">
                <a:latin typeface="ＭＳ Ｐゴシック" panose="020B0600070205080204" pitchFamily="50" charset="-128"/>
                <a:ea typeface="ＭＳ Ｐゴシック" panose="020B0600070205080204" pitchFamily="50" charset="-128"/>
              </a:rPr>
              <a:t>やり方での大量の</a:t>
            </a:r>
            <a:r>
              <a:rPr lang="ja-JP" altLang="ja-JP" sz="1400" dirty="0" smtClean="0">
                <a:latin typeface="ＭＳ Ｐゴシック" panose="020B0600070205080204" pitchFamily="50" charset="-128"/>
                <a:ea typeface="ＭＳ Ｐゴシック" panose="020B0600070205080204" pitchFamily="50" charset="-128"/>
              </a:rPr>
              <a:t>汚物</a:t>
            </a:r>
            <a:r>
              <a:rPr lang="ja-JP" altLang="en-US" sz="1400" dirty="0" smtClean="0">
                <a:latin typeface="ＭＳ Ｐゴシック" panose="020B0600070205080204" pitchFamily="50" charset="-128"/>
                <a:ea typeface="ＭＳ Ｐゴシック" panose="020B0600070205080204" pitchFamily="50" charset="-128"/>
              </a:rPr>
              <a:t>を</a:t>
            </a:r>
            <a:r>
              <a:rPr lang="ja-JP" altLang="ja-JP" sz="1400" dirty="0" smtClean="0">
                <a:latin typeface="ＭＳ Ｐゴシック" panose="020B0600070205080204" pitchFamily="50" charset="-128"/>
                <a:ea typeface="ＭＳ Ｐゴシック" panose="020B0600070205080204" pitchFamily="50" charset="-128"/>
              </a:rPr>
              <a:t>処理</a:t>
            </a:r>
            <a:r>
              <a:rPr lang="ja-JP" altLang="en-US" sz="1400" dirty="0" smtClean="0">
                <a:latin typeface="ＭＳ Ｐゴシック" panose="020B0600070205080204" pitchFamily="50" charset="-128"/>
                <a:ea typeface="ＭＳ Ｐゴシック" panose="020B0600070205080204" pitchFamily="50" charset="-128"/>
              </a:rPr>
              <a:t>する</a:t>
            </a:r>
            <a:r>
              <a:rPr lang="ja-JP" altLang="ja-JP" sz="1400" dirty="0" smtClean="0">
                <a:latin typeface="ＭＳ Ｐゴシック" panose="020B0600070205080204" pitchFamily="50" charset="-128"/>
                <a:ea typeface="ＭＳ Ｐゴシック" panose="020B0600070205080204" pitchFamily="50" charset="-128"/>
              </a:rPr>
              <a:t>地下</a:t>
            </a:r>
            <a:r>
              <a:rPr lang="ja-JP" altLang="ja-JP" sz="1400" dirty="0">
                <a:latin typeface="ＭＳ Ｐゴシック" panose="020B0600070205080204" pitchFamily="50" charset="-128"/>
                <a:ea typeface="ＭＳ Ｐゴシック" panose="020B0600070205080204" pitchFamily="50" charset="-128"/>
              </a:rPr>
              <a:t>下水処理場</a:t>
            </a:r>
            <a:endParaRPr lang="en-US" altLang="ja-JP" sz="1400" b="1" dirty="0">
              <a:latin typeface="ＭＳ Ｐゴシック" panose="020B0600070205080204" pitchFamily="50" charset="-128"/>
              <a:ea typeface="ＭＳ Ｐゴシック" panose="020B0600070205080204" pitchFamily="50" charset="-128"/>
            </a:endParaRPr>
          </a:p>
        </p:txBody>
      </p:sp>
      <p:sp>
        <p:nvSpPr>
          <p:cNvPr id="6" name="TextBox 5"/>
          <p:cNvSpPr txBox="1"/>
          <p:nvPr/>
        </p:nvSpPr>
        <p:spPr>
          <a:xfrm>
            <a:off x="3072848" y="1606880"/>
            <a:ext cx="5232952" cy="1447800"/>
          </a:xfrm>
          <a:prstGeom prst="rect">
            <a:avLst/>
          </a:prstGeom>
          <a:noFill/>
        </p:spPr>
        <p:txBody>
          <a:bodyPr wrap="square" lIns="0" tIns="0" rIns="0" bIns="0" rtlCol="0">
            <a:noAutofit/>
          </a:bodyPr>
          <a:lstStyle/>
          <a:p>
            <a:pPr marL="231775" indent="-231775"/>
            <a:r>
              <a:rPr lang="en-US" sz="1400" b="1" dirty="0" smtClean="0">
                <a:latin typeface="ＭＳ Ｐゴシック" panose="020B0600070205080204" pitchFamily="50" charset="-128"/>
                <a:ea typeface="ＭＳ Ｐゴシック" panose="020B0600070205080204" pitchFamily="50" charset="-128"/>
              </a:rPr>
              <a:t>	</a:t>
            </a:r>
            <a:r>
              <a:rPr lang="ja-JP" altLang="ja-JP" sz="1400" b="1" dirty="0">
                <a:latin typeface="ＭＳ Ｐゴシック" panose="020B0600070205080204" pitchFamily="50" charset="-128"/>
                <a:ea typeface="ＭＳ Ｐゴシック" panose="020B0600070205080204" pitchFamily="50" charset="-128"/>
              </a:rPr>
              <a:t>ニイミトレンチ</a:t>
            </a:r>
            <a:r>
              <a:rPr lang="en-US" altLang="ja-JP" sz="1400" dirty="0">
                <a:latin typeface="ＭＳ Ｐゴシック" panose="020B0600070205080204" pitchFamily="50" charset="-128"/>
                <a:ea typeface="ＭＳ Ｐゴシック" panose="020B0600070205080204" pitchFamily="50" charset="-128"/>
              </a:rPr>
              <a:t>―</a:t>
            </a:r>
            <a:r>
              <a:rPr lang="ja-JP" altLang="ja-JP" sz="1400" dirty="0">
                <a:latin typeface="ＭＳ Ｐゴシック" panose="020B0600070205080204" pitchFamily="50" charset="-128"/>
                <a:ea typeface="ＭＳ Ｐゴシック" panose="020B0600070205080204" pitchFamily="50" charset="-128"/>
              </a:rPr>
              <a:t>家庭や小規模コミュニティ施設が低コストでエネルギーを必要とせずに汚物処理できるようにするベーシックかつ実用本位のシステム</a:t>
            </a:r>
            <a:endParaRPr lang="en-US" altLang="ja-JP" sz="1400" b="1" dirty="0">
              <a:latin typeface="ＭＳ Ｐゴシック" panose="020B0600070205080204" pitchFamily="50" charset="-128"/>
              <a:ea typeface="ＭＳ Ｐゴシック" panose="020B0600070205080204" pitchFamily="50" charset="-128"/>
            </a:endParaRPr>
          </a:p>
        </p:txBody>
      </p:sp>
      <p:pic>
        <p:nvPicPr>
          <p:cNvPr id="10" name="Picture 12" descr="二次公害対策装置"/>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1485900" y="3628688"/>
            <a:ext cx="1485900" cy="1089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63"/>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555198" y="1606880"/>
            <a:ext cx="1403350" cy="1051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Oval 12"/>
          <p:cNvSpPr/>
          <p:nvPr/>
        </p:nvSpPr>
        <p:spPr>
          <a:xfrm>
            <a:off x="1398685" y="1481645"/>
            <a:ext cx="278296" cy="281793"/>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1</a:t>
            </a:r>
            <a:endParaRPr lang="en-US" sz="1400" dirty="0"/>
          </a:p>
        </p:txBody>
      </p:sp>
      <p:sp>
        <p:nvSpPr>
          <p:cNvPr id="15" name="Oval 14"/>
          <p:cNvSpPr/>
          <p:nvPr/>
        </p:nvSpPr>
        <p:spPr>
          <a:xfrm>
            <a:off x="1398685" y="3529736"/>
            <a:ext cx="278296" cy="281793"/>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2</a:t>
            </a:r>
          </a:p>
        </p:txBody>
      </p:sp>
    </p:spTree>
    <p:extLst>
      <p:ext uri="{BB962C8B-B14F-4D97-AF65-F5344CB8AC3E}">
        <p14:creationId xmlns:p14="http://schemas.microsoft.com/office/powerpoint/2010/main" val="192491712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369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ja-JP" altLang="en-US" u="sng" dirty="0">
                <a:latin typeface="ＭＳ Ｐゴシック" panose="020B0600070205080204" pitchFamily="50" charset="-128"/>
                <a:ea typeface="ＭＳ Ｐゴシック" panose="020B0600070205080204" pitchFamily="50" charset="-128"/>
              </a:rPr>
              <a:t>ニイミシステム：</a:t>
            </a:r>
            <a:r>
              <a:rPr lang="ja-JP" altLang="en-US" b="0" i="1" dirty="0">
                <a:latin typeface="ＭＳ Ｐゴシック" panose="020B0600070205080204" pitchFamily="50" charset="-128"/>
                <a:ea typeface="ＭＳ Ｐゴシック" panose="020B0600070205080204" pitchFamily="50" charset="-128"/>
              </a:rPr>
              <a:t>小都市の汚物処理に</a:t>
            </a:r>
            <a:r>
              <a:rPr lang="ja-JP" altLang="en-US" b="0" i="1" dirty="0" smtClean="0">
                <a:latin typeface="ＭＳ Ｐゴシック" panose="020B0600070205080204" pitchFamily="50" charset="-128"/>
                <a:ea typeface="ＭＳ Ｐゴシック" panose="020B0600070205080204" pitchFamily="50" charset="-128"/>
              </a:rPr>
              <a:t>沈殿・接触</a:t>
            </a:r>
            <a:r>
              <a:rPr lang="ja-JP" altLang="en-US" b="0" i="1" dirty="0">
                <a:latin typeface="ＭＳ Ｐゴシック" panose="020B0600070205080204" pitchFamily="50" charset="-128"/>
                <a:ea typeface="ＭＳ Ｐゴシック" panose="020B0600070205080204" pitchFamily="50" charset="-128"/>
              </a:rPr>
              <a:t>酸化プロセスを利用</a:t>
            </a:r>
            <a:endParaRPr lang="en-US" b="0" i="1" dirty="0">
              <a:latin typeface="ＭＳ Ｐゴシック" panose="020B0600070205080204" pitchFamily="50" charset="-128"/>
              <a:ea typeface="ＭＳ Ｐゴシック" panose="020B0600070205080204" pitchFamily="50" charset="-128"/>
            </a:endParaRPr>
          </a:p>
        </p:txBody>
      </p:sp>
      <p:grpSp>
        <p:nvGrpSpPr>
          <p:cNvPr id="4" name="Group 3"/>
          <p:cNvGrpSpPr/>
          <p:nvPr/>
        </p:nvGrpSpPr>
        <p:grpSpPr>
          <a:xfrm>
            <a:off x="2057400" y="2392351"/>
            <a:ext cx="6283485" cy="4075329"/>
            <a:chOff x="793750" y="695325"/>
            <a:chExt cx="9097962" cy="5900738"/>
          </a:xfrm>
        </p:grpSpPr>
        <p:grpSp>
          <p:nvGrpSpPr>
            <p:cNvPr id="49" name="Group 2050"/>
            <p:cNvGrpSpPr>
              <a:grpSpLocks/>
            </p:cNvGrpSpPr>
            <p:nvPr/>
          </p:nvGrpSpPr>
          <p:grpSpPr bwMode="auto">
            <a:xfrm>
              <a:off x="912813" y="695325"/>
              <a:ext cx="8978899" cy="5900738"/>
              <a:chOff x="1373" y="462"/>
              <a:chExt cx="5656" cy="3717"/>
            </a:xfrm>
          </p:grpSpPr>
          <p:grpSp>
            <p:nvGrpSpPr>
              <p:cNvPr id="50" name="Group 2051"/>
              <p:cNvGrpSpPr>
                <a:grpSpLocks/>
              </p:cNvGrpSpPr>
              <p:nvPr/>
            </p:nvGrpSpPr>
            <p:grpSpPr bwMode="auto">
              <a:xfrm>
                <a:off x="1373" y="462"/>
                <a:ext cx="5656" cy="3717"/>
                <a:chOff x="1373" y="462"/>
                <a:chExt cx="5656" cy="3717"/>
              </a:xfrm>
            </p:grpSpPr>
            <p:graphicFrame>
              <p:nvGraphicFramePr>
                <p:cNvPr id="54" name="Object 2052"/>
                <p:cNvGraphicFramePr>
                  <a:graphicFrameLocks/>
                </p:cNvGraphicFramePr>
                <p:nvPr>
                  <p:extLst/>
                </p:nvPr>
              </p:nvGraphicFramePr>
              <p:xfrm>
                <a:off x="2580" y="462"/>
                <a:ext cx="4449" cy="3717"/>
              </p:xfrm>
              <a:graphic>
                <a:graphicData uri="http://schemas.openxmlformats.org/presentationml/2006/ole">
                  <mc:AlternateContent xmlns:mc="http://schemas.openxmlformats.org/markup-compatibility/2006">
                    <mc:Choice xmlns:v="urn:schemas-microsoft-com:vml" Requires="v">
                      <p:oleObj spid="_x0000_s923699" name="文書" r:id="rId7" imgW="7064375" imgH="5902325" progId="Word.Document.8">
                        <p:embed/>
                      </p:oleObj>
                    </mc:Choice>
                    <mc:Fallback>
                      <p:oleObj name="文書" r:id="rId7" imgW="7064375" imgH="5902325" progId="Word.Document.8">
                        <p:embed/>
                        <p:pic>
                          <p:nvPicPr>
                            <p:cNvPr id="0" name=""/>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80" y="462"/>
                              <a:ext cx="4449" cy="37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55" name="Rectangle 2053"/>
                <p:cNvSpPr>
                  <a:spLocks noChangeArrowheads="1"/>
                </p:cNvSpPr>
                <p:nvPr/>
              </p:nvSpPr>
              <p:spPr bwMode="auto">
                <a:xfrm>
                  <a:off x="1373" y="2016"/>
                  <a:ext cx="1038" cy="24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34" charset="-128"/>
                    </a:defRPr>
                  </a:lvl9pPr>
                </a:lstStyle>
                <a:p>
                  <a:pPr algn="ctr">
                    <a:spcBef>
                      <a:spcPct val="0"/>
                    </a:spcBef>
                    <a:buFontTx/>
                    <a:buNone/>
                  </a:pPr>
                  <a:endParaRPr lang="en-US" sz="2400" b="0" dirty="0"/>
                </a:p>
              </p:txBody>
            </p:sp>
          </p:grpSp>
          <p:sp>
            <p:nvSpPr>
              <p:cNvPr id="51" name="Rectangle 2054"/>
              <p:cNvSpPr>
                <a:spLocks noChangeArrowheads="1"/>
              </p:cNvSpPr>
              <p:nvPr/>
            </p:nvSpPr>
            <p:spPr bwMode="auto">
              <a:xfrm>
                <a:off x="1739" y="3672"/>
                <a:ext cx="498" cy="204"/>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34" charset="-128"/>
                  </a:defRPr>
                </a:lvl9pPr>
              </a:lstStyle>
              <a:p>
                <a:pPr algn="ctr">
                  <a:spcBef>
                    <a:spcPct val="0"/>
                  </a:spcBef>
                  <a:buFontTx/>
                  <a:buNone/>
                </a:pPr>
                <a:endParaRPr lang="en-US" sz="2400" b="0" dirty="0"/>
              </a:p>
            </p:txBody>
          </p:sp>
          <p:sp>
            <p:nvSpPr>
              <p:cNvPr id="52" name="Rectangle 2055"/>
              <p:cNvSpPr>
                <a:spLocks noChangeArrowheads="1"/>
              </p:cNvSpPr>
              <p:nvPr/>
            </p:nvSpPr>
            <p:spPr bwMode="auto">
              <a:xfrm>
                <a:off x="1985" y="3960"/>
                <a:ext cx="804" cy="204"/>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34" charset="-128"/>
                  </a:defRPr>
                </a:lvl9pPr>
              </a:lstStyle>
              <a:p>
                <a:pPr algn="ctr">
                  <a:spcBef>
                    <a:spcPct val="0"/>
                  </a:spcBef>
                  <a:buFontTx/>
                  <a:buNone/>
                </a:pPr>
                <a:endParaRPr lang="en-US" sz="2400" b="0" dirty="0"/>
              </a:p>
            </p:txBody>
          </p:sp>
          <p:sp>
            <p:nvSpPr>
              <p:cNvPr id="53" name="Rectangle 2056"/>
              <p:cNvSpPr>
                <a:spLocks noChangeArrowheads="1"/>
              </p:cNvSpPr>
              <p:nvPr/>
            </p:nvSpPr>
            <p:spPr bwMode="auto">
              <a:xfrm>
                <a:off x="1799" y="3762"/>
                <a:ext cx="498" cy="204"/>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nchor="ctr"/>
              <a:lstStyle>
                <a:lvl1pPr>
                  <a:spcBef>
                    <a:spcPct val="20000"/>
                  </a:spcBef>
                  <a:buChar char="•"/>
                  <a:defRPr kumimoji="1" sz="3200">
                    <a:solidFill>
                      <a:schemeClr val="tx1"/>
                    </a:solidFill>
                    <a:latin typeface="Times New Roman" panose="02020603050405020304" pitchFamily="18" charset="0"/>
                    <a:ea typeface="ＭＳ Ｐゴシック" panose="020B0600070205080204" pitchFamily="34" charset="-128"/>
                  </a:defRPr>
                </a:lvl1pPr>
                <a:lvl2pPr marL="742950" indent="-285750">
                  <a:spcBef>
                    <a:spcPct val="20000"/>
                  </a:spcBef>
                  <a:buChar char="–"/>
                  <a:defRPr kumimoji="1" sz="2800">
                    <a:solidFill>
                      <a:schemeClr val="tx1"/>
                    </a:solidFill>
                    <a:latin typeface="Times New Roman" panose="02020603050405020304" pitchFamily="18" charset="0"/>
                    <a:ea typeface="ＭＳ Ｐゴシック" panose="020B0600070205080204" pitchFamily="34" charset="-128"/>
                  </a:defRPr>
                </a:lvl2pPr>
                <a:lvl3pPr marL="1143000" indent="-228600">
                  <a:spcBef>
                    <a:spcPct val="20000"/>
                  </a:spcBef>
                  <a:buChar char="•"/>
                  <a:defRPr kumimoji="1" sz="2400">
                    <a:solidFill>
                      <a:schemeClr val="tx1"/>
                    </a:solidFill>
                    <a:latin typeface="Times New Roman" panose="02020603050405020304" pitchFamily="18" charset="0"/>
                    <a:ea typeface="ＭＳ Ｐゴシック" panose="020B0600070205080204" pitchFamily="34" charset="-128"/>
                  </a:defRPr>
                </a:lvl3pPr>
                <a:lvl4pPr marL="16002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34" charset="-128"/>
                  </a:defRPr>
                </a:lvl4pPr>
                <a:lvl5pPr marL="2057400" indent="-228600">
                  <a:spcBef>
                    <a:spcPct val="20000"/>
                  </a:spcBef>
                  <a:buChar char="»"/>
                  <a:defRPr kumimoji="1" sz="2000">
                    <a:solidFill>
                      <a:schemeClr val="tx1"/>
                    </a:solidFill>
                    <a:latin typeface="Times New Roman" panose="02020603050405020304" pitchFamily="18" charset="0"/>
                    <a:ea typeface="ＭＳ Ｐゴシック" panose="020B0600070205080204" pitchFamily="34" charset="-128"/>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34" charset="-128"/>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34" charset="-128"/>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34" charset="-128"/>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ＭＳ Ｐゴシック" panose="020B0600070205080204" pitchFamily="34" charset="-128"/>
                  </a:defRPr>
                </a:lvl9pPr>
              </a:lstStyle>
              <a:p>
                <a:pPr algn="ctr">
                  <a:spcBef>
                    <a:spcPct val="0"/>
                  </a:spcBef>
                  <a:buFontTx/>
                  <a:buNone/>
                </a:pPr>
                <a:endParaRPr lang="en-US" sz="2400" b="0" dirty="0"/>
              </a:p>
            </p:txBody>
          </p:sp>
        </p:grpSp>
        <p:sp>
          <p:nvSpPr>
            <p:cNvPr id="56" name="Text Box 2063"/>
            <p:cNvSpPr txBox="1">
              <a:spLocks noChangeArrowheads="1"/>
            </p:cNvSpPr>
            <p:nvPr/>
          </p:nvSpPr>
          <p:spPr bwMode="auto">
            <a:xfrm>
              <a:off x="2328863" y="2381250"/>
              <a:ext cx="1793875" cy="273050"/>
            </a:xfrm>
            <a:prstGeom prst="rect">
              <a:avLst/>
            </a:prstGeom>
            <a:solidFill>
              <a:srgbClr val="FFFFFF"/>
            </a:solidFill>
            <a:ln w="12700">
              <a:solidFill>
                <a:schemeClr val="tx1"/>
              </a:solidFill>
              <a:miter lim="800000"/>
              <a:headEnd/>
              <a:tailEnd/>
            </a:ln>
          </p:spPr>
          <p:txBody>
            <a:bodyPr lIns="74295" tIns="8890" rIns="74295" bIns="8890"/>
            <a:lstStyle>
              <a:lvl1pPr algn="ctr">
                <a:defRPr kumimoji="1" sz="2000" b="1">
                  <a:solidFill>
                    <a:schemeClr val="tx1"/>
                  </a:solidFill>
                  <a:latin typeface="Times New Roman" panose="02020603050405020304" pitchFamily="18" charset="0"/>
                  <a:ea typeface="HG丸ｺﾞｼｯｸM-PRO" pitchFamily="50" charset="-128"/>
                </a:defRPr>
              </a:lvl1pPr>
              <a:lvl2pPr marL="742950" indent="-285750" algn="ctr">
                <a:defRPr kumimoji="1" sz="2000" b="1">
                  <a:solidFill>
                    <a:schemeClr val="tx1"/>
                  </a:solidFill>
                  <a:latin typeface="Times New Roman" panose="02020603050405020304" pitchFamily="18" charset="0"/>
                  <a:ea typeface="HG丸ｺﾞｼｯｸM-PRO" pitchFamily="50" charset="-128"/>
                </a:defRPr>
              </a:lvl2pPr>
              <a:lvl3pPr marL="1143000" indent="-228600" algn="ctr">
                <a:defRPr kumimoji="1" sz="2000" b="1">
                  <a:solidFill>
                    <a:schemeClr val="tx1"/>
                  </a:solidFill>
                  <a:latin typeface="Times New Roman" panose="02020603050405020304" pitchFamily="18" charset="0"/>
                  <a:ea typeface="HG丸ｺﾞｼｯｸM-PRO" pitchFamily="50" charset="-128"/>
                </a:defRPr>
              </a:lvl3pPr>
              <a:lvl4pPr marL="1600200" indent="-228600" algn="ctr">
                <a:defRPr kumimoji="1" sz="2000" b="1">
                  <a:solidFill>
                    <a:schemeClr val="tx1"/>
                  </a:solidFill>
                  <a:latin typeface="Times New Roman" panose="02020603050405020304" pitchFamily="18" charset="0"/>
                  <a:ea typeface="HG丸ｺﾞｼｯｸM-PRO" pitchFamily="50" charset="-128"/>
                </a:defRPr>
              </a:lvl4pPr>
              <a:lvl5pPr marL="2057400" indent="-228600" algn="ctr">
                <a:defRPr kumimoji="1" sz="2000" b="1">
                  <a:solidFill>
                    <a:schemeClr val="tx1"/>
                  </a:solidFill>
                  <a:latin typeface="Times New Roman" panose="02020603050405020304" pitchFamily="18" charset="0"/>
                  <a:ea typeface="HG丸ｺﾞｼｯｸM-PRO" pitchFamily="50" charset="-128"/>
                </a:defRPr>
              </a:lvl5pPr>
              <a:lvl6pPr marL="2514600" indent="-228600" algn="ctr" eaLnBrk="0" fontAlgn="base" hangingPunct="0">
                <a:spcBef>
                  <a:spcPct val="0"/>
                </a:spcBef>
                <a:spcAft>
                  <a:spcPct val="0"/>
                </a:spcAft>
                <a:defRPr kumimoji="1" sz="2000" b="1">
                  <a:solidFill>
                    <a:schemeClr val="tx1"/>
                  </a:solidFill>
                  <a:latin typeface="Times New Roman" panose="02020603050405020304" pitchFamily="18" charset="0"/>
                  <a:ea typeface="HG丸ｺﾞｼｯｸM-PRO" pitchFamily="50" charset="-128"/>
                </a:defRPr>
              </a:lvl6pPr>
              <a:lvl7pPr marL="2971800" indent="-228600" algn="ctr" eaLnBrk="0" fontAlgn="base" hangingPunct="0">
                <a:spcBef>
                  <a:spcPct val="0"/>
                </a:spcBef>
                <a:spcAft>
                  <a:spcPct val="0"/>
                </a:spcAft>
                <a:defRPr kumimoji="1" sz="2000" b="1">
                  <a:solidFill>
                    <a:schemeClr val="tx1"/>
                  </a:solidFill>
                  <a:latin typeface="Times New Roman" panose="02020603050405020304" pitchFamily="18" charset="0"/>
                  <a:ea typeface="HG丸ｺﾞｼｯｸM-PRO" pitchFamily="50" charset="-128"/>
                </a:defRPr>
              </a:lvl7pPr>
              <a:lvl8pPr marL="3429000" indent="-228600" algn="ctr" eaLnBrk="0" fontAlgn="base" hangingPunct="0">
                <a:spcBef>
                  <a:spcPct val="0"/>
                </a:spcBef>
                <a:spcAft>
                  <a:spcPct val="0"/>
                </a:spcAft>
                <a:defRPr kumimoji="1" sz="2000" b="1">
                  <a:solidFill>
                    <a:schemeClr val="tx1"/>
                  </a:solidFill>
                  <a:latin typeface="Times New Roman" panose="02020603050405020304" pitchFamily="18" charset="0"/>
                  <a:ea typeface="HG丸ｺﾞｼｯｸM-PRO" pitchFamily="50" charset="-128"/>
                </a:defRPr>
              </a:lvl8pPr>
              <a:lvl9pPr marL="3886200" indent="-228600" algn="ctr" eaLnBrk="0" fontAlgn="base" hangingPunct="0">
                <a:spcBef>
                  <a:spcPct val="0"/>
                </a:spcBef>
                <a:spcAft>
                  <a:spcPct val="0"/>
                </a:spcAft>
                <a:defRPr kumimoji="1" sz="2000" b="1">
                  <a:solidFill>
                    <a:schemeClr val="tx1"/>
                  </a:solidFill>
                  <a:latin typeface="Times New Roman" panose="02020603050405020304" pitchFamily="18" charset="0"/>
                  <a:ea typeface="HG丸ｺﾞｼｯｸM-PRO" pitchFamily="50" charset="-128"/>
                </a:defRPr>
              </a:lvl9pPr>
            </a:lstStyle>
            <a:p>
              <a:r>
                <a:rPr lang="ja-JP" altLang="en-US" sz="1000" b="0" dirty="0">
                  <a:latin typeface="Arial" panose="020B0604020202020204" pitchFamily="34" charset="0"/>
                  <a:ea typeface="ＭＳ ゴシック" panose="020B0609070205080204" pitchFamily="49" charset="-128"/>
                </a:rPr>
                <a:t>沈殿槽 </a:t>
              </a:r>
              <a:endParaRPr lang="en-US" altLang="ja-JP" sz="1000" b="0" dirty="0">
                <a:latin typeface="Arial" panose="020B0604020202020204" pitchFamily="34" charset="0"/>
                <a:ea typeface="ＭＳ ゴシック" panose="020B0609070205080204" pitchFamily="49" charset="-128"/>
              </a:endParaRPr>
            </a:p>
          </p:txBody>
        </p:sp>
        <p:sp>
          <p:nvSpPr>
            <p:cNvPr id="57" name="Text Box 2064"/>
            <p:cNvSpPr txBox="1">
              <a:spLocks noChangeArrowheads="1"/>
            </p:cNvSpPr>
            <p:nvPr/>
          </p:nvSpPr>
          <p:spPr bwMode="auto">
            <a:xfrm>
              <a:off x="6356350" y="3524250"/>
              <a:ext cx="1682750" cy="419100"/>
            </a:xfrm>
            <a:prstGeom prst="rect">
              <a:avLst/>
            </a:prstGeom>
            <a:solidFill>
              <a:srgbClr val="FFFFFF"/>
            </a:solidFill>
            <a:ln w="12700">
              <a:solidFill>
                <a:schemeClr val="tx1"/>
              </a:solidFill>
              <a:miter lim="800000"/>
              <a:headEnd/>
              <a:tailEnd/>
            </a:ln>
          </p:spPr>
          <p:txBody>
            <a:bodyPr lIns="0" tIns="0" rIns="0" bIns="0"/>
            <a:lstStyle>
              <a:lvl1pPr algn="ctr">
                <a:defRPr kumimoji="1" sz="2000" b="1">
                  <a:solidFill>
                    <a:schemeClr val="tx1"/>
                  </a:solidFill>
                  <a:latin typeface="Times New Roman" panose="02020603050405020304" pitchFamily="18" charset="0"/>
                  <a:ea typeface="HG丸ｺﾞｼｯｸM-PRO" pitchFamily="50" charset="-128"/>
                </a:defRPr>
              </a:lvl1pPr>
              <a:lvl2pPr marL="742950" indent="-285750" algn="ctr">
                <a:defRPr kumimoji="1" sz="2000" b="1">
                  <a:solidFill>
                    <a:schemeClr val="tx1"/>
                  </a:solidFill>
                  <a:latin typeface="Times New Roman" panose="02020603050405020304" pitchFamily="18" charset="0"/>
                  <a:ea typeface="HG丸ｺﾞｼｯｸM-PRO" pitchFamily="50" charset="-128"/>
                </a:defRPr>
              </a:lvl2pPr>
              <a:lvl3pPr marL="1143000" indent="-228600" algn="ctr">
                <a:defRPr kumimoji="1" sz="2000" b="1">
                  <a:solidFill>
                    <a:schemeClr val="tx1"/>
                  </a:solidFill>
                  <a:latin typeface="Times New Roman" panose="02020603050405020304" pitchFamily="18" charset="0"/>
                  <a:ea typeface="HG丸ｺﾞｼｯｸM-PRO" pitchFamily="50" charset="-128"/>
                </a:defRPr>
              </a:lvl3pPr>
              <a:lvl4pPr marL="1600200" indent="-228600" algn="ctr">
                <a:defRPr kumimoji="1" sz="2000" b="1">
                  <a:solidFill>
                    <a:schemeClr val="tx1"/>
                  </a:solidFill>
                  <a:latin typeface="Times New Roman" panose="02020603050405020304" pitchFamily="18" charset="0"/>
                  <a:ea typeface="HG丸ｺﾞｼｯｸM-PRO" pitchFamily="50" charset="-128"/>
                </a:defRPr>
              </a:lvl4pPr>
              <a:lvl5pPr marL="2057400" indent="-228600" algn="ctr">
                <a:defRPr kumimoji="1" sz="2000" b="1">
                  <a:solidFill>
                    <a:schemeClr val="tx1"/>
                  </a:solidFill>
                  <a:latin typeface="Times New Roman" panose="02020603050405020304" pitchFamily="18" charset="0"/>
                  <a:ea typeface="HG丸ｺﾞｼｯｸM-PRO" pitchFamily="50" charset="-128"/>
                </a:defRPr>
              </a:lvl5pPr>
              <a:lvl6pPr marL="2514600" indent="-228600" algn="ctr" eaLnBrk="0" fontAlgn="base" hangingPunct="0">
                <a:spcBef>
                  <a:spcPct val="0"/>
                </a:spcBef>
                <a:spcAft>
                  <a:spcPct val="0"/>
                </a:spcAft>
                <a:defRPr kumimoji="1" sz="2000" b="1">
                  <a:solidFill>
                    <a:schemeClr val="tx1"/>
                  </a:solidFill>
                  <a:latin typeface="Times New Roman" panose="02020603050405020304" pitchFamily="18" charset="0"/>
                  <a:ea typeface="HG丸ｺﾞｼｯｸM-PRO" pitchFamily="50" charset="-128"/>
                </a:defRPr>
              </a:lvl6pPr>
              <a:lvl7pPr marL="2971800" indent="-228600" algn="ctr" eaLnBrk="0" fontAlgn="base" hangingPunct="0">
                <a:spcBef>
                  <a:spcPct val="0"/>
                </a:spcBef>
                <a:spcAft>
                  <a:spcPct val="0"/>
                </a:spcAft>
                <a:defRPr kumimoji="1" sz="2000" b="1">
                  <a:solidFill>
                    <a:schemeClr val="tx1"/>
                  </a:solidFill>
                  <a:latin typeface="Times New Roman" panose="02020603050405020304" pitchFamily="18" charset="0"/>
                  <a:ea typeface="HG丸ｺﾞｼｯｸM-PRO" pitchFamily="50" charset="-128"/>
                </a:defRPr>
              </a:lvl7pPr>
              <a:lvl8pPr marL="3429000" indent="-228600" algn="ctr" eaLnBrk="0" fontAlgn="base" hangingPunct="0">
                <a:spcBef>
                  <a:spcPct val="0"/>
                </a:spcBef>
                <a:spcAft>
                  <a:spcPct val="0"/>
                </a:spcAft>
                <a:defRPr kumimoji="1" sz="2000" b="1">
                  <a:solidFill>
                    <a:schemeClr val="tx1"/>
                  </a:solidFill>
                  <a:latin typeface="Times New Roman" panose="02020603050405020304" pitchFamily="18" charset="0"/>
                  <a:ea typeface="HG丸ｺﾞｼｯｸM-PRO" pitchFamily="50" charset="-128"/>
                </a:defRPr>
              </a:lvl8pPr>
              <a:lvl9pPr marL="3886200" indent="-228600" algn="ctr" eaLnBrk="0" fontAlgn="base" hangingPunct="0">
                <a:spcBef>
                  <a:spcPct val="0"/>
                </a:spcBef>
                <a:spcAft>
                  <a:spcPct val="0"/>
                </a:spcAft>
                <a:defRPr kumimoji="1" sz="2000" b="1">
                  <a:solidFill>
                    <a:schemeClr val="tx1"/>
                  </a:solidFill>
                  <a:latin typeface="Times New Roman" panose="02020603050405020304" pitchFamily="18" charset="0"/>
                  <a:ea typeface="HG丸ｺﾞｼｯｸM-PRO" pitchFamily="50" charset="-128"/>
                </a:defRPr>
              </a:lvl9pPr>
            </a:lstStyle>
            <a:p>
              <a:r>
                <a:rPr lang="ja-JP" altLang="en-US" sz="1000" b="0" dirty="0">
                  <a:latin typeface="Arial" panose="020B0604020202020204" pitchFamily="34" charset="0"/>
                  <a:ea typeface="ＭＳ ゴシック" panose="020B0609070205080204" pitchFamily="49" charset="-128"/>
                </a:rPr>
                <a:t>沈殿・</a:t>
              </a:r>
              <a:r>
                <a:rPr lang="ja-JP" altLang="en-US" sz="1000" b="0" dirty="0" smtClean="0">
                  <a:latin typeface="Arial" panose="020B0604020202020204" pitchFamily="34" charset="0"/>
                  <a:ea typeface="ＭＳ ゴシック" panose="020B0609070205080204" pitchFamily="49" charset="-128"/>
                </a:rPr>
                <a:t>接触ろ過槽</a:t>
              </a:r>
              <a:endParaRPr lang="en-US" altLang="ja-JP" sz="1000" b="0" dirty="0">
                <a:latin typeface="Arial" panose="020B0604020202020204" pitchFamily="34" charset="0"/>
                <a:ea typeface="ＭＳ ゴシック" panose="020B0609070205080204" pitchFamily="49" charset="-128"/>
              </a:endParaRPr>
            </a:p>
          </p:txBody>
        </p:sp>
        <p:sp>
          <p:nvSpPr>
            <p:cNvPr id="58" name="Text Box 2065"/>
            <p:cNvSpPr txBox="1">
              <a:spLocks noChangeArrowheads="1"/>
            </p:cNvSpPr>
            <p:nvPr/>
          </p:nvSpPr>
          <p:spPr bwMode="auto">
            <a:xfrm>
              <a:off x="4892675" y="2822575"/>
              <a:ext cx="1720850" cy="428625"/>
            </a:xfrm>
            <a:prstGeom prst="rect">
              <a:avLst/>
            </a:prstGeom>
            <a:solidFill>
              <a:srgbClr val="FFFFFF"/>
            </a:solidFill>
            <a:ln w="12700">
              <a:solidFill>
                <a:schemeClr val="tx1"/>
              </a:solidFill>
              <a:miter lim="800000"/>
              <a:headEnd/>
              <a:tailEnd/>
            </a:ln>
          </p:spPr>
          <p:txBody>
            <a:bodyPr lIns="0" tIns="0" rIns="0" bIns="0"/>
            <a:lstStyle>
              <a:lvl1pPr algn="ctr">
                <a:defRPr kumimoji="1" sz="2000" b="1">
                  <a:solidFill>
                    <a:schemeClr val="tx1"/>
                  </a:solidFill>
                  <a:latin typeface="Times New Roman" panose="02020603050405020304" pitchFamily="18" charset="0"/>
                  <a:ea typeface="HG丸ｺﾞｼｯｸM-PRO" pitchFamily="50" charset="-128"/>
                </a:defRPr>
              </a:lvl1pPr>
              <a:lvl2pPr marL="742950" indent="-285750" algn="ctr">
                <a:defRPr kumimoji="1" sz="2000" b="1">
                  <a:solidFill>
                    <a:schemeClr val="tx1"/>
                  </a:solidFill>
                  <a:latin typeface="Times New Roman" panose="02020603050405020304" pitchFamily="18" charset="0"/>
                  <a:ea typeface="HG丸ｺﾞｼｯｸM-PRO" pitchFamily="50" charset="-128"/>
                </a:defRPr>
              </a:lvl2pPr>
              <a:lvl3pPr marL="1143000" indent="-228600" algn="ctr">
                <a:defRPr kumimoji="1" sz="2000" b="1">
                  <a:solidFill>
                    <a:schemeClr val="tx1"/>
                  </a:solidFill>
                  <a:latin typeface="Times New Roman" panose="02020603050405020304" pitchFamily="18" charset="0"/>
                  <a:ea typeface="HG丸ｺﾞｼｯｸM-PRO" pitchFamily="50" charset="-128"/>
                </a:defRPr>
              </a:lvl3pPr>
              <a:lvl4pPr marL="1600200" indent="-228600" algn="ctr">
                <a:defRPr kumimoji="1" sz="2000" b="1">
                  <a:solidFill>
                    <a:schemeClr val="tx1"/>
                  </a:solidFill>
                  <a:latin typeface="Times New Roman" panose="02020603050405020304" pitchFamily="18" charset="0"/>
                  <a:ea typeface="HG丸ｺﾞｼｯｸM-PRO" pitchFamily="50" charset="-128"/>
                </a:defRPr>
              </a:lvl4pPr>
              <a:lvl5pPr marL="2057400" indent="-228600" algn="ctr">
                <a:defRPr kumimoji="1" sz="2000" b="1">
                  <a:solidFill>
                    <a:schemeClr val="tx1"/>
                  </a:solidFill>
                  <a:latin typeface="Times New Roman" panose="02020603050405020304" pitchFamily="18" charset="0"/>
                  <a:ea typeface="HG丸ｺﾞｼｯｸM-PRO" pitchFamily="50" charset="-128"/>
                </a:defRPr>
              </a:lvl5pPr>
              <a:lvl6pPr marL="2514600" indent="-228600" algn="ctr" eaLnBrk="0" fontAlgn="base" hangingPunct="0">
                <a:spcBef>
                  <a:spcPct val="0"/>
                </a:spcBef>
                <a:spcAft>
                  <a:spcPct val="0"/>
                </a:spcAft>
                <a:defRPr kumimoji="1" sz="2000" b="1">
                  <a:solidFill>
                    <a:schemeClr val="tx1"/>
                  </a:solidFill>
                  <a:latin typeface="Times New Roman" panose="02020603050405020304" pitchFamily="18" charset="0"/>
                  <a:ea typeface="HG丸ｺﾞｼｯｸM-PRO" pitchFamily="50" charset="-128"/>
                </a:defRPr>
              </a:lvl6pPr>
              <a:lvl7pPr marL="2971800" indent="-228600" algn="ctr" eaLnBrk="0" fontAlgn="base" hangingPunct="0">
                <a:spcBef>
                  <a:spcPct val="0"/>
                </a:spcBef>
                <a:spcAft>
                  <a:spcPct val="0"/>
                </a:spcAft>
                <a:defRPr kumimoji="1" sz="2000" b="1">
                  <a:solidFill>
                    <a:schemeClr val="tx1"/>
                  </a:solidFill>
                  <a:latin typeface="Times New Roman" panose="02020603050405020304" pitchFamily="18" charset="0"/>
                  <a:ea typeface="HG丸ｺﾞｼｯｸM-PRO" pitchFamily="50" charset="-128"/>
                </a:defRPr>
              </a:lvl7pPr>
              <a:lvl8pPr marL="3429000" indent="-228600" algn="ctr" eaLnBrk="0" fontAlgn="base" hangingPunct="0">
                <a:spcBef>
                  <a:spcPct val="0"/>
                </a:spcBef>
                <a:spcAft>
                  <a:spcPct val="0"/>
                </a:spcAft>
                <a:defRPr kumimoji="1" sz="2000" b="1">
                  <a:solidFill>
                    <a:schemeClr val="tx1"/>
                  </a:solidFill>
                  <a:latin typeface="Times New Roman" panose="02020603050405020304" pitchFamily="18" charset="0"/>
                  <a:ea typeface="HG丸ｺﾞｼｯｸM-PRO" pitchFamily="50" charset="-128"/>
                </a:defRPr>
              </a:lvl8pPr>
              <a:lvl9pPr marL="3886200" indent="-228600" algn="ctr" eaLnBrk="0" fontAlgn="base" hangingPunct="0">
                <a:spcBef>
                  <a:spcPct val="0"/>
                </a:spcBef>
                <a:spcAft>
                  <a:spcPct val="0"/>
                </a:spcAft>
                <a:defRPr kumimoji="1" sz="2000" b="1">
                  <a:solidFill>
                    <a:schemeClr val="tx1"/>
                  </a:solidFill>
                  <a:latin typeface="Times New Roman" panose="02020603050405020304" pitchFamily="18" charset="0"/>
                  <a:ea typeface="HG丸ｺﾞｼｯｸM-PRO" pitchFamily="50" charset="-128"/>
                </a:defRPr>
              </a:lvl9pPr>
            </a:lstStyle>
            <a:p>
              <a:r>
                <a:rPr lang="ja-JP" altLang="ja-JP" sz="1000" b="0" dirty="0">
                  <a:latin typeface="Arial" panose="020B0604020202020204" pitchFamily="34" charset="0"/>
                  <a:ea typeface="ＭＳ ゴシック" panose="020B0609070205080204" pitchFamily="49" charset="-128"/>
                </a:rPr>
                <a:t>礫間接触酸化槽</a:t>
              </a:r>
              <a:endParaRPr lang="en-US" altLang="ja-JP" sz="1000" b="0" dirty="0">
                <a:latin typeface="Arial" panose="020B0604020202020204" pitchFamily="34" charset="0"/>
                <a:ea typeface="ＭＳ ゴシック" panose="020B0609070205080204" pitchFamily="49" charset="-128"/>
              </a:endParaRPr>
            </a:p>
          </p:txBody>
        </p:sp>
        <p:sp>
          <p:nvSpPr>
            <p:cNvPr id="59" name="Text Box 2067"/>
            <p:cNvSpPr txBox="1">
              <a:spLocks noChangeArrowheads="1"/>
            </p:cNvSpPr>
            <p:nvPr/>
          </p:nvSpPr>
          <p:spPr bwMode="auto">
            <a:xfrm>
              <a:off x="1584325" y="2695575"/>
              <a:ext cx="1682750" cy="419100"/>
            </a:xfrm>
            <a:prstGeom prst="rect">
              <a:avLst/>
            </a:prstGeom>
            <a:solidFill>
              <a:srgbClr val="FFFFFF"/>
            </a:solidFill>
            <a:ln>
              <a:noFill/>
            </a:ln>
            <a:extLst>
              <a:ext uri="{91240B29-F687-4F45-9708-019B960494DF}">
                <a14:hiddenLine xmlns:a14="http://schemas.microsoft.com/office/drawing/2010/main" w="12700">
                  <a:solidFill>
                    <a:schemeClr val="tx1"/>
                  </a:solidFill>
                  <a:miter lim="800000"/>
                  <a:headEnd/>
                  <a:tailEnd/>
                </a14:hiddenLine>
              </a:ext>
            </a:extLst>
          </p:spPr>
          <p:txBody>
            <a:bodyPr lIns="0" tIns="0" rIns="0" bIns="0"/>
            <a:lstStyle>
              <a:lvl1pPr algn="ctr">
                <a:defRPr kumimoji="1" sz="2000" b="1">
                  <a:solidFill>
                    <a:schemeClr val="tx1"/>
                  </a:solidFill>
                  <a:latin typeface="Times New Roman" panose="02020603050405020304" pitchFamily="18" charset="0"/>
                  <a:ea typeface="HG丸ｺﾞｼｯｸM-PRO" pitchFamily="50" charset="-128"/>
                </a:defRPr>
              </a:lvl1pPr>
              <a:lvl2pPr marL="742950" indent="-285750" algn="ctr">
                <a:defRPr kumimoji="1" sz="2000" b="1">
                  <a:solidFill>
                    <a:schemeClr val="tx1"/>
                  </a:solidFill>
                  <a:latin typeface="Times New Roman" panose="02020603050405020304" pitchFamily="18" charset="0"/>
                  <a:ea typeface="HG丸ｺﾞｼｯｸM-PRO" pitchFamily="50" charset="-128"/>
                </a:defRPr>
              </a:lvl2pPr>
              <a:lvl3pPr marL="1143000" indent="-228600" algn="ctr">
                <a:defRPr kumimoji="1" sz="2000" b="1">
                  <a:solidFill>
                    <a:schemeClr val="tx1"/>
                  </a:solidFill>
                  <a:latin typeface="Times New Roman" panose="02020603050405020304" pitchFamily="18" charset="0"/>
                  <a:ea typeface="HG丸ｺﾞｼｯｸM-PRO" pitchFamily="50" charset="-128"/>
                </a:defRPr>
              </a:lvl3pPr>
              <a:lvl4pPr marL="1600200" indent="-228600" algn="ctr">
                <a:defRPr kumimoji="1" sz="2000" b="1">
                  <a:solidFill>
                    <a:schemeClr val="tx1"/>
                  </a:solidFill>
                  <a:latin typeface="Times New Roman" panose="02020603050405020304" pitchFamily="18" charset="0"/>
                  <a:ea typeface="HG丸ｺﾞｼｯｸM-PRO" pitchFamily="50" charset="-128"/>
                </a:defRPr>
              </a:lvl4pPr>
              <a:lvl5pPr marL="2057400" indent="-228600" algn="ctr">
                <a:defRPr kumimoji="1" sz="2000" b="1">
                  <a:solidFill>
                    <a:schemeClr val="tx1"/>
                  </a:solidFill>
                  <a:latin typeface="Times New Roman" panose="02020603050405020304" pitchFamily="18" charset="0"/>
                  <a:ea typeface="HG丸ｺﾞｼｯｸM-PRO" pitchFamily="50" charset="-128"/>
                </a:defRPr>
              </a:lvl5pPr>
              <a:lvl6pPr marL="2514600" indent="-228600" algn="ctr" eaLnBrk="0" fontAlgn="base" hangingPunct="0">
                <a:spcBef>
                  <a:spcPct val="0"/>
                </a:spcBef>
                <a:spcAft>
                  <a:spcPct val="0"/>
                </a:spcAft>
                <a:defRPr kumimoji="1" sz="2000" b="1">
                  <a:solidFill>
                    <a:schemeClr val="tx1"/>
                  </a:solidFill>
                  <a:latin typeface="Times New Roman" panose="02020603050405020304" pitchFamily="18" charset="0"/>
                  <a:ea typeface="HG丸ｺﾞｼｯｸM-PRO" pitchFamily="50" charset="-128"/>
                </a:defRPr>
              </a:lvl6pPr>
              <a:lvl7pPr marL="2971800" indent="-228600" algn="ctr" eaLnBrk="0" fontAlgn="base" hangingPunct="0">
                <a:spcBef>
                  <a:spcPct val="0"/>
                </a:spcBef>
                <a:spcAft>
                  <a:spcPct val="0"/>
                </a:spcAft>
                <a:defRPr kumimoji="1" sz="2000" b="1">
                  <a:solidFill>
                    <a:schemeClr val="tx1"/>
                  </a:solidFill>
                  <a:latin typeface="Times New Roman" panose="02020603050405020304" pitchFamily="18" charset="0"/>
                  <a:ea typeface="HG丸ｺﾞｼｯｸM-PRO" pitchFamily="50" charset="-128"/>
                </a:defRPr>
              </a:lvl7pPr>
              <a:lvl8pPr marL="3429000" indent="-228600" algn="ctr" eaLnBrk="0" fontAlgn="base" hangingPunct="0">
                <a:spcBef>
                  <a:spcPct val="0"/>
                </a:spcBef>
                <a:spcAft>
                  <a:spcPct val="0"/>
                </a:spcAft>
                <a:defRPr kumimoji="1" sz="2000" b="1">
                  <a:solidFill>
                    <a:schemeClr val="tx1"/>
                  </a:solidFill>
                  <a:latin typeface="Times New Roman" panose="02020603050405020304" pitchFamily="18" charset="0"/>
                  <a:ea typeface="HG丸ｺﾞｼｯｸM-PRO" pitchFamily="50" charset="-128"/>
                </a:defRPr>
              </a:lvl8pPr>
              <a:lvl9pPr marL="3886200" indent="-228600" algn="ctr" eaLnBrk="0" fontAlgn="base" hangingPunct="0">
                <a:spcBef>
                  <a:spcPct val="0"/>
                </a:spcBef>
                <a:spcAft>
                  <a:spcPct val="0"/>
                </a:spcAft>
                <a:defRPr kumimoji="1" sz="2000" b="1">
                  <a:solidFill>
                    <a:schemeClr val="tx1"/>
                  </a:solidFill>
                  <a:latin typeface="Times New Roman" panose="02020603050405020304" pitchFamily="18" charset="0"/>
                  <a:ea typeface="HG丸ｺﾞｼｯｸM-PRO" pitchFamily="50" charset="-128"/>
                </a:defRPr>
              </a:lvl9pPr>
            </a:lstStyle>
            <a:p>
              <a:pPr algn="l" eaLnBrk="1" hangingPunct="1"/>
              <a:endParaRPr lang="en-US" sz="1400" b="0" dirty="0">
                <a:latin typeface="Arial" panose="020B0604020202020204" pitchFamily="34" charset="0"/>
                <a:ea typeface="ＭＳ ゴシック" panose="020B0609070205080204" pitchFamily="49" charset="-128"/>
              </a:endParaRPr>
            </a:p>
          </p:txBody>
        </p:sp>
        <p:sp>
          <p:nvSpPr>
            <p:cNvPr id="60" name="Text Box 2068"/>
            <p:cNvSpPr txBox="1">
              <a:spLocks noChangeArrowheads="1"/>
            </p:cNvSpPr>
            <p:nvPr/>
          </p:nvSpPr>
          <p:spPr bwMode="auto">
            <a:xfrm>
              <a:off x="793750" y="3476625"/>
              <a:ext cx="1187450" cy="523875"/>
            </a:xfrm>
            <a:prstGeom prst="rect">
              <a:avLst/>
            </a:prstGeom>
            <a:solidFill>
              <a:srgbClr val="FFFFFF"/>
            </a:solidFill>
            <a:ln>
              <a:noFill/>
            </a:ln>
            <a:extLst>
              <a:ext uri="{91240B29-F687-4F45-9708-019B960494DF}">
                <a14:hiddenLine xmlns:a14="http://schemas.microsoft.com/office/drawing/2010/main" w="12700">
                  <a:solidFill>
                    <a:schemeClr val="tx1"/>
                  </a:solidFill>
                  <a:miter lim="800000"/>
                  <a:headEnd/>
                  <a:tailEnd/>
                </a14:hiddenLine>
              </a:ext>
            </a:extLst>
          </p:spPr>
          <p:txBody>
            <a:bodyPr lIns="0" tIns="0" rIns="0" bIns="0"/>
            <a:lstStyle>
              <a:lvl1pPr algn="ctr">
                <a:defRPr kumimoji="1" sz="2000" b="1">
                  <a:solidFill>
                    <a:schemeClr val="tx1"/>
                  </a:solidFill>
                  <a:latin typeface="Times New Roman" panose="02020603050405020304" pitchFamily="18" charset="0"/>
                  <a:ea typeface="HG丸ｺﾞｼｯｸM-PRO" pitchFamily="50" charset="-128"/>
                </a:defRPr>
              </a:lvl1pPr>
              <a:lvl2pPr marL="742950" indent="-285750" algn="ctr">
                <a:defRPr kumimoji="1" sz="2000" b="1">
                  <a:solidFill>
                    <a:schemeClr val="tx1"/>
                  </a:solidFill>
                  <a:latin typeface="Times New Roman" panose="02020603050405020304" pitchFamily="18" charset="0"/>
                  <a:ea typeface="HG丸ｺﾞｼｯｸM-PRO" pitchFamily="50" charset="-128"/>
                </a:defRPr>
              </a:lvl2pPr>
              <a:lvl3pPr marL="1143000" indent="-228600" algn="ctr">
                <a:defRPr kumimoji="1" sz="2000" b="1">
                  <a:solidFill>
                    <a:schemeClr val="tx1"/>
                  </a:solidFill>
                  <a:latin typeface="Times New Roman" panose="02020603050405020304" pitchFamily="18" charset="0"/>
                  <a:ea typeface="HG丸ｺﾞｼｯｸM-PRO" pitchFamily="50" charset="-128"/>
                </a:defRPr>
              </a:lvl3pPr>
              <a:lvl4pPr marL="1600200" indent="-228600" algn="ctr">
                <a:defRPr kumimoji="1" sz="2000" b="1">
                  <a:solidFill>
                    <a:schemeClr val="tx1"/>
                  </a:solidFill>
                  <a:latin typeface="Times New Roman" panose="02020603050405020304" pitchFamily="18" charset="0"/>
                  <a:ea typeface="HG丸ｺﾞｼｯｸM-PRO" pitchFamily="50" charset="-128"/>
                </a:defRPr>
              </a:lvl4pPr>
              <a:lvl5pPr marL="2057400" indent="-228600" algn="ctr">
                <a:defRPr kumimoji="1" sz="2000" b="1">
                  <a:solidFill>
                    <a:schemeClr val="tx1"/>
                  </a:solidFill>
                  <a:latin typeface="Times New Roman" panose="02020603050405020304" pitchFamily="18" charset="0"/>
                  <a:ea typeface="HG丸ｺﾞｼｯｸM-PRO" pitchFamily="50" charset="-128"/>
                </a:defRPr>
              </a:lvl5pPr>
              <a:lvl6pPr marL="2514600" indent="-228600" algn="ctr" eaLnBrk="0" fontAlgn="base" hangingPunct="0">
                <a:spcBef>
                  <a:spcPct val="0"/>
                </a:spcBef>
                <a:spcAft>
                  <a:spcPct val="0"/>
                </a:spcAft>
                <a:defRPr kumimoji="1" sz="2000" b="1">
                  <a:solidFill>
                    <a:schemeClr val="tx1"/>
                  </a:solidFill>
                  <a:latin typeface="Times New Roman" panose="02020603050405020304" pitchFamily="18" charset="0"/>
                  <a:ea typeface="HG丸ｺﾞｼｯｸM-PRO" pitchFamily="50" charset="-128"/>
                </a:defRPr>
              </a:lvl6pPr>
              <a:lvl7pPr marL="2971800" indent="-228600" algn="ctr" eaLnBrk="0" fontAlgn="base" hangingPunct="0">
                <a:spcBef>
                  <a:spcPct val="0"/>
                </a:spcBef>
                <a:spcAft>
                  <a:spcPct val="0"/>
                </a:spcAft>
                <a:defRPr kumimoji="1" sz="2000" b="1">
                  <a:solidFill>
                    <a:schemeClr val="tx1"/>
                  </a:solidFill>
                  <a:latin typeface="Times New Roman" panose="02020603050405020304" pitchFamily="18" charset="0"/>
                  <a:ea typeface="HG丸ｺﾞｼｯｸM-PRO" pitchFamily="50" charset="-128"/>
                </a:defRPr>
              </a:lvl7pPr>
              <a:lvl8pPr marL="3429000" indent="-228600" algn="ctr" eaLnBrk="0" fontAlgn="base" hangingPunct="0">
                <a:spcBef>
                  <a:spcPct val="0"/>
                </a:spcBef>
                <a:spcAft>
                  <a:spcPct val="0"/>
                </a:spcAft>
                <a:defRPr kumimoji="1" sz="2000" b="1">
                  <a:solidFill>
                    <a:schemeClr val="tx1"/>
                  </a:solidFill>
                  <a:latin typeface="Times New Roman" panose="02020603050405020304" pitchFamily="18" charset="0"/>
                  <a:ea typeface="HG丸ｺﾞｼｯｸM-PRO" pitchFamily="50" charset="-128"/>
                </a:defRPr>
              </a:lvl8pPr>
              <a:lvl9pPr marL="3886200" indent="-228600" algn="ctr" eaLnBrk="0" fontAlgn="base" hangingPunct="0">
                <a:spcBef>
                  <a:spcPct val="0"/>
                </a:spcBef>
                <a:spcAft>
                  <a:spcPct val="0"/>
                </a:spcAft>
                <a:defRPr kumimoji="1" sz="2000" b="1">
                  <a:solidFill>
                    <a:schemeClr val="tx1"/>
                  </a:solidFill>
                  <a:latin typeface="Times New Roman" panose="02020603050405020304" pitchFamily="18" charset="0"/>
                  <a:ea typeface="HG丸ｺﾞｼｯｸM-PRO" pitchFamily="50" charset="-128"/>
                </a:defRPr>
              </a:lvl9pPr>
            </a:lstStyle>
            <a:p>
              <a:pPr algn="l" eaLnBrk="1" hangingPunct="1"/>
              <a:endParaRPr lang="en-US" sz="1400" b="0" dirty="0">
                <a:latin typeface="Arial" panose="020B0604020202020204" pitchFamily="34" charset="0"/>
                <a:ea typeface="ＭＳ ゴシック" panose="020B0609070205080204" pitchFamily="49" charset="-128"/>
              </a:endParaRPr>
            </a:p>
          </p:txBody>
        </p:sp>
        <p:sp>
          <p:nvSpPr>
            <p:cNvPr id="61" name="Text Box 2069"/>
            <p:cNvSpPr txBox="1">
              <a:spLocks noChangeArrowheads="1"/>
            </p:cNvSpPr>
            <p:nvPr/>
          </p:nvSpPr>
          <p:spPr bwMode="auto">
            <a:xfrm>
              <a:off x="1165225" y="4133850"/>
              <a:ext cx="720725" cy="523875"/>
            </a:xfrm>
            <a:prstGeom prst="rect">
              <a:avLst/>
            </a:prstGeom>
            <a:solidFill>
              <a:srgbClr val="FFFFFF"/>
            </a:solidFill>
            <a:ln>
              <a:noFill/>
            </a:ln>
            <a:extLst>
              <a:ext uri="{91240B29-F687-4F45-9708-019B960494DF}">
                <a14:hiddenLine xmlns:a14="http://schemas.microsoft.com/office/drawing/2010/main" w="12700">
                  <a:solidFill>
                    <a:schemeClr val="tx1"/>
                  </a:solidFill>
                  <a:miter lim="800000"/>
                  <a:headEnd/>
                  <a:tailEnd/>
                </a14:hiddenLine>
              </a:ext>
            </a:extLst>
          </p:spPr>
          <p:txBody>
            <a:bodyPr lIns="0" tIns="0" rIns="0" bIns="0"/>
            <a:lstStyle>
              <a:lvl1pPr algn="ctr">
                <a:defRPr kumimoji="1" sz="2000" b="1">
                  <a:solidFill>
                    <a:schemeClr val="tx1"/>
                  </a:solidFill>
                  <a:latin typeface="Times New Roman" panose="02020603050405020304" pitchFamily="18" charset="0"/>
                  <a:ea typeface="HG丸ｺﾞｼｯｸM-PRO" pitchFamily="50" charset="-128"/>
                </a:defRPr>
              </a:lvl1pPr>
              <a:lvl2pPr marL="742950" indent="-285750" algn="ctr">
                <a:defRPr kumimoji="1" sz="2000" b="1">
                  <a:solidFill>
                    <a:schemeClr val="tx1"/>
                  </a:solidFill>
                  <a:latin typeface="Times New Roman" panose="02020603050405020304" pitchFamily="18" charset="0"/>
                  <a:ea typeface="HG丸ｺﾞｼｯｸM-PRO" pitchFamily="50" charset="-128"/>
                </a:defRPr>
              </a:lvl2pPr>
              <a:lvl3pPr marL="1143000" indent="-228600" algn="ctr">
                <a:defRPr kumimoji="1" sz="2000" b="1">
                  <a:solidFill>
                    <a:schemeClr val="tx1"/>
                  </a:solidFill>
                  <a:latin typeface="Times New Roman" panose="02020603050405020304" pitchFamily="18" charset="0"/>
                  <a:ea typeface="HG丸ｺﾞｼｯｸM-PRO" pitchFamily="50" charset="-128"/>
                </a:defRPr>
              </a:lvl3pPr>
              <a:lvl4pPr marL="1600200" indent="-228600" algn="ctr">
                <a:defRPr kumimoji="1" sz="2000" b="1">
                  <a:solidFill>
                    <a:schemeClr val="tx1"/>
                  </a:solidFill>
                  <a:latin typeface="Times New Roman" panose="02020603050405020304" pitchFamily="18" charset="0"/>
                  <a:ea typeface="HG丸ｺﾞｼｯｸM-PRO" pitchFamily="50" charset="-128"/>
                </a:defRPr>
              </a:lvl4pPr>
              <a:lvl5pPr marL="2057400" indent="-228600" algn="ctr">
                <a:defRPr kumimoji="1" sz="2000" b="1">
                  <a:solidFill>
                    <a:schemeClr val="tx1"/>
                  </a:solidFill>
                  <a:latin typeface="Times New Roman" panose="02020603050405020304" pitchFamily="18" charset="0"/>
                  <a:ea typeface="HG丸ｺﾞｼｯｸM-PRO" pitchFamily="50" charset="-128"/>
                </a:defRPr>
              </a:lvl5pPr>
              <a:lvl6pPr marL="2514600" indent="-228600" algn="ctr" eaLnBrk="0" fontAlgn="base" hangingPunct="0">
                <a:spcBef>
                  <a:spcPct val="0"/>
                </a:spcBef>
                <a:spcAft>
                  <a:spcPct val="0"/>
                </a:spcAft>
                <a:defRPr kumimoji="1" sz="2000" b="1">
                  <a:solidFill>
                    <a:schemeClr val="tx1"/>
                  </a:solidFill>
                  <a:latin typeface="Times New Roman" panose="02020603050405020304" pitchFamily="18" charset="0"/>
                  <a:ea typeface="HG丸ｺﾞｼｯｸM-PRO" pitchFamily="50" charset="-128"/>
                </a:defRPr>
              </a:lvl6pPr>
              <a:lvl7pPr marL="2971800" indent="-228600" algn="ctr" eaLnBrk="0" fontAlgn="base" hangingPunct="0">
                <a:spcBef>
                  <a:spcPct val="0"/>
                </a:spcBef>
                <a:spcAft>
                  <a:spcPct val="0"/>
                </a:spcAft>
                <a:defRPr kumimoji="1" sz="2000" b="1">
                  <a:solidFill>
                    <a:schemeClr val="tx1"/>
                  </a:solidFill>
                  <a:latin typeface="Times New Roman" panose="02020603050405020304" pitchFamily="18" charset="0"/>
                  <a:ea typeface="HG丸ｺﾞｼｯｸM-PRO" pitchFamily="50" charset="-128"/>
                </a:defRPr>
              </a:lvl7pPr>
              <a:lvl8pPr marL="3429000" indent="-228600" algn="ctr" eaLnBrk="0" fontAlgn="base" hangingPunct="0">
                <a:spcBef>
                  <a:spcPct val="0"/>
                </a:spcBef>
                <a:spcAft>
                  <a:spcPct val="0"/>
                </a:spcAft>
                <a:defRPr kumimoji="1" sz="2000" b="1">
                  <a:solidFill>
                    <a:schemeClr val="tx1"/>
                  </a:solidFill>
                  <a:latin typeface="Times New Roman" panose="02020603050405020304" pitchFamily="18" charset="0"/>
                  <a:ea typeface="HG丸ｺﾞｼｯｸM-PRO" pitchFamily="50" charset="-128"/>
                </a:defRPr>
              </a:lvl8pPr>
              <a:lvl9pPr marL="3886200" indent="-228600" algn="ctr" eaLnBrk="0" fontAlgn="base" hangingPunct="0">
                <a:spcBef>
                  <a:spcPct val="0"/>
                </a:spcBef>
                <a:spcAft>
                  <a:spcPct val="0"/>
                </a:spcAft>
                <a:defRPr kumimoji="1" sz="2000" b="1">
                  <a:solidFill>
                    <a:schemeClr val="tx1"/>
                  </a:solidFill>
                  <a:latin typeface="Times New Roman" panose="02020603050405020304" pitchFamily="18" charset="0"/>
                  <a:ea typeface="HG丸ｺﾞｼｯｸM-PRO" pitchFamily="50" charset="-128"/>
                </a:defRPr>
              </a:lvl9pPr>
            </a:lstStyle>
            <a:p>
              <a:pPr algn="l" eaLnBrk="1" hangingPunct="1"/>
              <a:endParaRPr lang="en-US" sz="1400" b="0" dirty="0">
                <a:latin typeface="Arial" panose="020B0604020202020204" pitchFamily="34" charset="0"/>
                <a:ea typeface="ＭＳ ゴシック" panose="020B0609070205080204" pitchFamily="49" charset="-128"/>
              </a:endParaRPr>
            </a:p>
          </p:txBody>
        </p:sp>
        <p:sp>
          <p:nvSpPr>
            <p:cNvPr id="62" name="Text Box 2070"/>
            <p:cNvSpPr txBox="1">
              <a:spLocks noChangeArrowheads="1"/>
            </p:cNvSpPr>
            <p:nvPr/>
          </p:nvSpPr>
          <p:spPr bwMode="auto">
            <a:xfrm>
              <a:off x="1984375" y="5400675"/>
              <a:ext cx="1187450" cy="723900"/>
            </a:xfrm>
            <a:prstGeom prst="rect">
              <a:avLst/>
            </a:prstGeom>
            <a:solidFill>
              <a:srgbClr val="FFFFFF"/>
            </a:solidFill>
            <a:ln>
              <a:noFill/>
            </a:ln>
            <a:extLst>
              <a:ext uri="{91240B29-F687-4F45-9708-019B960494DF}">
                <a14:hiddenLine xmlns:a14="http://schemas.microsoft.com/office/drawing/2010/main" w="12700">
                  <a:solidFill>
                    <a:schemeClr val="tx1"/>
                  </a:solidFill>
                  <a:miter lim="800000"/>
                  <a:headEnd/>
                  <a:tailEnd/>
                </a14:hiddenLine>
              </a:ext>
            </a:extLst>
          </p:spPr>
          <p:txBody>
            <a:bodyPr lIns="0" tIns="0" rIns="0" bIns="0"/>
            <a:lstStyle>
              <a:lvl1pPr algn="ctr">
                <a:defRPr kumimoji="1" sz="2000" b="1">
                  <a:solidFill>
                    <a:schemeClr val="tx1"/>
                  </a:solidFill>
                  <a:latin typeface="Times New Roman" panose="02020603050405020304" pitchFamily="18" charset="0"/>
                  <a:ea typeface="HG丸ｺﾞｼｯｸM-PRO" pitchFamily="50" charset="-128"/>
                </a:defRPr>
              </a:lvl1pPr>
              <a:lvl2pPr marL="742950" indent="-285750" algn="ctr">
                <a:defRPr kumimoji="1" sz="2000" b="1">
                  <a:solidFill>
                    <a:schemeClr val="tx1"/>
                  </a:solidFill>
                  <a:latin typeface="Times New Roman" panose="02020603050405020304" pitchFamily="18" charset="0"/>
                  <a:ea typeface="HG丸ｺﾞｼｯｸM-PRO" pitchFamily="50" charset="-128"/>
                </a:defRPr>
              </a:lvl2pPr>
              <a:lvl3pPr marL="1143000" indent="-228600" algn="ctr">
                <a:defRPr kumimoji="1" sz="2000" b="1">
                  <a:solidFill>
                    <a:schemeClr val="tx1"/>
                  </a:solidFill>
                  <a:latin typeface="Times New Roman" panose="02020603050405020304" pitchFamily="18" charset="0"/>
                  <a:ea typeface="HG丸ｺﾞｼｯｸM-PRO" pitchFamily="50" charset="-128"/>
                </a:defRPr>
              </a:lvl3pPr>
              <a:lvl4pPr marL="1600200" indent="-228600" algn="ctr">
                <a:defRPr kumimoji="1" sz="2000" b="1">
                  <a:solidFill>
                    <a:schemeClr val="tx1"/>
                  </a:solidFill>
                  <a:latin typeface="Times New Roman" panose="02020603050405020304" pitchFamily="18" charset="0"/>
                  <a:ea typeface="HG丸ｺﾞｼｯｸM-PRO" pitchFamily="50" charset="-128"/>
                </a:defRPr>
              </a:lvl4pPr>
              <a:lvl5pPr marL="2057400" indent="-228600" algn="ctr">
                <a:defRPr kumimoji="1" sz="2000" b="1">
                  <a:solidFill>
                    <a:schemeClr val="tx1"/>
                  </a:solidFill>
                  <a:latin typeface="Times New Roman" panose="02020603050405020304" pitchFamily="18" charset="0"/>
                  <a:ea typeface="HG丸ｺﾞｼｯｸM-PRO" pitchFamily="50" charset="-128"/>
                </a:defRPr>
              </a:lvl5pPr>
              <a:lvl6pPr marL="2514600" indent="-228600" algn="ctr" eaLnBrk="0" fontAlgn="base" hangingPunct="0">
                <a:spcBef>
                  <a:spcPct val="0"/>
                </a:spcBef>
                <a:spcAft>
                  <a:spcPct val="0"/>
                </a:spcAft>
                <a:defRPr kumimoji="1" sz="2000" b="1">
                  <a:solidFill>
                    <a:schemeClr val="tx1"/>
                  </a:solidFill>
                  <a:latin typeface="Times New Roman" panose="02020603050405020304" pitchFamily="18" charset="0"/>
                  <a:ea typeface="HG丸ｺﾞｼｯｸM-PRO" pitchFamily="50" charset="-128"/>
                </a:defRPr>
              </a:lvl6pPr>
              <a:lvl7pPr marL="2971800" indent="-228600" algn="ctr" eaLnBrk="0" fontAlgn="base" hangingPunct="0">
                <a:spcBef>
                  <a:spcPct val="0"/>
                </a:spcBef>
                <a:spcAft>
                  <a:spcPct val="0"/>
                </a:spcAft>
                <a:defRPr kumimoji="1" sz="2000" b="1">
                  <a:solidFill>
                    <a:schemeClr val="tx1"/>
                  </a:solidFill>
                  <a:latin typeface="Times New Roman" panose="02020603050405020304" pitchFamily="18" charset="0"/>
                  <a:ea typeface="HG丸ｺﾞｼｯｸM-PRO" pitchFamily="50" charset="-128"/>
                </a:defRPr>
              </a:lvl7pPr>
              <a:lvl8pPr marL="3429000" indent="-228600" algn="ctr" eaLnBrk="0" fontAlgn="base" hangingPunct="0">
                <a:spcBef>
                  <a:spcPct val="0"/>
                </a:spcBef>
                <a:spcAft>
                  <a:spcPct val="0"/>
                </a:spcAft>
                <a:defRPr kumimoji="1" sz="2000" b="1">
                  <a:solidFill>
                    <a:schemeClr val="tx1"/>
                  </a:solidFill>
                  <a:latin typeface="Times New Roman" panose="02020603050405020304" pitchFamily="18" charset="0"/>
                  <a:ea typeface="HG丸ｺﾞｼｯｸM-PRO" pitchFamily="50" charset="-128"/>
                </a:defRPr>
              </a:lvl8pPr>
              <a:lvl9pPr marL="3886200" indent="-228600" algn="ctr" eaLnBrk="0" fontAlgn="base" hangingPunct="0">
                <a:spcBef>
                  <a:spcPct val="0"/>
                </a:spcBef>
                <a:spcAft>
                  <a:spcPct val="0"/>
                </a:spcAft>
                <a:defRPr kumimoji="1" sz="2000" b="1">
                  <a:solidFill>
                    <a:schemeClr val="tx1"/>
                  </a:solidFill>
                  <a:latin typeface="Times New Roman" panose="02020603050405020304" pitchFamily="18" charset="0"/>
                  <a:ea typeface="HG丸ｺﾞｼｯｸM-PRO" pitchFamily="50" charset="-128"/>
                </a:defRPr>
              </a:lvl9pPr>
            </a:lstStyle>
            <a:p>
              <a:pPr algn="l" eaLnBrk="1" hangingPunct="1"/>
              <a:endParaRPr lang="en-US" sz="1400" b="0" dirty="0">
                <a:latin typeface="Arial" panose="020B0604020202020204" pitchFamily="34" charset="0"/>
                <a:ea typeface="ＭＳ ゴシック" panose="020B0609070205080204" pitchFamily="49" charset="-128"/>
              </a:endParaRPr>
            </a:p>
          </p:txBody>
        </p:sp>
        <p:sp>
          <p:nvSpPr>
            <p:cNvPr id="63" name="Text Box 2071"/>
            <p:cNvSpPr txBox="1">
              <a:spLocks noChangeArrowheads="1"/>
            </p:cNvSpPr>
            <p:nvPr/>
          </p:nvSpPr>
          <p:spPr bwMode="auto">
            <a:xfrm>
              <a:off x="3032125" y="5895975"/>
              <a:ext cx="920750" cy="295275"/>
            </a:xfrm>
            <a:prstGeom prst="rect">
              <a:avLst/>
            </a:prstGeom>
            <a:solidFill>
              <a:srgbClr val="FFFFFF"/>
            </a:solidFill>
            <a:ln>
              <a:noFill/>
            </a:ln>
            <a:extLst>
              <a:ext uri="{91240B29-F687-4F45-9708-019B960494DF}">
                <a14:hiddenLine xmlns:a14="http://schemas.microsoft.com/office/drawing/2010/main" w="12700">
                  <a:solidFill>
                    <a:schemeClr val="tx1"/>
                  </a:solidFill>
                  <a:miter lim="800000"/>
                  <a:headEnd/>
                  <a:tailEnd/>
                </a14:hiddenLine>
              </a:ext>
            </a:extLst>
          </p:spPr>
          <p:txBody>
            <a:bodyPr lIns="0" tIns="0" rIns="0" bIns="0"/>
            <a:lstStyle>
              <a:lvl1pPr algn="ctr">
                <a:defRPr kumimoji="1" sz="2000" b="1">
                  <a:solidFill>
                    <a:schemeClr val="tx1"/>
                  </a:solidFill>
                  <a:latin typeface="Times New Roman" panose="02020603050405020304" pitchFamily="18" charset="0"/>
                  <a:ea typeface="HG丸ｺﾞｼｯｸM-PRO" pitchFamily="50" charset="-128"/>
                </a:defRPr>
              </a:lvl1pPr>
              <a:lvl2pPr marL="742950" indent="-285750" algn="ctr">
                <a:defRPr kumimoji="1" sz="2000" b="1">
                  <a:solidFill>
                    <a:schemeClr val="tx1"/>
                  </a:solidFill>
                  <a:latin typeface="Times New Roman" panose="02020603050405020304" pitchFamily="18" charset="0"/>
                  <a:ea typeface="HG丸ｺﾞｼｯｸM-PRO" pitchFamily="50" charset="-128"/>
                </a:defRPr>
              </a:lvl2pPr>
              <a:lvl3pPr marL="1143000" indent="-228600" algn="ctr">
                <a:defRPr kumimoji="1" sz="2000" b="1">
                  <a:solidFill>
                    <a:schemeClr val="tx1"/>
                  </a:solidFill>
                  <a:latin typeface="Times New Roman" panose="02020603050405020304" pitchFamily="18" charset="0"/>
                  <a:ea typeface="HG丸ｺﾞｼｯｸM-PRO" pitchFamily="50" charset="-128"/>
                </a:defRPr>
              </a:lvl3pPr>
              <a:lvl4pPr marL="1600200" indent="-228600" algn="ctr">
                <a:defRPr kumimoji="1" sz="2000" b="1">
                  <a:solidFill>
                    <a:schemeClr val="tx1"/>
                  </a:solidFill>
                  <a:latin typeface="Times New Roman" panose="02020603050405020304" pitchFamily="18" charset="0"/>
                  <a:ea typeface="HG丸ｺﾞｼｯｸM-PRO" pitchFamily="50" charset="-128"/>
                </a:defRPr>
              </a:lvl4pPr>
              <a:lvl5pPr marL="2057400" indent="-228600" algn="ctr">
                <a:defRPr kumimoji="1" sz="2000" b="1">
                  <a:solidFill>
                    <a:schemeClr val="tx1"/>
                  </a:solidFill>
                  <a:latin typeface="Times New Roman" panose="02020603050405020304" pitchFamily="18" charset="0"/>
                  <a:ea typeface="HG丸ｺﾞｼｯｸM-PRO" pitchFamily="50" charset="-128"/>
                </a:defRPr>
              </a:lvl5pPr>
              <a:lvl6pPr marL="2514600" indent="-228600" algn="ctr" eaLnBrk="0" fontAlgn="base" hangingPunct="0">
                <a:spcBef>
                  <a:spcPct val="0"/>
                </a:spcBef>
                <a:spcAft>
                  <a:spcPct val="0"/>
                </a:spcAft>
                <a:defRPr kumimoji="1" sz="2000" b="1">
                  <a:solidFill>
                    <a:schemeClr val="tx1"/>
                  </a:solidFill>
                  <a:latin typeface="Times New Roman" panose="02020603050405020304" pitchFamily="18" charset="0"/>
                  <a:ea typeface="HG丸ｺﾞｼｯｸM-PRO" pitchFamily="50" charset="-128"/>
                </a:defRPr>
              </a:lvl6pPr>
              <a:lvl7pPr marL="2971800" indent="-228600" algn="ctr" eaLnBrk="0" fontAlgn="base" hangingPunct="0">
                <a:spcBef>
                  <a:spcPct val="0"/>
                </a:spcBef>
                <a:spcAft>
                  <a:spcPct val="0"/>
                </a:spcAft>
                <a:defRPr kumimoji="1" sz="2000" b="1">
                  <a:solidFill>
                    <a:schemeClr val="tx1"/>
                  </a:solidFill>
                  <a:latin typeface="Times New Roman" panose="02020603050405020304" pitchFamily="18" charset="0"/>
                  <a:ea typeface="HG丸ｺﾞｼｯｸM-PRO" pitchFamily="50" charset="-128"/>
                </a:defRPr>
              </a:lvl7pPr>
              <a:lvl8pPr marL="3429000" indent="-228600" algn="ctr" eaLnBrk="0" fontAlgn="base" hangingPunct="0">
                <a:spcBef>
                  <a:spcPct val="0"/>
                </a:spcBef>
                <a:spcAft>
                  <a:spcPct val="0"/>
                </a:spcAft>
                <a:defRPr kumimoji="1" sz="2000" b="1">
                  <a:solidFill>
                    <a:schemeClr val="tx1"/>
                  </a:solidFill>
                  <a:latin typeface="Times New Roman" panose="02020603050405020304" pitchFamily="18" charset="0"/>
                  <a:ea typeface="HG丸ｺﾞｼｯｸM-PRO" pitchFamily="50" charset="-128"/>
                </a:defRPr>
              </a:lvl8pPr>
              <a:lvl9pPr marL="3886200" indent="-228600" algn="ctr" eaLnBrk="0" fontAlgn="base" hangingPunct="0">
                <a:spcBef>
                  <a:spcPct val="0"/>
                </a:spcBef>
                <a:spcAft>
                  <a:spcPct val="0"/>
                </a:spcAft>
                <a:defRPr kumimoji="1" sz="2000" b="1">
                  <a:solidFill>
                    <a:schemeClr val="tx1"/>
                  </a:solidFill>
                  <a:latin typeface="Times New Roman" panose="02020603050405020304" pitchFamily="18" charset="0"/>
                  <a:ea typeface="HG丸ｺﾞｼｯｸM-PRO" pitchFamily="50" charset="-128"/>
                </a:defRPr>
              </a:lvl9pPr>
            </a:lstStyle>
            <a:p>
              <a:pPr algn="l" eaLnBrk="1" hangingPunct="1"/>
              <a:endParaRPr lang="en-US" sz="1400" b="0" dirty="0">
                <a:latin typeface="Arial" panose="020B0604020202020204" pitchFamily="34" charset="0"/>
                <a:ea typeface="ＭＳ ゴシック" panose="020B0609070205080204" pitchFamily="49" charset="-128"/>
              </a:endParaRPr>
            </a:p>
          </p:txBody>
        </p:sp>
        <p:sp>
          <p:nvSpPr>
            <p:cNvPr id="64" name="Text Box 2073"/>
            <p:cNvSpPr txBox="1">
              <a:spLocks noChangeArrowheads="1"/>
            </p:cNvSpPr>
            <p:nvPr/>
          </p:nvSpPr>
          <p:spPr bwMode="auto">
            <a:xfrm>
              <a:off x="7884619" y="1048172"/>
              <a:ext cx="1225550" cy="523875"/>
            </a:xfrm>
            <a:prstGeom prst="rect">
              <a:avLst/>
            </a:prstGeom>
            <a:solidFill>
              <a:srgbClr val="D2EA5C"/>
            </a:solidFill>
            <a:ln>
              <a:noFill/>
            </a:ln>
            <a:extLst>
              <a:ext uri="{91240B29-F687-4F45-9708-019B960494DF}">
                <a14:hiddenLine xmlns:a14="http://schemas.microsoft.com/office/drawing/2010/main" w="12700">
                  <a:solidFill>
                    <a:schemeClr val="tx1"/>
                  </a:solidFill>
                  <a:miter lim="800000"/>
                  <a:headEnd/>
                  <a:tailEnd/>
                </a14:hiddenLine>
              </a:ext>
            </a:extLst>
          </p:spPr>
          <p:txBody>
            <a:bodyPr lIns="0" tIns="0" rIns="0" bIns="0"/>
            <a:lstStyle>
              <a:lvl1pPr algn="ctr">
                <a:defRPr kumimoji="1" sz="2000" b="1">
                  <a:solidFill>
                    <a:schemeClr val="tx1"/>
                  </a:solidFill>
                  <a:latin typeface="Times New Roman" panose="02020603050405020304" pitchFamily="18" charset="0"/>
                  <a:ea typeface="HG丸ｺﾞｼｯｸM-PRO" pitchFamily="50" charset="-128"/>
                </a:defRPr>
              </a:lvl1pPr>
              <a:lvl2pPr marL="742950" indent="-285750" algn="ctr">
                <a:defRPr kumimoji="1" sz="2000" b="1">
                  <a:solidFill>
                    <a:schemeClr val="tx1"/>
                  </a:solidFill>
                  <a:latin typeface="Times New Roman" panose="02020603050405020304" pitchFamily="18" charset="0"/>
                  <a:ea typeface="HG丸ｺﾞｼｯｸM-PRO" pitchFamily="50" charset="-128"/>
                </a:defRPr>
              </a:lvl2pPr>
              <a:lvl3pPr marL="1143000" indent="-228600" algn="ctr">
                <a:defRPr kumimoji="1" sz="2000" b="1">
                  <a:solidFill>
                    <a:schemeClr val="tx1"/>
                  </a:solidFill>
                  <a:latin typeface="Times New Roman" panose="02020603050405020304" pitchFamily="18" charset="0"/>
                  <a:ea typeface="HG丸ｺﾞｼｯｸM-PRO" pitchFamily="50" charset="-128"/>
                </a:defRPr>
              </a:lvl3pPr>
              <a:lvl4pPr marL="1600200" indent="-228600" algn="ctr">
                <a:defRPr kumimoji="1" sz="2000" b="1">
                  <a:solidFill>
                    <a:schemeClr val="tx1"/>
                  </a:solidFill>
                  <a:latin typeface="Times New Roman" panose="02020603050405020304" pitchFamily="18" charset="0"/>
                  <a:ea typeface="HG丸ｺﾞｼｯｸM-PRO" pitchFamily="50" charset="-128"/>
                </a:defRPr>
              </a:lvl4pPr>
              <a:lvl5pPr marL="2057400" indent="-228600" algn="ctr">
                <a:defRPr kumimoji="1" sz="2000" b="1">
                  <a:solidFill>
                    <a:schemeClr val="tx1"/>
                  </a:solidFill>
                  <a:latin typeface="Times New Roman" panose="02020603050405020304" pitchFamily="18" charset="0"/>
                  <a:ea typeface="HG丸ｺﾞｼｯｸM-PRO" pitchFamily="50" charset="-128"/>
                </a:defRPr>
              </a:lvl5pPr>
              <a:lvl6pPr marL="2514600" indent="-228600" algn="ctr" eaLnBrk="0" fontAlgn="base" hangingPunct="0">
                <a:spcBef>
                  <a:spcPct val="0"/>
                </a:spcBef>
                <a:spcAft>
                  <a:spcPct val="0"/>
                </a:spcAft>
                <a:defRPr kumimoji="1" sz="2000" b="1">
                  <a:solidFill>
                    <a:schemeClr val="tx1"/>
                  </a:solidFill>
                  <a:latin typeface="Times New Roman" panose="02020603050405020304" pitchFamily="18" charset="0"/>
                  <a:ea typeface="HG丸ｺﾞｼｯｸM-PRO" pitchFamily="50" charset="-128"/>
                </a:defRPr>
              </a:lvl6pPr>
              <a:lvl7pPr marL="2971800" indent="-228600" algn="ctr" eaLnBrk="0" fontAlgn="base" hangingPunct="0">
                <a:spcBef>
                  <a:spcPct val="0"/>
                </a:spcBef>
                <a:spcAft>
                  <a:spcPct val="0"/>
                </a:spcAft>
                <a:defRPr kumimoji="1" sz="2000" b="1">
                  <a:solidFill>
                    <a:schemeClr val="tx1"/>
                  </a:solidFill>
                  <a:latin typeface="Times New Roman" panose="02020603050405020304" pitchFamily="18" charset="0"/>
                  <a:ea typeface="HG丸ｺﾞｼｯｸM-PRO" pitchFamily="50" charset="-128"/>
                </a:defRPr>
              </a:lvl7pPr>
              <a:lvl8pPr marL="3429000" indent="-228600" algn="ctr" eaLnBrk="0" fontAlgn="base" hangingPunct="0">
                <a:spcBef>
                  <a:spcPct val="0"/>
                </a:spcBef>
                <a:spcAft>
                  <a:spcPct val="0"/>
                </a:spcAft>
                <a:defRPr kumimoji="1" sz="2000" b="1">
                  <a:solidFill>
                    <a:schemeClr val="tx1"/>
                  </a:solidFill>
                  <a:latin typeface="Times New Roman" panose="02020603050405020304" pitchFamily="18" charset="0"/>
                  <a:ea typeface="HG丸ｺﾞｼｯｸM-PRO" pitchFamily="50" charset="-128"/>
                </a:defRPr>
              </a:lvl8pPr>
              <a:lvl9pPr marL="3886200" indent="-228600" algn="ctr" eaLnBrk="0" fontAlgn="base" hangingPunct="0">
                <a:spcBef>
                  <a:spcPct val="0"/>
                </a:spcBef>
                <a:spcAft>
                  <a:spcPct val="0"/>
                </a:spcAft>
                <a:defRPr kumimoji="1" sz="2000" b="1">
                  <a:solidFill>
                    <a:schemeClr val="tx1"/>
                  </a:solidFill>
                  <a:latin typeface="Times New Roman" panose="02020603050405020304" pitchFamily="18" charset="0"/>
                  <a:ea typeface="HG丸ｺﾞｼｯｸM-PRO" pitchFamily="50" charset="-128"/>
                </a:defRPr>
              </a:lvl9pPr>
            </a:lstStyle>
            <a:p>
              <a:pPr algn="l" eaLnBrk="1" hangingPunct="1"/>
              <a:endParaRPr lang="en-US" sz="1400" b="0" dirty="0">
                <a:latin typeface="Arial" panose="020B0604020202020204" pitchFamily="34" charset="0"/>
                <a:ea typeface="ＭＳ ゴシック" panose="020B0609070205080204" pitchFamily="49" charset="-128"/>
              </a:endParaRPr>
            </a:p>
          </p:txBody>
        </p:sp>
        <p:sp>
          <p:nvSpPr>
            <p:cNvPr id="65" name="Text Box 2074"/>
            <p:cNvSpPr txBox="1">
              <a:spLocks noChangeArrowheads="1"/>
            </p:cNvSpPr>
            <p:nvPr/>
          </p:nvSpPr>
          <p:spPr bwMode="auto">
            <a:xfrm>
              <a:off x="6547944" y="1152948"/>
              <a:ext cx="1244600" cy="533400"/>
            </a:xfrm>
            <a:prstGeom prst="rect">
              <a:avLst/>
            </a:prstGeom>
            <a:solidFill>
              <a:srgbClr val="D2EA5C"/>
            </a:solidFill>
            <a:ln>
              <a:noFill/>
            </a:ln>
            <a:extLst>
              <a:ext uri="{91240B29-F687-4F45-9708-019B960494DF}">
                <a14:hiddenLine xmlns:a14="http://schemas.microsoft.com/office/drawing/2010/main" w="12700">
                  <a:solidFill>
                    <a:schemeClr val="tx1"/>
                  </a:solidFill>
                  <a:miter lim="800000"/>
                  <a:headEnd/>
                  <a:tailEnd/>
                </a14:hiddenLine>
              </a:ext>
            </a:extLst>
          </p:spPr>
          <p:txBody>
            <a:bodyPr lIns="0" tIns="0" rIns="0" bIns="0"/>
            <a:lstStyle>
              <a:lvl1pPr algn="ctr">
                <a:defRPr kumimoji="1" sz="2000" b="1">
                  <a:solidFill>
                    <a:schemeClr val="tx1"/>
                  </a:solidFill>
                  <a:latin typeface="Times New Roman" panose="02020603050405020304" pitchFamily="18" charset="0"/>
                  <a:ea typeface="HG丸ｺﾞｼｯｸM-PRO" pitchFamily="50" charset="-128"/>
                </a:defRPr>
              </a:lvl1pPr>
              <a:lvl2pPr marL="742950" indent="-285750" algn="ctr">
                <a:defRPr kumimoji="1" sz="2000" b="1">
                  <a:solidFill>
                    <a:schemeClr val="tx1"/>
                  </a:solidFill>
                  <a:latin typeface="Times New Roman" panose="02020603050405020304" pitchFamily="18" charset="0"/>
                  <a:ea typeface="HG丸ｺﾞｼｯｸM-PRO" pitchFamily="50" charset="-128"/>
                </a:defRPr>
              </a:lvl2pPr>
              <a:lvl3pPr marL="1143000" indent="-228600" algn="ctr">
                <a:defRPr kumimoji="1" sz="2000" b="1">
                  <a:solidFill>
                    <a:schemeClr val="tx1"/>
                  </a:solidFill>
                  <a:latin typeface="Times New Roman" panose="02020603050405020304" pitchFamily="18" charset="0"/>
                  <a:ea typeface="HG丸ｺﾞｼｯｸM-PRO" pitchFamily="50" charset="-128"/>
                </a:defRPr>
              </a:lvl3pPr>
              <a:lvl4pPr marL="1600200" indent="-228600" algn="ctr">
                <a:defRPr kumimoji="1" sz="2000" b="1">
                  <a:solidFill>
                    <a:schemeClr val="tx1"/>
                  </a:solidFill>
                  <a:latin typeface="Times New Roman" panose="02020603050405020304" pitchFamily="18" charset="0"/>
                  <a:ea typeface="HG丸ｺﾞｼｯｸM-PRO" pitchFamily="50" charset="-128"/>
                </a:defRPr>
              </a:lvl4pPr>
              <a:lvl5pPr marL="2057400" indent="-228600" algn="ctr">
                <a:defRPr kumimoji="1" sz="2000" b="1">
                  <a:solidFill>
                    <a:schemeClr val="tx1"/>
                  </a:solidFill>
                  <a:latin typeface="Times New Roman" panose="02020603050405020304" pitchFamily="18" charset="0"/>
                  <a:ea typeface="HG丸ｺﾞｼｯｸM-PRO" pitchFamily="50" charset="-128"/>
                </a:defRPr>
              </a:lvl5pPr>
              <a:lvl6pPr marL="2514600" indent="-228600" algn="ctr" eaLnBrk="0" fontAlgn="base" hangingPunct="0">
                <a:spcBef>
                  <a:spcPct val="0"/>
                </a:spcBef>
                <a:spcAft>
                  <a:spcPct val="0"/>
                </a:spcAft>
                <a:defRPr kumimoji="1" sz="2000" b="1">
                  <a:solidFill>
                    <a:schemeClr val="tx1"/>
                  </a:solidFill>
                  <a:latin typeface="Times New Roman" panose="02020603050405020304" pitchFamily="18" charset="0"/>
                  <a:ea typeface="HG丸ｺﾞｼｯｸM-PRO" pitchFamily="50" charset="-128"/>
                </a:defRPr>
              </a:lvl6pPr>
              <a:lvl7pPr marL="2971800" indent="-228600" algn="ctr" eaLnBrk="0" fontAlgn="base" hangingPunct="0">
                <a:spcBef>
                  <a:spcPct val="0"/>
                </a:spcBef>
                <a:spcAft>
                  <a:spcPct val="0"/>
                </a:spcAft>
                <a:defRPr kumimoji="1" sz="2000" b="1">
                  <a:solidFill>
                    <a:schemeClr val="tx1"/>
                  </a:solidFill>
                  <a:latin typeface="Times New Roman" panose="02020603050405020304" pitchFamily="18" charset="0"/>
                  <a:ea typeface="HG丸ｺﾞｼｯｸM-PRO" pitchFamily="50" charset="-128"/>
                </a:defRPr>
              </a:lvl7pPr>
              <a:lvl8pPr marL="3429000" indent="-228600" algn="ctr" eaLnBrk="0" fontAlgn="base" hangingPunct="0">
                <a:spcBef>
                  <a:spcPct val="0"/>
                </a:spcBef>
                <a:spcAft>
                  <a:spcPct val="0"/>
                </a:spcAft>
                <a:defRPr kumimoji="1" sz="2000" b="1">
                  <a:solidFill>
                    <a:schemeClr val="tx1"/>
                  </a:solidFill>
                  <a:latin typeface="Times New Roman" panose="02020603050405020304" pitchFamily="18" charset="0"/>
                  <a:ea typeface="HG丸ｺﾞｼｯｸM-PRO" pitchFamily="50" charset="-128"/>
                </a:defRPr>
              </a:lvl8pPr>
              <a:lvl9pPr marL="3886200" indent="-228600" algn="ctr" eaLnBrk="0" fontAlgn="base" hangingPunct="0">
                <a:spcBef>
                  <a:spcPct val="0"/>
                </a:spcBef>
                <a:spcAft>
                  <a:spcPct val="0"/>
                </a:spcAft>
                <a:defRPr kumimoji="1" sz="2000" b="1">
                  <a:solidFill>
                    <a:schemeClr val="tx1"/>
                  </a:solidFill>
                  <a:latin typeface="Times New Roman" panose="02020603050405020304" pitchFamily="18" charset="0"/>
                  <a:ea typeface="HG丸ｺﾞｼｯｸM-PRO" pitchFamily="50" charset="-128"/>
                </a:defRPr>
              </a:lvl9pPr>
            </a:lstStyle>
            <a:p>
              <a:pPr algn="l" eaLnBrk="1" hangingPunct="1"/>
              <a:endParaRPr lang="en-US" sz="1400" b="0" dirty="0">
                <a:latin typeface="Arial" panose="020B0604020202020204" pitchFamily="34" charset="0"/>
                <a:ea typeface="ＭＳ ゴシック" panose="020B0609070205080204" pitchFamily="49" charset="-128"/>
              </a:endParaRPr>
            </a:p>
          </p:txBody>
        </p:sp>
      </p:grpSp>
      <p:pic>
        <p:nvPicPr>
          <p:cNvPr id="68" name="Picture 67"/>
          <p:cNvPicPr>
            <a:picLocks noChangeAspect="1"/>
          </p:cNvPicPr>
          <p:nvPr/>
        </p:nvPicPr>
        <p:blipFill rotWithShape="1">
          <a:blip r:embed="rId9">
            <a:extLst>
              <a:ext uri="{BEBA8EAE-BF5A-486C-A8C5-ECC9F3942E4B}">
                <a14:imgProps xmlns:a14="http://schemas.microsoft.com/office/drawing/2010/main">
                  <a14:imgLayer r:embed="rId10">
                    <a14:imgEffect>
                      <a14:brightnessContrast bright="40000" contrast="-40000"/>
                    </a14:imgEffect>
                  </a14:imgLayer>
                </a14:imgProps>
              </a:ext>
            </a:extLst>
          </a:blip>
          <a:srcRect l="67223" t="53738" r="22778" b="19596"/>
          <a:stretch/>
        </p:blipFill>
        <p:spPr>
          <a:xfrm>
            <a:off x="1529662" y="2812219"/>
            <a:ext cx="388340" cy="323616"/>
          </a:xfrm>
          <a:prstGeom prst="rect">
            <a:avLst/>
          </a:prstGeom>
        </p:spPr>
      </p:pic>
      <p:sp>
        <p:nvSpPr>
          <p:cNvPr id="9" name="Rectangle 8"/>
          <p:cNvSpPr/>
          <p:nvPr/>
        </p:nvSpPr>
        <p:spPr>
          <a:xfrm>
            <a:off x="577363" y="2392643"/>
            <a:ext cx="1772752" cy="138371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0" name="Picture 69"/>
          <p:cNvPicPr>
            <a:picLocks noChangeAspect="1"/>
          </p:cNvPicPr>
          <p:nvPr/>
        </p:nvPicPr>
        <p:blipFill rotWithShape="1">
          <a:blip r:embed="rId9">
            <a:extLst>
              <a:ext uri="{BEBA8EAE-BF5A-486C-A8C5-ECC9F3942E4B}">
                <a14:imgProps xmlns:a14="http://schemas.microsoft.com/office/drawing/2010/main">
                  <a14:imgLayer r:embed="rId10">
                    <a14:imgEffect>
                      <a14:brightnessContrast bright="40000" contrast="-40000"/>
                    </a14:imgEffect>
                  </a14:imgLayer>
                </a14:imgProps>
              </a:ext>
            </a:extLst>
          </a:blip>
          <a:srcRect l="67223" t="53738" r="22778" b="19596"/>
          <a:stretch/>
        </p:blipFill>
        <p:spPr>
          <a:xfrm>
            <a:off x="739089" y="2468122"/>
            <a:ext cx="388340" cy="323616"/>
          </a:xfrm>
          <a:prstGeom prst="rect">
            <a:avLst/>
          </a:prstGeom>
        </p:spPr>
      </p:pic>
      <p:pic>
        <p:nvPicPr>
          <p:cNvPr id="71" name="Picture 70"/>
          <p:cNvPicPr>
            <a:picLocks noChangeAspect="1"/>
          </p:cNvPicPr>
          <p:nvPr/>
        </p:nvPicPr>
        <p:blipFill rotWithShape="1">
          <a:blip r:embed="rId9">
            <a:extLst>
              <a:ext uri="{BEBA8EAE-BF5A-486C-A8C5-ECC9F3942E4B}">
                <a14:imgProps xmlns:a14="http://schemas.microsoft.com/office/drawing/2010/main">
                  <a14:imgLayer r:embed="rId10">
                    <a14:imgEffect>
                      <a14:brightnessContrast bright="40000" contrast="-40000"/>
                    </a14:imgEffect>
                  </a14:imgLayer>
                </a14:imgProps>
              </a:ext>
            </a:extLst>
          </a:blip>
          <a:srcRect l="67223" t="53738" r="22778" b="19596"/>
          <a:stretch/>
        </p:blipFill>
        <p:spPr>
          <a:xfrm>
            <a:off x="1127429" y="2703397"/>
            <a:ext cx="388340" cy="323616"/>
          </a:xfrm>
          <a:prstGeom prst="rect">
            <a:avLst/>
          </a:prstGeom>
        </p:spPr>
      </p:pic>
      <p:pic>
        <p:nvPicPr>
          <p:cNvPr id="72" name="Picture 71"/>
          <p:cNvPicPr>
            <a:picLocks noChangeAspect="1"/>
          </p:cNvPicPr>
          <p:nvPr/>
        </p:nvPicPr>
        <p:blipFill rotWithShape="1">
          <a:blip r:embed="rId9">
            <a:extLst>
              <a:ext uri="{BEBA8EAE-BF5A-486C-A8C5-ECC9F3942E4B}">
                <a14:imgProps xmlns:a14="http://schemas.microsoft.com/office/drawing/2010/main">
                  <a14:imgLayer r:embed="rId10">
                    <a14:imgEffect>
                      <a14:brightnessContrast bright="40000" contrast="-40000"/>
                    </a14:imgEffect>
                  </a14:imgLayer>
                </a14:imgProps>
              </a:ext>
            </a:extLst>
          </a:blip>
          <a:srcRect l="67223" t="53738" r="22778" b="19596"/>
          <a:stretch/>
        </p:blipFill>
        <p:spPr>
          <a:xfrm>
            <a:off x="750189" y="3117819"/>
            <a:ext cx="388340" cy="323616"/>
          </a:xfrm>
          <a:prstGeom prst="rect">
            <a:avLst/>
          </a:prstGeom>
        </p:spPr>
      </p:pic>
      <p:pic>
        <p:nvPicPr>
          <p:cNvPr id="73" name="Picture 72"/>
          <p:cNvPicPr>
            <a:picLocks noChangeAspect="1"/>
          </p:cNvPicPr>
          <p:nvPr/>
        </p:nvPicPr>
        <p:blipFill rotWithShape="1">
          <a:blip r:embed="rId9">
            <a:extLst>
              <a:ext uri="{BEBA8EAE-BF5A-486C-A8C5-ECC9F3942E4B}">
                <a14:imgProps xmlns:a14="http://schemas.microsoft.com/office/drawing/2010/main">
                  <a14:imgLayer r:embed="rId10">
                    <a14:imgEffect>
                      <a14:brightnessContrast bright="40000" contrast="-40000"/>
                    </a14:imgEffect>
                  </a14:imgLayer>
                </a14:imgProps>
              </a:ext>
            </a:extLst>
          </a:blip>
          <a:srcRect l="67223" t="53738" r="22778" b="19596"/>
          <a:stretch/>
        </p:blipFill>
        <p:spPr>
          <a:xfrm>
            <a:off x="1085089" y="3175959"/>
            <a:ext cx="388340" cy="323616"/>
          </a:xfrm>
          <a:prstGeom prst="rect">
            <a:avLst/>
          </a:prstGeom>
        </p:spPr>
      </p:pic>
      <p:pic>
        <p:nvPicPr>
          <p:cNvPr id="74" name="Picture 73"/>
          <p:cNvPicPr>
            <a:picLocks noChangeAspect="1"/>
          </p:cNvPicPr>
          <p:nvPr/>
        </p:nvPicPr>
        <p:blipFill rotWithShape="1">
          <a:blip r:embed="rId9">
            <a:extLst>
              <a:ext uri="{BEBA8EAE-BF5A-486C-A8C5-ECC9F3942E4B}">
                <a14:imgProps xmlns:a14="http://schemas.microsoft.com/office/drawing/2010/main">
                  <a14:imgLayer r:embed="rId10">
                    <a14:imgEffect>
                      <a14:brightnessContrast bright="40000" contrast="-40000"/>
                    </a14:imgEffect>
                  </a14:imgLayer>
                </a14:imgProps>
              </a:ext>
            </a:extLst>
          </a:blip>
          <a:srcRect l="67223" t="53738" r="22778" b="19596"/>
          <a:stretch/>
        </p:blipFill>
        <p:spPr>
          <a:xfrm>
            <a:off x="1646255" y="3231795"/>
            <a:ext cx="388340" cy="323616"/>
          </a:xfrm>
          <a:prstGeom prst="rect">
            <a:avLst/>
          </a:prstGeom>
        </p:spPr>
      </p:pic>
      <p:pic>
        <p:nvPicPr>
          <p:cNvPr id="75" name="Picture 74"/>
          <p:cNvPicPr>
            <a:picLocks noChangeAspect="1"/>
          </p:cNvPicPr>
          <p:nvPr/>
        </p:nvPicPr>
        <p:blipFill rotWithShape="1">
          <a:blip r:embed="rId9">
            <a:extLst>
              <a:ext uri="{BEBA8EAE-BF5A-486C-A8C5-ECC9F3942E4B}">
                <a14:imgProps xmlns:a14="http://schemas.microsoft.com/office/drawing/2010/main">
                  <a14:imgLayer r:embed="rId10">
                    <a14:imgEffect>
                      <a14:brightnessContrast bright="40000" contrast="-40000"/>
                    </a14:imgEffect>
                  </a14:imgLayer>
                </a14:imgProps>
              </a:ext>
            </a:extLst>
          </a:blip>
          <a:srcRect l="67223" t="53738" r="22778" b="19596"/>
          <a:stretch/>
        </p:blipFill>
        <p:spPr>
          <a:xfrm>
            <a:off x="1889222" y="2468122"/>
            <a:ext cx="388340" cy="323616"/>
          </a:xfrm>
          <a:prstGeom prst="rect">
            <a:avLst/>
          </a:prstGeom>
        </p:spPr>
      </p:pic>
      <p:pic>
        <p:nvPicPr>
          <p:cNvPr id="76" name="Picture 75"/>
          <p:cNvPicPr>
            <a:picLocks noChangeAspect="1"/>
          </p:cNvPicPr>
          <p:nvPr/>
        </p:nvPicPr>
        <p:blipFill rotWithShape="1">
          <a:blip r:embed="rId9">
            <a:extLst>
              <a:ext uri="{BEBA8EAE-BF5A-486C-A8C5-ECC9F3942E4B}">
                <a14:imgProps xmlns:a14="http://schemas.microsoft.com/office/drawing/2010/main">
                  <a14:imgLayer r:embed="rId10">
                    <a14:imgEffect>
                      <a14:brightnessContrast bright="40000" contrast="-40000"/>
                    </a14:imgEffect>
                  </a14:imgLayer>
                </a14:imgProps>
              </a:ext>
            </a:extLst>
          </a:blip>
          <a:srcRect l="67223" t="53738" r="22778" b="19596"/>
          <a:stretch/>
        </p:blipFill>
        <p:spPr>
          <a:xfrm>
            <a:off x="1889222" y="2868679"/>
            <a:ext cx="388340" cy="323616"/>
          </a:xfrm>
          <a:prstGeom prst="rect">
            <a:avLst/>
          </a:prstGeom>
        </p:spPr>
      </p:pic>
      <p:pic>
        <p:nvPicPr>
          <p:cNvPr id="77" name="Picture 76"/>
          <p:cNvPicPr>
            <a:picLocks noChangeAspect="1"/>
          </p:cNvPicPr>
          <p:nvPr/>
        </p:nvPicPr>
        <p:blipFill rotWithShape="1">
          <a:blip r:embed="rId9">
            <a:extLst>
              <a:ext uri="{BEBA8EAE-BF5A-486C-A8C5-ECC9F3942E4B}">
                <a14:imgProps xmlns:a14="http://schemas.microsoft.com/office/drawing/2010/main">
                  <a14:imgLayer r:embed="rId10">
                    <a14:imgEffect>
                      <a14:brightnessContrast bright="40000" contrast="-40000"/>
                    </a14:imgEffect>
                  </a14:imgLayer>
                </a14:imgProps>
              </a:ext>
            </a:extLst>
          </a:blip>
          <a:srcRect l="67223" t="53738" r="22778" b="19596"/>
          <a:stretch/>
        </p:blipFill>
        <p:spPr>
          <a:xfrm>
            <a:off x="1394152" y="2414130"/>
            <a:ext cx="388340" cy="323616"/>
          </a:xfrm>
          <a:prstGeom prst="rect">
            <a:avLst/>
          </a:prstGeom>
        </p:spPr>
      </p:pic>
      <p:pic>
        <p:nvPicPr>
          <p:cNvPr id="78" name="Picture 77"/>
          <p:cNvPicPr>
            <a:picLocks noChangeAspect="1"/>
          </p:cNvPicPr>
          <p:nvPr/>
        </p:nvPicPr>
        <p:blipFill rotWithShape="1">
          <a:blip r:embed="rId9">
            <a:extLst>
              <a:ext uri="{BEBA8EAE-BF5A-486C-A8C5-ECC9F3942E4B}">
                <a14:imgProps xmlns:a14="http://schemas.microsoft.com/office/drawing/2010/main">
                  <a14:imgLayer r:embed="rId10">
                    <a14:imgEffect>
                      <a14:brightnessContrast bright="40000" contrast="-40000"/>
                    </a14:imgEffect>
                  </a14:imgLayer>
                </a14:imgProps>
              </a:ext>
            </a:extLst>
          </a:blip>
          <a:srcRect l="67223" t="53738" r="22778" b="19596"/>
          <a:stretch/>
        </p:blipFill>
        <p:spPr>
          <a:xfrm>
            <a:off x="1365672" y="3342221"/>
            <a:ext cx="388340" cy="323616"/>
          </a:xfrm>
          <a:prstGeom prst="rect">
            <a:avLst/>
          </a:prstGeom>
        </p:spPr>
      </p:pic>
      <p:sp>
        <p:nvSpPr>
          <p:cNvPr id="14" name="Rectangle 13"/>
          <p:cNvSpPr/>
          <p:nvPr/>
        </p:nvSpPr>
        <p:spPr>
          <a:xfrm flipV="1">
            <a:off x="2350115" y="3176236"/>
            <a:ext cx="1786264" cy="457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9" name="TextBox 78"/>
          <p:cNvSpPr txBox="1"/>
          <p:nvPr/>
        </p:nvSpPr>
        <p:spPr>
          <a:xfrm>
            <a:off x="533256" y="1054493"/>
            <a:ext cx="1336963" cy="685800"/>
          </a:xfrm>
          <a:prstGeom prst="rect">
            <a:avLst/>
          </a:prstGeom>
          <a:noFill/>
        </p:spPr>
        <p:txBody>
          <a:bodyPr wrap="square" lIns="0" tIns="0" rIns="0" bIns="0" rtlCol="0">
            <a:noAutofit/>
          </a:bodyPr>
          <a:lstStyle/>
          <a:p>
            <a:r>
              <a:rPr lang="ja-JP" altLang="en-US" sz="1400" b="1" dirty="0">
                <a:latin typeface="ＭＳ Ｐゴシック" panose="020B0600070205080204" pitchFamily="50" charset="-128"/>
                <a:ea typeface="ＭＳ Ｐゴシック" panose="020B0600070205080204" pitchFamily="50" charset="-128"/>
              </a:rPr>
              <a:t>家庭から出されるトイレ排水や生活排水</a:t>
            </a:r>
            <a:r>
              <a:rPr lang="ja-JP" altLang="en-US" sz="1400" dirty="0">
                <a:latin typeface="ＭＳ Ｐゴシック" panose="020B0600070205080204" pitchFamily="50" charset="-128"/>
                <a:ea typeface="ＭＳ Ｐゴシック" panose="020B0600070205080204" pitchFamily="50" charset="-128"/>
              </a:rPr>
              <a:t>が集中型の導管を流れる</a:t>
            </a:r>
            <a:endParaRPr lang="en-US" sz="1400" dirty="0" smtClean="0">
              <a:latin typeface="ＭＳ Ｐゴシック" panose="020B0600070205080204" pitchFamily="50" charset="-128"/>
              <a:ea typeface="ＭＳ Ｐゴシック" panose="020B0600070205080204" pitchFamily="50" charset="-128"/>
            </a:endParaRPr>
          </a:p>
        </p:txBody>
      </p:sp>
      <p:sp>
        <p:nvSpPr>
          <p:cNvPr id="80" name="TextBox 79"/>
          <p:cNvSpPr txBox="1"/>
          <p:nvPr/>
        </p:nvSpPr>
        <p:spPr>
          <a:xfrm>
            <a:off x="4641292" y="1077843"/>
            <a:ext cx="4087072" cy="646137"/>
          </a:xfrm>
          <a:prstGeom prst="rect">
            <a:avLst/>
          </a:prstGeom>
          <a:noFill/>
        </p:spPr>
        <p:txBody>
          <a:bodyPr wrap="square" lIns="0" tIns="0" rIns="0" bIns="0" rtlCol="0">
            <a:noAutofit/>
          </a:bodyPr>
          <a:lstStyle/>
          <a:p>
            <a:r>
              <a:rPr lang="en-US" altLang="ja-JP" sz="1400" b="1" dirty="0">
                <a:latin typeface="ＭＳ Ｐゴシック" panose="020B0600070205080204" pitchFamily="50" charset="-128"/>
                <a:ea typeface="ＭＳ Ｐゴシック" panose="020B0600070205080204" pitchFamily="50" charset="-128"/>
              </a:rPr>
              <a:t>B.</a:t>
            </a:r>
            <a:r>
              <a:rPr lang="ja-JP" altLang="en-US" sz="1400" b="1" dirty="0">
                <a:latin typeface="ＭＳ Ｐゴシック" panose="020B0600070205080204" pitchFamily="50" charset="-128"/>
                <a:ea typeface="ＭＳ Ｐゴシック" panose="020B0600070205080204" pitchFamily="50" charset="-128"/>
              </a:rPr>
              <a:t>下水処理用地下槽：</a:t>
            </a:r>
          </a:p>
          <a:p>
            <a:pPr marL="285750" indent="-285750">
              <a:buFont typeface="Arial" panose="020B0604020202020204" pitchFamily="34" charset="0"/>
              <a:buChar char="•"/>
            </a:pPr>
            <a:r>
              <a:rPr lang="ja-JP" altLang="en-US" sz="1400" dirty="0" smtClean="0">
                <a:latin typeface="ＭＳ Ｐゴシック" panose="020B0600070205080204" pitchFamily="50" charset="-128"/>
                <a:ea typeface="ＭＳ Ｐゴシック" panose="020B0600070205080204" pitchFamily="50" charset="-128"/>
              </a:rPr>
              <a:t>廃水</a:t>
            </a:r>
            <a:r>
              <a:rPr lang="ja-JP" altLang="en-US" sz="1400" dirty="0">
                <a:latin typeface="ＭＳ Ｐゴシック" panose="020B0600070205080204" pitchFamily="50" charset="-128"/>
                <a:ea typeface="ＭＳ Ｐゴシック" panose="020B0600070205080204" pitchFamily="50" charset="-128"/>
              </a:rPr>
              <a:t>から汚泥を分離する沈殿槽</a:t>
            </a:r>
          </a:p>
          <a:p>
            <a:pPr marL="285750" indent="-285750">
              <a:buFont typeface="Arial" panose="020B0604020202020204" pitchFamily="34" charset="0"/>
              <a:buChar char="•"/>
            </a:pPr>
            <a:r>
              <a:rPr lang="ja-JP" altLang="en-US" sz="1400" dirty="0" smtClean="0">
                <a:latin typeface="ＭＳ Ｐゴシック" panose="020B0600070205080204" pitchFamily="50" charset="-128"/>
                <a:ea typeface="ＭＳ Ｐゴシック" panose="020B0600070205080204" pitchFamily="50" charset="-128"/>
              </a:rPr>
              <a:t>土壌</a:t>
            </a:r>
            <a:r>
              <a:rPr lang="ja-JP" altLang="en-US" sz="1400" dirty="0">
                <a:latin typeface="ＭＳ Ｐゴシック" panose="020B0600070205080204" pitchFamily="50" charset="-128"/>
                <a:ea typeface="ＭＳ Ｐゴシック" panose="020B0600070205080204" pitchFamily="50" charset="-128"/>
              </a:rPr>
              <a:t>被覆型酸化プロセスを通じて廃水を処理・純化する接触酸化槽</a:t>
            </a:r>
          </a:p>
        </p:txBody>
      </p:sp>
      <p:sp>
        <p:nvSpPr>
          <p:cNvPr id="81" name="TextBox 80"/>
          <p:cNvSpPr txBox="1"/>
          <p:nvPr/>
        </p:nvSpPr>
        <p:spPr>
          <a:xfrm>
            <a:off x="2609056" y="1077843"/>
            <a:ext cx="1527323" cy="646137"/>
          </a:xfrm>
          <a:prstGeom prst="rect">
            <a:avLst/>
          </a:prstGeom>
          <a:noFill/>
        </p:spPr>
        <p:txBody>
          <a:bodyPr wrap="square" lIns="0" tIns="0" rIns="0" bIns="0" rtlCol="0">
            <a:noAutofit/>
          </a:bodyPr>
          <a:lstStyle/>
          <a:p>
            <a:r>
              <a:rPr lang="en-US" altLang="ja-JP" sz="1400" b="1" dirty="0">
                <a:latin typeface="ＭＳ Ｐゴシック" panose="020B0600070205080204" pitchFamily="50" charset="-128"/>
                <a:ea typeface="ＭＳ Ｐゴシック" panose="020B0600070205080204" pitchFamily="50" charset="-128"/>
              </a:rPr>
              <a:t>A.</a:t>
            </a:r>
            <a:r>
              <a:rPr lang="ja-JP" altLang="en-US" sz="1400" b="1" dirty="0">
                <a:latin typeface="ＭＳ Ｐゴシック" panose="020B0600070205080204" pitchFamily="50" charset="-128"/>
                <a:ea typeface="ＭＳ Ｐゴシック" panose="020B0600070205080204" pitchFamily="50" charset="-128"/>
              </a:rPr>
              <a:t>処理センター</a:t>
            </a:r>
            <a:r>
              <a:rPr lang="ja-JP" altLang="en-US" sz="1400" dirty="0">
                <a:latin typeface="ＭＳ Ｐゴシック" panose="020B0600070205080204" pitchFamily="50" charset="-128"/>
                <a:ea typeface="ＭＳ Ｐゴシック" panose="020B0600070205080204" pitchFamily="50" charset="-128"/>
              </a:rPr>
              <a:t>で固形汚物をろ過し</a:t>
            </a:r>
            <a:r>
              <a:rPr lang="ja-JP" altLang="en-US" sz="1400" dirty="0" smtClean="0">
                <a:latin typeface="ＭＳ Ｐゴシック" panose="020B0600070205080204" pitchFamily="50" charset="-128"/>
                <a:ea typeface="ＭＳ Ｐゴシック" panose="020B0600070205080204" pitchFamily="50" charset="-128"/>
              </a:rPr>
              <a:t>、槽内の廃水</a:t>
            </a:r>
            <a:r>
              <a:rPr lang="ja-JP" altLang="en-US" sz="1400" dirty="0">
                <a:latin typeface="ＭＳ Ｐゴシック" panose="020B0600070205080204" pitchFamily="50" charset="-128"/>
                <a:ea typeface="ＭＳ Ｐゴシック" panose="020B0600070205080204" pitchFamily="50" charset="-128"/>
              </a:rPr>
              <a:t>をばっ気する</a:t>
            </a:r>
            <a:endParaRPr lang="en-US" sz="1400" dirty="0" smtClean="0">
              <a:latin typeface="ＭＳ Ｐゴシック" panose="020B0600070205080204" pitchFamily="50" charset="-128"/>
              <a:ea typeface="ＭＳ Ｐゴシック" panose="020B0600070205080204" pitchFamily="50" charset="-128"/>
            </a:endParaRPr>
          </a:p>
        </p:txBody>
      </p:sp>
      <p:cxnSp>
        <p:nvCxnSpPr>
          <p:cNvPr id="6" name="Straight Connector 5"/>
          <p:cNvCxnSpPr/>
          <p:nvPr/>
        </p:nvCxnSpPr>
        <p:spPr>
          <a:xfrm>
            <a:off x="3462989" y="2083166"/>
            <a:ext cx="499411" cy="56830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Oval 38"/>
          <p:cNvSpPr/>
          <p:nvPr/>
        </p:nvSpPr>
        <p:spPr>
          <a:xfrm>
            <a:off x="67021" y="90655"/>
            <a:ext cx="274320" cy="2743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2</a:t>
            </a:r>
          </a:p>
        </p:txBody>
      </p:sp>
      <p:sp>
        <p:nvSpPr>
          <p:cNvPr id="3" name="Rounded Rectangular Callout 2"/>
          <p:cNvSpPr/>
          <p:nvPr/>
        </p:nvSpPr>
        <p:spPr>
          <a:xfrm>
            <a:off x="514437" y="4243994"/>
            <a:ext cx="2335560" cy="1766486"/>
          </a:xfrm>
          <a:prstGeom prst="wedgeRoundRectCallout">
            <a:avLst>
              <a:gd name="adj1" fmla="val 72763"/>
              <a:gd name="adj2" fmla="val -26733"/>
              <a:gd name="adj3" fmla="val 16667"/>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ja-JP" sz="1400" dirty="0" smtClean="0">
                <a:solidFill>
                  <a:schemeClr val="tx1"/>
                </a:solidFill>
                <a:latin typeface="ＭＳ Ｐゴシック" panose="020B0600070205080204" pitchFamily="50" charset="-128"/>
                <a:ea typeface="ＭＳ Ｐゴシック" panose="020B0600070205080204" pitchFamily="50" charset="-128"/>
              </a:rPr>
              <a:t>一次処理槽</a:t>
            </a:r>
            <a:r>
              <a:rPr lang="ja-JP" altLang="ja-JP" sz="1400" dirty="0">
                <a:solidFill>
                  <a:schemeClr val="tx1"/>
                </a:solidFill>
                <a:latin typeface="ＭＳ Ｐゴシック" panose="020B0600070205080204" pitchFamily="50" charset="-128"/>
                <a:ea typeface="ＭＳ Ｐゴシック" panose="020B0600070205080204" pitchFamily="50" charset="-128"/>
              </a:rPr>
              <a:t>は沈殿に使用され、二次処理槽は汚物の酸化に使われる。三次処理槽の使用は任意であり、日本でのみ使用されている</a:t>
            </a:r>
          </a:p>
        </p:txBody>
      </p:sp>
    </p:spTree>
    <p:extLst>
      <p:ext uri="{BB962C8B-B14F-4D97-AF65-F5344CB8AC3E}">
        <p14:creationId xmlns:p14="http://schemas.microsoft.com/office/powerpoint/2010/main" val="421019834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469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ja-JP" altLang="ja-JP" u="sng" dirty="0"/>
              <a:t>ニイミシステム ：</a:t>
            </a:r>
            <a:r>
              <a:rPr lang="ja-JP" altLang="ja-JP" b="0" i="1" dirty="0"/>
              <a:t>処理センターでは固形汚物</a:t>
            </a:r>
            <a:r>
              <a:rPr lang="ja-JP" altLang="ja-JP" b="0" i="1" dirty="0" smtClean="0"/>
              <a:t>を取り除くための</a:t>
            </a:r>
            <a:r>
              <a:rPr lang="ja-JP" altLang="ja-JP" b="0" i="1" dirty="0"/>
              <a:t>網目スクリーンと</a:t>
            </a:r>
            <a:r>
              <a:rPr lang="ja-JP" altLang="ja-JP" b="0" i="1" dirty="0" smtClean="0"/>
              <a:t>酸化槽</a:t>
            </a:r>
            <a:r>
              <a:rPr lang="ja-JP" altLang="en-US" b="0" i="1" dirty="0" smtClean="0"/>
              <a:t>用の</a:t>
            </a:r>
            <a:r>
              <a:rPr lang="ja-JP" altLang="ja-JP" b="0" i="1" dirty="0" smtClean="0"/>
              <a:t>空気ブロアを使用する</a:t>
            </a:r>
            <a:endParaRPr lang="en-US" b="0" i="1" dirty="0"/>
          </a:p>
        </p:txBody>
      </p:sp>
      <p:sp>
        <p:nvSpPr>
          <p:cNvPr id="39" name="Oval 38"/>
          <p:cNvSpPr/>
          <p:nvPr/>
        </p:nvSpPr>
        <p:spPr>
          <a:xfrm>
            <a:off x="67021" y="90655"/>
            <a:ext cx="274320" cy="2743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2</a:t>
            </a:r>
          </a:p>
        </p:txBody>
      </p:sp>
      <p:pic>
        <p:nvPicPr>
          <p:cNvPr id="40" name="Picture 2"/>
          <p:cNvPicPr>
            <a:picLocks noChangeArrowheads="1"/>
          </p:cNvPicPr>
          <p:nvPr/>
        </p:nvPicPr>
        <p:blipFill rotWithShape="1">
          <a:blip r:embed="rId7" cstate="print">
            <a:extLst>
              <a:ext uri="{28A0092B-C50C-407E-A947-70E740481C1C}">
                <a14:useLocalDpi xmlns:a14="http://schemas.microsoft.com/office/drawing/2010/main" val="0"/>
              </a:ext>
            </a:extLst>
          </a:blip>
          <a:srcRect l="18620"/>
          <a:stretch/>
        </p:blipFill>
        <p:spPr bwMode="auto">
          <a:xfrm>
            <a:off x="394140" y="3864358"/>
            <a:ext cx="2179938" cy="1916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 name="Picture 3"/>
          <p:cNvPicPr>
            <a:picLocks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701644" y="4043955"/>
            <a:ext cx="1214479" cy="17401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2" name="Rectangle 4"/>
          <p:cNvSpPr>
            <a:spLocks noChangeArrowheads="1"/>
          </p:cNvSpPr>
          <p:nvPr/>
        </p:nvSpPr>
        <p:spPr bwMode="auto">
          <a:xfrm>
            <a:off x="4166535" y="4054088"/>
            <a:ext cx="4561830" cy="2062745"/>
          </a:xfrm>
          <a:prstGeom prst="rect">
            <a:avLst/>
          </a:prstGeom>
          <a:noFill/>
        </p:spPr>
        <p:txBody>
          <a:bodyPr wrap="square" lIns="0" tIns="0" rIns="0" bIns="0" rtlCol="0">
            <a:noAutofit/>
          </a:bodyPr>
          <a:lstStyle/>
          <a:p>
            <a:pPr marL="285750" indent="-285750">
              <a:buFont typeface="Arial" panose="020B0604020202020204" pitchFamily="34" charset="0"/>
              <a:buChar char="•"/>
            </a:pPr>
            <a:r>
              <a:rPr lang="ja-JP" altLang="en-US" sz="1400" dirty="0" smtClean="0">
                <a:latin typeface="Arial" panose="020B0604020202020204" pitchFamily="34" charset="0"/>
                <a:ea typeface="ＭＳ Ｐゴシック" panose="020B0600070205080204" pitchFamily="50" charset="-128"/>
                <a:cs typeface="Arial" panose="020B0604020202020204" pitchFamily="34" charset="0"/>
              </a:rPr>
              <a:t>土壌</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被覆型接触酸化法は生物膜法であり、ばっ気状態で水を浄化するため空気ブロアで空気</a:t>
            </a:r>
            <a:r>
              <a:rPr lang="ja-JP" altLang="en-US" sz="1400" dirty="0" smtClean="0">
                <a:latin typeface="Arial" panose="020B0604020202020204" pitchFamily="34" charset="0"/>
                <a:ea typeface="ＭＳ Ｐゴシック" panose="020B0600070205080204" pitchFamily="50" charset="-128"/>
                <a:cs typeface="Arial" panose="020B0604020202020204" pitchFamily="34" charset="0"/>
              </a:rPr>
              <a:t>を送り込む</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285750" indent="-285750">
              <a:buFont typeface="Arial" panose="020B0604020202020204" pitchFamily="34" charset="0"/>
              <a:buChar char="•"/>
            </a:pPr>
            <a:r>
              <a:rPr lang="ja-JP" altLang="en-US" sz="1400" dirty="0" smtClean="0">
                <a:latin typeface="Arial" panose="020B0604020202020204" pitchFamily="34" charset="0"/>
                <a:ea typeface="ＭＳ Ｐゴシック" panose="020B0600070205080204" pitchFamily="50" charset="-128"/>
                <a:cs typeface="Arial" panose="020B0604020202020204" pitchFamily="34" charset="0"/>
              </a:rPr>
              <a:t>土壌</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浄化システムで用いる機械はごくわずかだが、空気ブロアは必須の構成要素。接触酸化槽は常にばっ気しておく必要がある</a:t>
            </a:r>
          </a:p>
          <a:p>
            <a:pPr marL="285750" indent="-285750">
              <a:buFont typeface="Arial" panose="020B0604020202020204" pitchFamily="34" charset="0"/>
              <a:buChar char="•"/>
            </a:pPr>
            <a:r>
              <a:rPr lang="ja-JP" altLang="en-US" sz="1400" dirty="0" smtClean="0">
                <a:latin typeface="Arial" panose="020B0604020202020204" pitchFamily="34" charset="0"/>
                <a:ea typeface="ＭＳ Ｐゴシック" panose="020B0600070205080204" pitchFamily="50" charset="-128"/>
                <a:cs typeface="Arial" panose="020B0604020202020204" pitchFamily="34" charset="0"/>
              </a:rPr>
              <a:t>必要</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空気の量は処理水に求められる質の程度により異なる </a:t>
            </a:r>
          </a:p>
        </p:txBody>
      </p:sp>
      <p:sp>
        <p:nvSpPr>
          <p:cNvPr id="43" name="Rectangle 5"/>
          <p:cNvSpPr>
            <a:spLocks noChangeArrowheads="1"/>
          </p:cNvSpPr>
          <p:nvPr/>
        </p:nvSpPr>
        <p:spPr bwMode="auto">
          <a:xfrm>
            <a:off x="287249" y="5830967"/>
            <a:ext cx="2414395" cy="523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p>
            <a:pPr algn="just">
              <a:defRPr/>
            </a:pPr>
            <a:r>
              <a:rPr lang="ja-JP" altLang="en-US" sz="1400" dirty="0">
                <a:effectLst>
                  <a:outerShdw blurRad="38100" dist="38100" dir="2700000" algn="tl">
                    <a:srgbClr val="C0C0C0"/>
                  </a:outerShdw>
                </a:effectLst>
                <a:ea typeface="HG丸ｺﾞｼｯｸM-PRO" pitchFamily="49" charset="-128"/>
              </a:rPr>
              <a:t>接触酸化槽に空気を送り込むのにブロアが用いられる</a:t>
            </a:r>
            <a:endParaRPr lang="en-US" altLang="ja-JP" sz="1400" dirty="0">
              <a:effectLst>
                <a:outerShdw blurRad="38100" dist="38100" dir="2700000" algn="tl">
                  <a:srgbClr val="C0C0C0"/>
                </a:outerShdw>
              </a:effectLst>
              <a:ea typeface="HG丸ｺﾞｼｯｸM-PRO" pitchFamily="49" charset="-128"/>
            </a:endParaRPr>
          </a:p>
        </p:txBody>
      </p:sp>
      <p:sp>
        <p:nvSpPr>
          <p:cNvPr id="44" name="Rectangle 6"/>
          <p:cNvSpPr>
            <a:spLocks noChangeArrowheads="1"/>
          </p:cNvSpPr>
          <p:nvPr/>
        </p:nvSpPr>
        <p:spPr bwMode="auto">
          <a:xfrm>
            <a:off x="2682594" y="5827788"/>
            <a:ext cx="1233529" cy="7393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p>
            <a:pPr algn="just">
              <a:defRPr/>
            </a:pPr>
            <a:r>
              <a:rPr lang="ja-JP" altLang="en-US" sz="1400" dirty="0">
                <a:effectLst>
                  <a:outerShdw blurRad="38100" dist="38100" dir="2700000" algn="tl">
                    <a:srgbClr val="C0C0C0"/>
                  </a:outerShdw>
                </a:effectLst>
                <a:ea typeface="HG丸ｺﾞｼｯｸM-PRO" pitchFamily="49" charset="-128"/>
              </a:rPr>
              <a:t>簡略型コントロールパネル</a:t>
            </a:r>
            <a:endParaRPr lang="en-US" altLang="ja-JP" sz="1400" dirty="0">
              <a:effectLst>
                <a:outerShdw blurRad="38100" dist="38100" dir="2700000" algn="tl">
                  <a:srgbClr val="C0C0C0"/>
                </a:outerShdw>
              </a:effectLst>
              <a:ea typeface="HG丸ｺﾞｼｯｸM-PRO" pitchFamily="49" charset="-128"/>
            </a:endParaRPr>
          </a:p>
        </p:txBody>
      </p:sp>
      <p:pic>
        <p:nvPicPr>
          <p:cNvPr id="45"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53737" y="1396139"/>
            <a:ext cx="1090932" cy="14346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Picture 5" descr="haisui01_05"/>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752600" y="1396139"/>
            <a:ext cx="1123712" cy="1323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 name="TextBox 46"/>
          <p:cNvSpPr txBox="1"/>
          <p:nvPr/>
        </p:nvSpPr>
        <p:spPr>
          <a:xfrm>
            <a:off x="415637" y="1058936"/>
            <a:ext cx="2816078" cy="422258"/>
          </a:xfrm>
          <a:prstGeom prst="rect">
            <a:avLst/>
          </a:prstGeom>
          <a:noFill/>
        </p:spPr>
        <p:txBody>
          <a:bodyPr wrap="square" lIns="0" tIns="0" rIns="0" bIns="0" rtlCol="0">
            <a:noAutofit/>
          </a:bodyPr>
          <a:lstStyle/>
          <a:p>
            <a:r>
              <a:rPr lang="ja-JP" altLang="en-US" sz="1400" b="1" dirty="0">
                <a:latin typeface="ＭＳ Ｐゴシック" panose="020B0600070205080204" pitchFamily="50" charset="-128"/>
                <a:ea typeface="ＭＳ Ｐゴシック" panose="020B0600070205080204" pitchFamily="50" charset="-128"/>
              </a:rPr>
              <a:t>粗目および微細の網目スクリーン</a:t>
            </a:r>
            <a:endParaRPr lang="en-US" sz="1400" b="1" dirty="0" smtClean="0">
              <a:latin typeface="ＭＳ Ｐゴシック" panose="020B0600070205080204" pitchFamily="50" charset="-128"/>
              <a:ea typeface="ＭＳ Ｐゴシック" panose="020B0600070205080204" pitchFamily="50" charset="-128"/>
            </a:endParaRPr>
          </a:p>
        </p:txBody>
      </p:sp>
      <p:sp>
        <p:nvSpPr>
          <p:cNvPr id="48" name="TextBox 47"/>
          <p:cNvSpPr txBox="1"/>
          <p:nvPr/>
        </p:nvSpPr>
        <p:spPr>
          <a:xfrm>
            <a:off x="3094338" y="1396139"/>
            <a:ext cx="5416404" cy="1118461"/>
          </a:xfrm>
          <a:prstGeom prst="rect">
            <a:avLst/>
          </a:prstGeom>
          <a:noFill/>
        </p:spPr>
        <p:txBody>
          <a:bodyPr wrap="square" lIns="0" tIns="0" rIns="0" bIns="0" rtlCol="0">
            <a:noAutofit/>
          </a:bodyPr>
          <a:lstStyle/>
          <a:p>
            <a:pPr marL="285750" indent="-285750">
              <a:buFont typeface="Arial" panose="020B0604020202020204" pitchFamily="34" charset="0"/>
              <a:buChar cha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槽システムへの流入前に</a:t>
            </a:r>
            <a:r>
              <a:rPr lang="ja-JP" altLang="en-US" sz="1400" dirty="0" smtClean="0">
                <a:latin typeface="Arial" panose="020B0604020202020204" pitchFamily="34" charset="0"/>
                <a:ea typeface="ＭＳ Ｐゴシック" panose="020B0600070205080204" pitchFamily="50" charset="-128"/>
                <a:cs typeface="Arial" panose="020B0604020202020204" pitchFamily="34" charset="0"/>
              </a:rPr>
              <a:t>固形汚物（</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トイレットペーパーなど）をろ過する</a:t>
            </a:r>
            <a:r>
              <a:rPr lang="ja-JP" altLang="en-US" sz="1400" dirty="0" smtClean="0">
                <a:latin typeface="Arial" panose="020B0604020202020204" pitchFamily="34" charset="0"/>
                <a:ea typeface="ＭＳ Ｐゴシック" panose="020B0600070205080204" pitchFamily="50" charset="-128"/>
                <a:cs typeface="Arial" panose="020B0604020202020204" pitchFamily="34" charset="0"/>
              </a:rPr>
              <a:t>のに用いる粗目</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ミリメートル）と微細（</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ミリメートル）の網目スクリーン</a:t>
            </a:r>
            <a:endParaRPr lang="en-US" sz="1400" dirty="0" smtClean="0">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TextBox 65"/>
          <p:cNvSpPr txBox="1"/>
          <p:nvPr/>
        </p:nvSpPr>
        <p:spPr>
          <a:xfrm>
            <a:off x="415637" y="3483124"/>
            <a:ext cx="3089563" cy="381234"/>
          </a:xfrm>
          <a:prstGeom prst="rect">
            <a:avLst/>
          </a:prstGeom>
          <a:noFill/>
        </p:spPr>
        <p:txBody>
          <a:bodyPr wrap="square" lIns="0" tIns="0" rIns="0" bIns="0" rtlCol="0">
            <a:noAutofit/>
          </a:bodyPr>
          <a:lstStyle/>
          <a:p>
            <a:r>
              <a:rPr lang="ja-JP" altLang="en-US" sz="1400" b="1" dirty="0">
                <a:latin typeface="ＭＳ Ｐゴシック" panose="020B0600070205080204" pitchFamily="50" charset="-128"/>
                <a:ea typeface="ＭＳ Ｐゴシック" panose="020B0600070205080204" pitchFamily="50" charset="-128"/>
              </a:rPr>
              <a:t>接触酸化槽に空気を送る空気ブロア</a:t>
            </a:r>
            <a:endParaRPr lang="en-US" sz="1400" b="1" dirty="0" smtClean="0">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2052866319"/>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572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ja-JP" altLang="ja-JP" u="sng" dirty="0">
                <a:latin typeface="ＭＳ Ｐゴシック" panose="020B0600070205080204" pitchFamily="50" charset="-128"/>
                <a:ea typeface="ＭＳ Ｐゴシック" panose="020B0600070205080204" pitchFamily="50" charset="-128"/>
              </a:rPr>
              <a:t>ニイミシステム：</a:t>
            </a:r>
            <a:r>
              <a:rPr lang="ja-JP" altLang="ja-JP" b="0" i="1" dirty="0">
                <a:latin typeface="ＭＳ Ｐゴシック" panose="020B0600070205080204" pitchFamily="50" charset="-128"/>
                <a:ea typeface="ＭＳ Ｐゴシック" panose="020B0600070205080204" pitchFamily="50" charset="-128"/>
              </a:rPr>
              <a:t>汚物の分離とその後の分解を助ける沈殿槽と酸化槽からなるシステム</a:t>
            </a:r>
            <a:endParaRPr lang="en-US" b="0" i="1" dirty="0">
              <a:latin typeface="ＭＳ Ｐゴシック" panose="020B0600070205080204" pitchFamily="50" charset="-128"/>
              <a:ea typeface="ＭＳ Ｐゴシック" panose="020B0600070205080204" pitchFamily="50" charset="-128"/>
            </a:endParaRPr>
          </a:p>
        </p:txBody>
      </p:sp>
      <p:sp>
        <p:nvSpPr>
          <p:cNvPr id="39" name="Oval 38"/>
          <p:cNvSpPr/>
          <p:nvPr/>
        </p:nvSpPr>
        <p:spPr>
          <a:xfrm>
            <a:off x="67021" y="90655"/>
            <a:ext cx="274320" cy="2743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2</a:t>
            </a:r>
          </a:p>
        </p:txBody>
      </p:sp>
      <p:pic>
        <p:nvPicPr>
          <p:cNvPr id="15" name="Picture 3" descr="msotw9_temp0"/>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98463" y="2464412"/>
            <a:ext cx="8135937" cy="1419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16"/>
          <p:cNvSpPr/>
          <p:nvPr/>
        </p:nvSpPr>
        <p:spPr>
          <a:xfrm>
            <a:off x="373063" y="1042366"/>
            <a:ext cx="4859337" cy="30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ja-JP" sz="1400" b="1" dirty="0">
                <a:solidFill>
                  <a:schemeClr val="tx1"/>
                </a:solidFill>
              </a:rPr>
              <a:t>ニイミシステムにおける廃水の流れ：</a:t>
            </a:r>
            <a:endParaRPr lang="en-US" sz="1400" b="1" dirty="0">
              <a:solidFill>
                <a:schemeClr val="tx1"/>
              </a:solidFill>
            </a:endParaRPr>
          </a:p>
        </p:txBody>
      </p:sp>
      <p:sp>
        <p:nvSpPr>
          <p:cNvPr id="18" name="TextBox 17"/>
          <p:cNvSpPr txBox="1"/>
          <p:nvPr/>
        </p:nvSpPr>
        <p:spPr>
          <a:xfrm>
            <a:off x="415637" y="4699435"/>
            <a:ext cx="2084676" cy="1143000"/>
          </a:xfrm>
          <a:prstGeom prst="rect">
            <a:avLst/>
          </a:prstGeom>
          <a:noFill/>
        </p:spPr>
        <p:txBody>
          <a:bodyPr wrap="square" lIns="0" tIns="0" rIns="0" bIns="0" rtlCol="0">
            <a:noAutofit/>
          </a:bodyPr>
          <a:lstStyle/>
          <a:p>
            <a:r>
              <a:rPr lang="ja-JP" altLang="ja-JP" sz="1400" b="1" dirty="0"/>
              <a:t>沈殿槽：</a:t>
            </a:r>
          </a:p>
          <a:p>
            <a:pPr marL="285750" indent="-285750">
              <a:buFont typeface="Arial" panose="020B0604020202020204" pitchFamily="34" charset="0"/>
              <a:buChar char="•"/>
            </a:pPr>
            <a:r>
              <a:rPr lang="ja-JP" altLang="ja-JP" sz="1400" dirty="0" smtClean="0"/>
              <a:t>汚物を</a:t>
            </a:r>
            <a:r>
              <a:rPr lang="ja-JP" altLang="en-US" sz="1400" dirty="0" smtClean="0"/>
              <a:t>集め</a:t>
            </a:r>
            <a:r>
              <a:rPr lang="ja-JP" altLang="ja-JP" sz="1400" dirty="0" smtClean="0"/>
              <a:t>、</a:t>
            </a:r>
            <a:r>
              <a:rPr lang="ja-JP" altLang="ja-JP" sz="1400" dirty="0"/>
              <a:t>廃水から汚泥を沈殿する</a:t>
            </a:r>
          </a:p>
        </p:txBody>
      </p:sp>
      <p:sp>
        <p:nvSpPr>
          <p:cNvPr id="19" name="TextBox 18"/>
          <p:cNvSpPr txBox="1"/>
          <p:nvPr/>
        </p:nvSpPr>
        <p:spPr>
          <a:xfrm>
            <a:off x="2821781" y="4699435"/>
            <a:ext cx="5926932" cy="1143000"/>
          </a:xfrm>
          <a:prstGeom prst="rect">
            <a:avLst/>
          </a:prstGeom>
          <a:noFill/>
        </p:spPr>
        <p:txBody>
          <a:bodyPr wrap="square" lIns="0" tIns="0" rIns="0" bIns="0" rtlCol="0">
            <a:noAutofit/>
          </a:bodyPr>
          <a:lstStyle/>
          <a:p>
            <a:pPr marL="231775" indent="-231775"/>
            <a:r>
              <a:rPr lang="ja-JP" altLang="en-US" sz="1400" b="1" dirty="0"/>
              <a:t>接触酸化槽：</a:t>
            </a:r>
          </a:p>
          <a:p>
            <a:pPr marL="285750" indent="-285750">
              <a:buFont typeface="Arial" panose="020B0604020202020204" pitchFamily="34" charset="0"/>
              <a:buChar char="•"/>
            </a:pPr>
            <a:r>
              <a:rPr lang="ja-JP" altLang="en-US" sz="1400" dirty="0"/>
              <a:t>廃水の浄化に使用</a:t>
            </a:r>
          </a:p>
          <a:p>
            <a:pPr marL="285750" indent="-285750">
              <a:buFont typeface="Arial" panose="020B0604020202020204" pitchFamily="34" charset="0"/>
              <a:buChar char="•"/>
            </a:pPr>
            <a:r>
              <a:rPr lang="ja-JP" altLang="en-US" sz="1400" dirty="0"/>
              <a:t>浄化に固定微生物を利用</a:t>
            </a:r>
            <a:r>
              <a:rPr lang="ja-JP" altLang="en-US" sz="1400" dirty="0" smtClean="0"/>
              <a:t>する媒体（バイオクリスタル</a:t>
            </a:r>
            <a:r>
              <a:rPr lang="ja-JP" altLang="en-US" sz="1400" dirty="0"/>
              <a:t>）からできている</a:t>
            </a:r>
          </a:p>
          <a:p>
            <a:pPr marL="285750" indent="-285750">
              <a:buFont typeface="Arial" panose="020B0604020202020204" pitchFamily="34" charset="0"/>
              <a:buChar char="•"/>
            </a:pPr>
            <a:r>
              <a:rPr lang="ja-JP" altLang="en-US" sz="1400" dirty="0"/>
              <a:t>散気管はシステムに空気を送り込んで、微生物</a:t>
            </a:r>
            <a:r>
              <a:rPr lang="ja-JP" altLang="en-US" sz="1400" dirty="0" smtClean="0"/>
              <a:t>が活発に汚物</a:t>
            </a:r>
            <a:r>
              <a:rPr lang="ja-JP" altLang="en-US" sz="1400" dirty="0"/>
              <a:t>を分解できるようにする</a:t>
            </a:r>
          </a:p>
          <a:p>
            <a:pPr marL="285750" indent="-285750">
              <a:buFont typeface="Arial" panose="020B0604020202020204" pitchFamily="34" charset="0"/>
              <a:buChar char="•"/>
            </a:pPr>
            <a:endParaRPr lang="en-US" sz="1400" dirty="0" smtClean="0"/>
          </a:p>
        </p:txBody>
      </p:sp>
      <p:sp>
        <p:nvSpPr>
          <p:cNvPr id="20" name="Right Brace 19"/>
          <p:cNvSpPr/>
          <p:nvPr/>
        </p:nvSpPr>
        <p:spPr>
          <a:xfrm rot="5400000">
            <a:off x="5269749" y="1201533"/>
            <a:ext cx="204703" cy="6324602"/>
          </a:xfrm>
          <a:prstGeom prst="rightBrac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sp>
        <p:nvSpPr>
          <p:cNvPr id="21" name="Right Brace 20"/>
          <p:cNvSpPr/>
          <p:nvPr/>
        </p:nvSpPr>
        <p:spPr>
          <a:xfrm rot="5400000">
            <a:off x="1096069" y="3581051"/>
            <a:ext cx="204699" cy="1565566"/>
          </a:xfrm>
          <a:prstGeom prst="rightBrac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dirty="0"/>
          </a:p>
        </p:txBody>
      </p:sp>
      <p:cxnSp>
        <p:nvCxnSpPr>
          <p:cNvPr id="22" name="Straight Connector 21"/>
          <p:cNvCxnSpPr/>
          <p:nvPr/>
        </p:nvCxnSpPr>
        <p:spPr>
          <a:xfrm>
            <a:off x="398463" y="1934001"/>
            <a:ext cx="8355301"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373063" y="1934001"/>
            <a:ext cx="4859337" cy="3057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i="1" dirty="0" smtClean="0">
                <a:solidFill>
                  <a:schemeClr val="tx1"/>
                </a:solidFill>
              </a:rPr>
              <a:t>地下レベル</a:t>
            </a:r>
            <a:endParaRPr lang="en-US" sz="1400" i="1" dirty="0">
              <a:solidFill>
                <a:schemeClr val="tx1"/>
              </a:solidFill>
            </a:endParaRPr>
          </a:p>
        </p:txBody>
      </p:sp>
    </p:spTree>
    <p:extLst>
      <p:ext uri="{BB962C8B-B14F-4D97-AF65-F5344CB8AC3E}">
        <p14:creationId xmlns:p14="http://schemas.microsoft.com/office/powerpoint/2010/main" val="367053272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674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ja-JP" altLang="ja-JP" u="sng" dirty="0">
                <a:latin typeface="ＭＳ Ｐゴシック" panose="020B0600070205080204" pitchFamily="50" charset="-128"/>
                <a:ea typeface="ＭＳ Ｐゴシック" panose="020B0600070205080204" pitchFamily="50" charset="-128"/>
              </a:rPr>
              <a:t>ニイミシステム：</a:t>
            </a:r>
            <a:r>
              <a:rPr lang="ja-JP" altLang="ja-JP" b="0" i="1" dirty="0">
                <a:latin typeface="ＭＳ Ｐゴシック" panose="020B0600070205080204" pitchFamily="50" charset="-128"/>
                <a:ea typeface="ＭＳ Ｐゴシック" panose="020B0600070205080204" pitchFamily="50" charset="-128"/>
              </a:rPr>
              <a:t>従来の処理場と比べて必要とする機械と</a:t>
            </a:r>
            <a:r>
              <a:rPr lang="ja-JP" altLang="ja-JP" b="0" i="1" dirty="0" smtClean="0">
                <a:latin typeface="ＭＳ Ｐゴシック" panose="020B0600070205080204" pitchFamily="50" charset="-128"/>
                <a:ea typeface="ＭＳ Ｐゴシック" panose="020B0600070205080204" pitchFamily="50" charset="-128"/>
              </a:rPr>
              <a:t>動力</a:t>
            </a:r>
            <a:r>
              <a:rPr lang="ja-JP" altLang="en-US" b="0" i="1" dirty="0" smtClean="0">
                <a:latin typeface="ＭＳ Ｐゴシック" panose="020B0600070205080204" pitchFamily="50" charset="-128"/>
                <a:ea typeface="ＭＳ Ｐゴシック" panose="020B0600070205080204" pitchFamily="50" charset="-128"/>
              </a:rPr>
              <a:t>は</a:t>
            </a:r>
            <a:r>
              <a:rPr lang="ja-JP" altLang="ja-JP" b="0" i="1" dirty="0" smtClean="0">
                <a:latin typeface="ＭＳ Ｐゴシック" panose="020B0600070205080204" pitchFamily="50" charset="-128"/>
                <a:ea typeface="ＭＳ Ｐゴシック" panose="020B0600070205080204" pitchFamily="50" charset="-128"/>
              </a:rPr>
              <a:t>限定的</a:t>
            </a:r>
            <a:endParaRPr lang="en-US" b="0" i="1" dirty="0">
              <a:latin typeface="ＭＳ Ｐゴシック" panose="020B0600070205080204" pitchFamily="50" charset="-128"/>
              <a:ea typeface="ＭＳ Ｐゴシック" panose="020B0600070205080204" pitchFamily="50" charset="-128"/>
            </a:endParaRPr>
          </a:p>
        </p:txBody>
      </p:sp>
      <p:sp>
        <p:nvSpPr>
          <p:cNvPr id="39" name="Oval 38"/>
          <p:cNvSpPr/>
          <p:nvPr/>
        </p:nvSpPr>
        <p:spPr>
          <a:xfrm>
            <a:off x="67021" y="90655"/>
            <a:ext cx="274320" cy="2743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2</a:t>
            </a:r>
          </a:p>
        </p:txBody>
      </p:sp>
      <p:pic>
        <p:nvPicPr>
          <p:cNvPr id="24" name="Picture 12" descr="二次公害対策装置"/>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3990976" y="1928812"/>
            <a:ext cx="2271713" cy="170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12" descr="二次公害対策装置"/>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6477001" y="1928812"/>
            <a:ext cx="2271712" cy="170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2" descr="二次公害対策装置"/>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a:stretch/>
        </p:blipFill>
        <p:spPr bwMode="auto">
          <a:xfrm>
            <a:off x="3990976" y="4286250"/>
            <a:ext cx="2271713" cy="1730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2" descr="二次公害対策装置"/>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a:stretch/>
        </p:blipFill>
        <p:spPr bwMode="auto">
          <a:xfrm>
            <a:off x="6477001" y="4286250"/>
            <a:ext cx="2371725" cy="180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Rounded Rectangle 27"/>
          <p:cNvSpPr/>
          <p:nvPr/>
        </p:nvSpPr>
        <p:spPr>
          <a:xfrm>
            <a:off x="601664" y="2428874"/>
            <a:ext cx="2255836" cy="2757488"/>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dirty="0">
                <a:solidFill>
                  <a:schemeClr val="tx1"/>
                </a:solidFill>
                <a:latin typeface="ＭＳ Ｐゴシック" panose="020B0600070205080204" pitchFamily="50" charset="-128"/>
                <a:ea typeface="ＭＳ Ｐゴシック" panose="020B0600070205080204" pitchFamily="50" charset="-128"/>
              </a:rPr>
              <a:t>槽／</a:t>
            </a:r>
            <a:r>
              <a:rPr lang="ja-JP" altLang="en-US" sz="1400" dirty="0" smtClean="0">
                <a:solidFill>
                  <a:schemeClr val="tx1"/>
                </a:solidFill>
                <a:latin typeface="ＭＳ Ｐゴシック" panose="020B0600070205080204" pitchFamily="50" charset="-128"/>
                <a:ea typeface="ＭＳ Ｐゴシック" panose="020B0600070205080204" pitchFamily="50" charset="-128"/>
              </a:rPr>
              <a:t>トレンチの</a:t>
            </a:r>
            <a:r>
              <a:rPr lang="ja-JP" altLang="en-US" sz="1400" dirty="0">
                <a:solidFill>
                  <a:schemeClr val="tx1"/>
                </a:solidFill>
                <a:latin typeface="ＭＳ Ｐゴシック" panose="020B0600070205080204" pitchFamily="50" charset="-128"/>
                <a:ea typeface="ＭＳ Ｐゴシック" panose="020B0600070205080204" pitchFamily="50" charset="-128"/>
              </a:rPr>
              <a:t>被覆に土壌を使用することにより、二次</a:t>
            </a:r>
            <a:r>
              <a:rPr lang="ja-JP" altLang="en-US" sz="1400" dirty="0" smtClean="0">
                <a:solidFill>
                  <a:schemeClr val="tx1"/>
                </a:solidFill>
                <a:latin typeface="ＭＳ Ｐゴシック" panose="020B0600070205080204" pitchFamily="50" charset="-128"/>
                <a:ea typeface="ＭＳ Ｐゴシック" panose="020B0600070205080204" pitchFamily="50" charset="-128"/>
              </a:rPr>
              <a:t>汚染防止に通常用いる技術</a:t>
            </a:r>
            <a:r>
              <a:rPr lang="ja-JP" altLang="en-US" sz="1400" dirty="0">
                <a:solidFill>
                  <a:schemeClr val="tx1"/>
                </a:solidFill>
                <a:latin typeface="ＭＳ Ｐゴシック" panose="020B0600070205080204" pitchFamily="50" charset="-128"/>
                <a:ea typeface="ＭＳ Ｐゴシック" panose="020B0600070205080204" pitchFamily="50" charset="-128"/>
              </a:rPr>
              <a:t>が</a:t>
            </a:r>
            <a:r>
              <a:rPr lang="ja-JP" altLang="en-US" sz="1400" dirty="0" smtClean="0">
                <a:solidFill>
                  <a:schemeClr val="tx1"/>
                </a:solidFill>
                <a:latin typeface="ＭＳ Ｐゴシック" panose="020B0600070205080204" pitchFamily="50" charset="-128"/>
                <a:ea typeface="ＭＳ Ｐゴシック" panose="020B0600070205080204" pitchFamily="50" charset="-128"/>
              </a:rPr>
              <a:t>必要なく</a:t>
            </a:r>
            <a:r>
              <a:rPr lang="ja-JP" altLang="en-US" sz="1400" dirty="0">
                <a:solidFill>
                  <a:schemeClr val="tx1"/>
                </a:solidFill>
                <a:latin typeface="ＭＳ Ｐゴシック" panose="020B0600070205080204" pitchFamily="50" charset="-128"/>
                <a:ea typeface="ＭＳ Ｐゴシック" panose="020B0600070205080204" pitchFamily="50" charset="-128"/>
              </a:rPr>
              <a:t>なる</a:t>
            </a:r>
            <a:endParaRPr 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3" name="Isosceles Triangle 2"/>
          <p:cNvSpPr/>
          <p:nvPr/>
        </p:nvSpPr>
        <p:spPr>
          <a:xfrm rot="5400000">
            <a:off x="2024062" y="3608299"/>
            <a:ext cx="2800351" cy="285749"/>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28"/>
          <p:cNvSpPr/>
          <p:nvPr/>
        </p:nvSpPr>
        <p:spPr>
          <a:xfrm>
            <a:off x="3989389" y="1401296"/>
            <a:ext cx="2139949" cy="3989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TW" altLang="en-US" sz="1400" dirty="0">
                <a:solidFill>
                  <a:schemeClr val="tx1"/>
                </a:solidFill>
                <a:latin typeface="ＭＳ Ｐゴシック" panose="020B0600070205080204" pitchFamily="50" charset="-128"/>
                <a:ea typeface="ＭＳ Ｐゴシック" panose="020B0600070205080204" pitchFamily="50" charset="-128"/>
              </a:rPr>
              <a:t>泡飛沫</a:t>
            </a:r>
            <a:r>
              <a:rPr lang="zh-TW" altLang="en-US" sz="1400" dirty="0" smtClean="0">
                <a:solidFill>
                  <a:schemeClr val="tx1"/>
                </a:solidFill>
                <a:latin typeface="ＭＳ Ｐゴシック" panose="020B0600070205080204" pitchFamily="50" charset="-128"/>
                <a:ea typeface="ＭＳ Ｐゴシック" panose="020B0600070205080204" pitchFamily="50" charset="-128"/>
              </a:rPr>
              <a:t>防止</a:t>
            </a:r>
            <a:r>
              <a:rPr lang="ja-JP" altLang="en-US" sz="1400" dirty="0" smtClean="0">
                <a:solidFill>
                  <a:schemeClr val="tx1"/>
                </a:solidFill>
                <a:latin typeface="ＭＳ Ｐゴシック" panose="020B0600070205080204" pitchFamily="50" charset="-128"/>
                <a:ea typeface="ＭＳ Ｐゴシック" panose="020B0600070205080204" pitchFamily="50" charset="-128"/>
              </a:rPr>
              <a:t>の</a:t>
            </a:r>
            <a:r>
              <a:rPr lang="zh-TW" altLang="en-US" sz="1400" dirty="0" smtClean="0">
                <a:solidFill>
                  <a:schemeClr val="tx1"/>
                </a:solidFill>
                <a:latin typeface="ＭＳ Ｐゴシック" panose="020B0600070205080204" pitchFamily="50" charset="-128"/>
                <a:ea typeface="ＭＳ Ｐゴシック" panose="020B0600070205080204" pitchFamily="50" charset="-128"/>
              </a:rPr>
              <a:t>噴霧</a:t>
            </a:r>
            <a:endParaRPr 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30" name="Rectangle 29"/>
          <p:cNvSpPr/>
          <p:nvPr/>
        </p:nvSpPr>
        <p:spPr>
          <a:xfrm>
            <a:off x="6608764" y="1401296"/>
            <a:ext cx="2139949" cy="3989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dirty="0">
                <a:solidFill>
                  <a:schemeClr val="tx1"/>
                </a:solidFill>
                <a:latin typeface="ＭＳ Ｐゴシック" panose="020B0600070205080204" pitchFamily="50" charset="-128"/>
                <a:ea typeface="ＭＳ Ｐゴシック" panose="020B0600070205080204" pitchFamily="50" charset="-128"/>
              </a:rPr>
              <a:t>地下処理場被覆コスト</a:t>
            </a:r>
            <a:endParaRPr 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31" name="Rectangle 30"/>
          <p:cNvSpPr/>
          <p:nvPr/>
        </p:nvSpPr>
        <p:spPr>
          <a:xfrm>
            <a:off x="3989389" y="3757612"/>
            <a:ext cx="2139949" cy="3989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400" dirty="0">
                <a:solidFill>
                  <a:schemeClr val="tx1"/>
                </a:solidFill>
                <a:latin typeface="ＭＳ Ｐゴシック" panose="020B0600070205080204" pitchFamily="50" charset="-128"/>
                <a:ea typeface="ＭＳ Ｐゴシック" panose="020B0600070205080204" pitchFamily="50" charset="-128"/>
              </a:rPr>
              <a:t>脱臭装置 </a:t>
            </a:r>
            <a:endParaRPr lang="en-US" sz="1400" dirty="0">
              <a:solidFill>
                <a:schemeClr val="tx1"/>
              </a:solidFill>
              <a:latin typeface="ＭＳ Ｐゴシック" panose="020B0600070205080204" pitchFamily="50" charset="-128"/>
              <a:ea typeface="ＭＳ Ｐゴシック" panose="020B0600070205080204" pitchFamily="50" charset="-128"/>
            </a:endParaRPr>
          </a:p>
        </p:txBody>
      </p:sp>
      <p:sp>
        <p:nvSpPr>
          <p:cNvPr id="32" name="Rectangle 31"/>
          <p:cNvSpPr/>
          <p:nvPr/>
        </p:nvSpPr>
        <p:spPr>
          <a:xfrm>
            <a:off x="6608764" y="3757612"/>
            <a:ext cx="2139949" cy="3989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ja-JP" sz="1400" dirty="0">
                <a:solidFill>
                  <a:schemeClr val="tx1"/>
                </a:solidFill>
                <a:latin typeface="ＭＳ Ｐゴシック" panose="020B0600070205080204" pitchFamily="50" charset="-128"/>
                <a:ea typeface="ＭＳ Ｐゴシック" panose="020B0600070205080204" pitchFamily="50" charset="-128"/>
              </a:rPr>
              <a:t>病原菌への空気感染の制御装置</a:t>
            </a:r>
            <a:endParaRPr lang="en-US" sz="1400" dirty="0">
              <a:solidFill>
                <a:schemeClr val="tx1"/>
              </a:solidFill>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316535113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ext uri="{D42A27DB-BD31-4B8C-83A1-F6EECF244321}">
                <p14:modId xmlns:p14="http://schemas.microsoft.com/office/powerpoint/2010/main" val="33307156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7794"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000" dirty="0">
              <a:sym typeface="+mn-lt"/>
            </a:endParaRPr>
          </a:p>
        </p:txBody>
      </p:sp>
      <p:sp>
        <p:nvSpPr>
          <p:cNvPr id="2" name="Title 1"/>
          <p:cNvSpPr>
            <a:spLocks noGrp="1"/>
          </p:cNvSpPr>
          <p:nvPr>
            <p:ph type="title"/>
          </p:nvPr>
        </p:nvSpPr>
        <p:spPr/>
        <p:txBody>
          <a:bodyPr/>
          <a:lstStyle/>
          <a:p>
            <a:r>
              <a:rPr lang="ja-JP" altLang="ja-JP" u="sng" dirty="0">
                <a:latin typeface="ＭＳ Ｐゴシック" panose="020B0600070205080204" pitchFamily="50" charset="-128"/>
                <a:ea typeface="ＭＳ Ｐゴシック" panose="020B0600070205080204" pitchFamily="50" charset="-128"/>
              </a:rPr>
              <a:t>ニイミシステム：</a:t>
            </a:r>
            <a:r>
              <a:rPr lang="ja-JP" altLang="ja-JP" b="0" i="1" dirty="0">
                <a:latin typeface="ＭＳ Ｐゴシック" panose="020B0600070205080204" pitchFamily="50" charset="-128"/>
                <a:ea typeface="ＭＳ Ｐゴシック" panose="020B0600070205080204" pitchFamily="50" charset="-128"/>
              </a:rPr>
              <a:t>設置場所毎に詳細な原価計算が必要とされるものの、ニイミシステムには相当な規模の経済性が見られる</a:t>
            </a:r>
            <a:endParaRPr lang="en-US" b="0" i="1" dirty="0">
              <a:latin typeface="ＭＳ Ｐゴシック" panose="020B0600070205080204" pitchFamily="50" charset="-128"/>
              <a:ea typeface="ＭＳ Ｐゴシック" panose="020B0600070205080204" pitchFamily="50" charset="-128"/>
            </a:endParaRPr>
          </a:p>
        </p:txBody>
      </p:sp>
      <p:sp>
        <p:nvSpPr>
          <p:cNvPr id="39" name="Oval 38"/>
          <p:cNvSpPr/>
          <p:nvPr/>
        </p:nvSpPr>
        <p:spPr>
          <a:xfrm>
            <a:off x="67021" y="90655"/>
            <a:ext cx="274320" cy="2743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rPr>
              <a:t>2</a:t>
            </a:r>
          </a:p>
        </p:txBody>
      </p:sp>
      <p:sp>
        <p:nvSpPr>
          <p:cNvPr id="6" name="TextBox 5"/>
          <p:cNvSpPr txBox="1"/>
          <p:nvPr/>
        </p:nvSpPr>
        <p:spPr>
          <a:xfrm>
            <a:off x="395288" y="1219200"/>
            <a:ext cx="5076826" cy="213815"/>
          </a:xfrm>
          <a:prstGeom prst="rect">
            <a:avLst/>
          </a:prstGeom>
          <a:noFill/>
        </p:spPr>
        <p:txBody>
          <a:bodyPr wrap="square" lIns="0" tIns="0" rIns="0" bIns="0" rtlCol="0">
            <a:noAutofit/>
          </a:bodyPr>
          <a:lstStyle/>
          <a:p>
            <a:pPr marL="231775" indent="-231775"/>
            <a:r>
              <a:rPr lang="ja-JP" altLang="ja-JP" sz="1400" b="1" dirty="0">
                <a:latin typeface="ＭＳ Ｐゴシック" panose="020B0600070205080204" pitchFamily="50" charset="-128"/>
                <a:ea typeface="ＭＳ Ｐゴシック" panose="020B0600070205080204" pitchFamily="50" charset="-128"/>
              </a:rPr>
              <a:t>ニイミシステムの規模対コスト</a:t>
            </a:r>
            <a:r>
              <a:rPr lang="ja-JP" altLang="ja-JP" sz="1400" b="1" dirty="0" smtClean="0">
                <a:latin typeface="ＭＳ Ｐゴシック" panose="020B0600070205080204" pitchFamily="50" charset="-128"/>
                <a:ea typeface="ＭＳ Ｐゴシック" panose="020B0600070205080204" pitchFamily="50" charset="-128"/>
              </a:rPr>
              <a:t>の変化</a:t>
            </a:r>
            <a:endParaRPr lang="en-US" sz="1400" b="1" dirty="0" smtClean="0">
              <a:latin typeface="ＭＳ Ｐゴシック" panose="020B0600070205080204" pitchFamily="50" charset="-128"/>
              <a:ea typeface="ＭＳ Ｐゴシック" panose="020B0600070205080204" pitchFamily="50" charset="-128"/>
            </a:endParaRPr>
          </a:p>
        </p:txBody>
      </p:sp>
      <p:graphicFrame>
        <p:nvGraphicFramePr>
          <p:cNvPr id="12" name="Object 11"/>
          <p:cNvGraphicFramePr>
            <a:graphicFrameLocks/>
          </p:cNvGraphicFramePr>
          <p:nvPr>
            <p:custDataLst>
              <p:tags r:id="rId4"/>
            </p:custDataLst>
            <p:extLst>
              <p:ext uri="{D42A27DB-BD31-4B8C-83A1-F6EECF244321}">
                <p14:modId xmlns:p14="http://schemas.microsoft.com/office/powerpoint/2010/main" val="1115064126"/>
              </p:ext>
            </p:extLst>
          </p:nvPr>
        </p:nvGraphicFramePr>
        <p:xfrm>
          <a:off x="1295399" y="2171700"/>
          <a:ext cx="6391390" cy="3362293"/>
        </p:xfrm>
        <a:graphic>
          <a:graphicData uri="http://schemas.openxmlformats.org/presentationml/2006/ole">
            <mc:AlternateContent xmlns:mc="http://schemas.openxmlformats.org/markup-compatibility/2006">
              <mc:Choice xmlns:v="urn:schemas-microsoft-com:vml" Requires="v">
                <p:oleObj spid="_x0000_s927795" name="Chart" r:id="rId28" imgW="6391321" imgH="3362131" progId="MSGraph.Chart.8">
                  <p:embed followColorScheme="full"/>
                </p:oleObj>
              </mc:Choice>
              <mc:Fallback>
                <p:oleObj name="Chart" r:id="rId28" imgW="6391321" imgH="3362131" progId="MSGraph.Chart.8">
                  <p:embed followColorScheme="full"/>
                  <p:pic>
                    <p:nvPicPr>
                      <p:cNvPr id="0" name=""/>
                      <p:cNvPicPr/>
                      <p:nvPr/>
                    </p:nvPicPr>
                    <p:blipFill>
                      <a:blip r:embed="rId29"/>
                      <a:stretch>
                        <a:fillRect/>
                      </a:stretch>
                    </p:blipFill>
                    <p:spPr>
                      <a:xfrm>
                        <a:off x="1295399" y="2171700"/>
                        <a:ext cx="6391390" cy="3362293"/>
                      </a:xfrm>
                      <a:prstGeom prst="rect">
                        <a:avLst/>
                      </a:prstGeom>
                    </p:spPr>
                  </p:pic>
                </p:oleObj>
              </mc:Fallback>
            </mc:AlternateContent>
          </a:graphicData>
        </a:graphic>
      </p:graphicFrame>
      <p:sp>
        <p:nvSpPr>
          <p:cNvPr id="51" name="Text Placeholder 33"/>
          <p:cNvSpPr>
            <a:spLocks noGrp="1"/>
          </p:cNvSpPr>
          <p:nvPr>
            <p:custDataLst>
              <p:tags r:id="rId5"/>
            </p:custDataLst>
          </p:nvPr>
        </p:nvSpPr>
        <p:spPr bwMode="auto">
          <a:xfrm>
            <a:off x="2268538" y="539432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D67828CA-D385-47BF-9D33-D14D1935E8A5}" type="datetime''''''''''''' ''''''''''''1''''''''''''''''''0''''0'''''' '''''">
              <a:rPr lang="en-US" sz="1000">
                <a:sym typeface="+mn-lt"/>
              </a:rPr>
              <a:pPr/>
              <a:t> 100 </a:t>
            </a:fld>
            <a:endParaRPr lang="en-US" sz="1000" dirty="0">
              <a:sym typeface="+mn-lt"/>
            </a:endParaRPr>
          </a:p>
        </p:txBody>
      </p:sp>
      <p:sp>
        <p:nvSpPr>
          <p:cNvPr id="52" name="Text Placeholder 34"/>
          <p:cNvSpPr>
            <a:spLocks noGrp="1"/>
          </p:cNvSpPr>
          <p:nvPr>
            <p:custDataLst>
              <p:tags r:id="rId6"/>
            </p:custDataLst>
          </p:nvPr>
        </p:nvSpPr>
        <p:spPr bwMode="auto">
          <a:xfrm>
            <a:off x="2644775" y="539432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07A50CB6-78D7-49F8-82FE-DA9D147F7C71}" type="datetime''''''''''''''''''''''''' 2''''''''''''''''''''0''0'''''''' '">
              <a:rPr lang="en-US" sz="1000">
                <a:sym typeface="+mn-lt"/>
              </a:rPr>
              <a:pPr/>
              <a:t> 200 </a:t>
            </a:fld>
            <a:endParaRPr lang="en-US" sz="1000" dirty="0">
              <a:sym typeface="+mn-lt"/>
            </a:endParaRPr>
          </a:p>
        </p:txBody>
      </p:sp>
      <p:sp>
        <p:nvSpPr>
          <p:cNvPr id="50" name="Text Placeholder 32"/>
          <p:cNvSpPr>
            <a:spLocks noGrp="1"/>
          </p:cNvSpPr>
          <p:nvPr>
            <p:custDataLst>
              <p:tags r:id="rId7"/>
            </p:custDataLst>
          </p:nvPr>
        </p:nvSpPr>
        <p:spPr bwMode="auto">
          <a:xfrm>
            <a:off x="1924050" y="5394325"/>
            <a:ext cx="200025"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66426132-814C-4AAB-A4EE-37B5C8D3173E}" type="datetime' ''''''''''''5''''''''''''''''1'''''''''''''''' '''">
              <a:rPr lang="en-US" sz="1000">
                <a:sym typeface="+mn-lt"/>
              </a:rPr>
              <a:pPr/>
              <a:t> 51 </a:t>
            </a:fld>
            <a:endParaRPr lang="en-US" sz="1000" dirty="0">
              <a:sym typeface="+mn-lt"/>
            </a:endParaRPr>
          </a:p>
        </p:txBody>
      </p:sp>
      <p:sp useBgFill="1">
        <p:nvSpPr>
          <p:cNvPr id="82" name="Text Placeholder 64"/>
          <p:cNvSpPr>
            <a:spLocks noGrp="1"/>
          </p:cNvSpPr>
          <p:nvPr>
            <p:custDataLst>
              <p:tags r:id="rId8"/>
            </p:custDataLst>
          </p:nvPr>
        </p:nvSpPr>
        <p:spPr bwMode="gray">
          <a:xfrm>
            <a:off x="2613025" y="4137025"/>
            <a:ext cx="327025" cy="152400"/>
          </a:xfrm>
          <a:prstGeom prst="rect">
            <a:avLst/>
          </a:prstGeom>
        </p:spPr>
        <p:txBody>
          <a:bodyPr wrap="none" lIns="17463" tIns="0" rIns="17463" bIns="0" numCol="1" spcCol="0" anchor="b"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6F48F76-5864-4771-A3DC-193D5C382616}" type="datetime'''''''''''''''''1'''''',''35''''''''''''0'''">
              <a:rPr lang="en-US" sz="1000">
                <a:sym typeface="+mn-lt"/>
              </a:rPr>
              <a:pPr marL="0" indent="0" algn="ctr">
                <a:spcBef>
                  <a:spcPct val="0"/>
                </a:spcBef>
                <a:spcAft>
                  <a:spcPct val="0"/>
                </a:spcAft>
                <a:buNone/>
              </a:pPr>
              <a:t>1,350</a:t>
            </a:fld>
            <a:endParaRPr lang="en-US" sz="1000" dirty="0">
              <a:sym typeface="+mn-lt"/>
            </a:endParaRPr>
          </a:p>
        </p:txBody>
      </p:sp>
      <p:sp>
        <p:nvSpPr>
          <p:cNvPr id="60" name="Text Placeholder 42"/>
          <p:cNvSpPr>
            <a:spLocks noGrp="1"/>
          </p:cNvSpPr>
          <p:nvPr>
            <p:custDataLst>
              <p:tags r:id="rId9"/>
            </p:custDataLst>
          </p:nvPr>
        </p:nvSpPr>
        <p:spPr bwMode="auto">
          <a:xfrm>
            <a:off x="4530725" y="539432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25568B4B-3835-4295-8957-619165AD33B5}" type="datetime''' ''''''''''''''''70''''''''''''''''0'''''''''''' '''''">
              <a:rPr lang="en-US" sz="1000">
                <a:sym typeface="+mn-lt"/>
              </a:rPr>
              <a:pPr marL="0" indent="0" algn="ctr">
                <a:spcBef>
                  <a:spcPct val="0"/>
                </a:spcBef>
                <a:spcAft>
                  <a:spcPct val="0"/>
                </a:spcAft>
                <a:buNone/>
              </a:pPr>
              <a:t> 700 </a:t>
            </a:fld>
            <a:endParaRPr lang="en-US" sz="1000" dirty="0">
              <a:sym typeface="+mn-lt"/>
            </a:endParaRPr>
          </a:p>
        </p:txBody>
      </p:sp>
      <p:sp>
        <p:nvSpPr>
          <p:cNvPr id="61" name="Text Placeholder 43"/>
          <p:cNvSpPr>
            <a:spLocks noGrp="1"/>
          </p:cNvSpPr>
          <p:nvPr>
            <p:custDataLst>
              <p:tags r:id="rId10"/>
            </p:custDataLst>
          </p:nvPr>
        </p:nvSpPr>
        <p:spPr bwMode="auto">
          <a:xfrm>
            <a:off x="4906963" y="539432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F1DF304-98F5-408A-80F0-1489FEE81873}" type="datetime''' ''''''''800 '''''''''''''''''''''''''''''">
              <a:rPr lang="en-US" sz="1000">
                <a:sym typeface="+mn-lt"/>
              </a:rPr>
              <a:pPr marL="0" indent="0" algn="ctr">
                <a:spcBef>
                  <a:spcPct val="0"/>
                </a:spcBef>
                <a:spcAft>
                  <a:spcPct val="0"/>
                </a:spcAft>
                <a:buNone/>
              </a:pPr>
              <a:t> 800 </a:t>
            </a:fld>
            <a:endParaRPr lang="en-US" sz="1000" dirty="0">
              <a:sym typeface="+mn-lt"/>
            </a:endParaRPr>
          </a:p>
        </p:txBody>
      </p:sp>
      <p:sp>
        <p:nvSpPr>
          <p:cNvPr id="62" name="Text Placeholder 44"/>
          <p:cNvSpPr>
            <a:spLocks noGrp="1"/>
          </p:cNvSpPr>
          <p:nvPr>
            <p:custDataLst>
              <p:tags r:id="rId11"/>
            </p:custDataLst>
          </p:nvPr>
        </p:nvSpPr>
        <p:spPr bwMode="auto">
          <a:xfrm>
            <a:off x="5283200" y="539432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22249275-E397-4DF4-86DA-A0BEE5350F70}" type="datetime''''' ''''9''''''''''0''''''''0'''''''''''' '''''''''''''">
              <a:rPr lang="en-US" sz="1000">
                <a:sym typeface="+mn-lt"/>
              </a:rPr>
              <a:pPr marL="0" indent="0" algn="ctr">
                <a:spcBef>
                  <a:spcPct val="0"/>
                </a:spcBef>
                <a:spcAft>
                  <a:spcPct val="0"/>
                </a:spcAft>
                <a:buNone/>
              </a:pPr>
              <a:t> 900 </a:t>
            </a:fld>
            <a:endParaRPr lang="en-US" sz="1000" dirty="0">
              <a:sym typeface="+mn-lt"/>
            </a:endParaRPr>
          </a:p>
        </p:txBody>
      </p:sp>
      <p:sp>
        <p:nvSpPr>
          <p:cNvPr id="63" name="Text Placeholder 45"/>
          <p:cNvSpPr>
            <a:spLocks noGrp="1"/>
          </p:cNvSpPr>
          <p:nvPr>
            <p:custDataLst>
              <p:tags r:id="rId12"/>
            </p:custDataLst>
          </p:nvPr>
        </p:nvSpPr>
        <p:spPr bwMode="auto">
          <a:xfrm>
            <a:off x="5610225" y="5394325"/>
            <a:ext cx="36195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E3055D1-36CB-457C-846C-6C6FA2BD154A}" type="datetime''''''''' ''''''''''''''''1'',0''''''''0''''''''''0 '''''''">
              <a:rPr lang="en-US" sz="1000">
                <a:sym typeface="+mn-lt"/>
              </a:rPr>
              <a:pPr marL="0" indent="0" algn="ctr">
                <a:spcBef>
                  <a:spcPct val="0"/>
                </a:spcBef>
                <a:spcAft>
                  <a:spcPct val="0"/>
                </a:spcAft>
                <a:buNone/>
              </a:pPr>
              <a:t> 1,000 </a:t>
            </a:fld>
            <a:endParaRPr lang="en-US" sz="1000" dirty="0">
              <a:sym typeface="+mn-lt"/>
            </a:endParaRPr>
          </a:p>
        </p:txBody>
      </p:sp>
      <p:sp>
        <p:nvSpPr>
          <p:cNvPr id="64" name="Text Placeholder 46"/>
          <p:cNvSpPr>
            <a:spLocks noGrp="1"/>
          </p:cNvSpPr>
          <p:nvPr>
            <p:custDataLst>
              <p:tags r:id="rId13"/>
            </p:custDataLst>
          </p:nvPr>
        </p:nvSpPr>
        <p:spPr bwMode="auto">
          <a:xfrm>
            <a:off x="5986463" y="5394325"/>
            <a:ext cx="36195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BB4115EB-C3C9-4845-9142-39FE72B7D7F1}" type="datetime' 1'''''''''',''''''20''''''''''''''''''''0'''''' '''''''''''''">
              <a:rPr lang="en-US" sz="1000">
                <a:sym typeface="+mn-lt"/>
              </a:rPr>
              <a:pPr marL="0" indent="0" algn="ctr">
                <a:spcBef>
                  <a:spcPct val="0"/>
                </a:spcBef>
                <a:spcAft>
                  <a:spcPct val="0"/>
                </a:spcAft>
                <a:buNone/>
              </a:pPr>
              <a:t> 1,200 </a:t>
            </a:fld>
            <a:endParaRPr lang="en-US" sz="1000" dirty="0">
              <a:sym typeface="+mn-lt"/>
            </a:endParaRPr>
          </a:p>
        </p:txBody>
      </p:sp>
      <p:sp>
        <p:nvSpPr>
          <p:cNvPr id="56" name="Text Placeholder 38"/>
          <p:cNvSpPr>
            <a:spLocks noGrp="1"/>
          </p:cNvSpPr>
          <p:nvPr>
            <p:custDataLst>
              <p:tags r:id="rId14"/>
            </p:custDataLst>
          </p:nvPr>
        </p:nvSpPr>
        <p:spPr bwMode="auto">
          <a:xfrm>
            <a:off x="3021013" y="539432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EED24F35-8C8C-4759-82B3-51640C7DCE8B}" type="datetime' ''3''''''0''''0'''''''''''''''''''' '''''''''''''''''''''''">
              <a:rPr lang="en-US" sz="1000">
                <a:sym typeface="+mn-lt"/>
              </a:rPr>
              <a:pPr marL="0" indent="0" algn="ctr">
                <a:spcBef>
                  <a:spcPct val="0"/>
                </a:spcBef>
                <a:spcAft>
                  <a:spcPct val="0"/>
                </a:spcAft>
                <a:buNone/>
              </a:pPr>
              <a:t> 300 </a:t>
            </a:fld>
            <a:endParaRPr lang="en-US" sz="1000" dirty="0">
              <a:sym typeface="+mn-lt"/>
            </a:endParaRPr>
          </a:p>
        </p:txBody>
      </p:sp>
      <p:sp>
        <p:nvSpPr>
          <p:cNvPr id="57" name="Text Placeholder 39"/>
          <p:cNvSpPr>
            <a:spLocks noGrp="1"/>
          </p:cNvSpPr>
          <p:nvPr>
            <p:custDataLst>
              <p:tags r:id="rId15"/>
            </p:custDataLst>
          </p:nvPr>
        </p:nvSpPr>
        <p:spPr bwMode="auto">
          <a:xfrm>
            <a:off x="3397250" y="539432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B3103FF-6DC2-4F00-901B-E05DB69EB2F1}" type="datetime''' ''''''4''0''''''''0'''''''''''''''''''''''' '''''">
              <a:rPr lang="en-US" sz="1000">
                <a:sym typeface="+mn-lt"/>
              </a:rPr>
              <a:pPr marL="0" indent="0" algn="ctr">
                <a:spcBef>
                  <a:spcPct val="0"/>
                </a:spcBef>
                <a:spcAft>
                  <a:spcPct val="0"/>
                </a:spcAft>
                <a:buNone/>
              </a:pPr>
              <a:t> 400 </a:t>
            </a:fld>
            <a:endParaRPr lang="en-US" sz="1000" dirty="0">
              <a:sym typeface="+mn-lt"/>
            </a:endParaRPr>
          </a:p>
        </p:txBody>
      </p:sp>
      <p:sp>
        <p:nvSpPr>
          <p:cNvPr id="58" name="Text Placeholder 40"/>
          <p:cNvSpPr>
            <a:spLocks noGrp="1"/>
          </p:cNvSpPr>
          <p:nvPr>
            <p:custDataLst>
              <p:tags r:id="rId16"/>
            </p:custDataLst>
          </p:nvPr>
        </p:nvSpPr>
        <p:spPr bwMode="auto">
          <a:xfrm>
            <a:off x="3773488" y="539432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56E2737-61A0-4965-8DB6-A81873BCE9A0}" type="datetime''' 5''''''''''''''''''''0''''''''0'''''''''' '''''''''''''''''">
              <a:rPr lang="en-US" sz="1000">
                <a:sym typeface="+mn-lt"/>
              </a:rPr>
              <a:pPr marL="0" indent="0" algn="ctr">
                <a:spcBef>
                  <a:spcPct val="0"/>
                </a:spcBef>
                <a:spcAft>
                  <a:spcPct val="0"/>
                </a:spcAft>
                <a:buNone/>
              </a:pPr>
              <a:t> 500 </a:t>
            </a:fld>
            <a:endParaRPr lang="en-US" sz="1000" dirty="0">
              <a:sym typeface="+mn-lt"/>
            </a:endParaRPr>
          </a:p>
        </p:txBody>
      </p:sp>
      <p:sp>
        <p:nvSpPr>
          <p:cNvPr id="59" name="Text Placeholder 41"/>
          <p:cNvSpPr>
            <a:spLocks noGrp="1"/>
          </p:cNvSpPr>
          <p:nvPr>
            <p:custDataLst>
              <p:tags r:id="rId17"/>
            </p:custDataLst>
          </p:nvPr>
        </p:nvSpPr>
        <p:spPr bwMode="auto">
          <a:xfrm>
            <a:off x="4149725" y="539432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5B39219-FA6B-4BE2-915A-05A639CBD726}" type="datetime''''''' ''''''6''''''''''''''0''''''''''''''0'''''' '''">
              <a:rPr lang="en-US" sz="1000">
                <a:sym typeface="+mn-lt"/>
              </a:rPr>
              <a:pPr marL="0" indent="0" algn="ctr">
                <a:spcBef>
                  <a:spcPct val="0"/>
                </a:spcBef>
                <a:spcAft>
                  <a:spcPct val="0"/>
                </a:spcAft>
                <a:buNone/>
              </a:pPr>
              <a:t> 600 </a:t>
            </a:fld>
            <a:endParaRPr lang="en-US" sz="1000" dirty="0">
              <a:sym typeface="+mn-lt"/>
            </a:endParaRPr>
          </a:p>
        </p:txBody>
      </p:sp>
      <p:sp>
        <p:nvSpPr>
          <p:cNvPr id="65" name="Text Placeholder 47"/>
          <p:cNvSpPr>
            <a:spLocks noGrp="1"/>
          </p:cNvSpPr>
          <p:nvPr>
            <p:custDataLst>
              <p:tags r:id="rId18"/>
            </p:custDataLst>
          </p:nvPr>
        </p:nvSpPr>
        <p:spPr bwMode="auto">
          <a:xfrm>
            <a:off x="6362700" y="5394325"/>
            <a:ext cx="36195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C738537-B888-47CC-87DE-FF01D36C3965}" type="datetime''''' ''''1'''''''''''',''5''''''''''''0''0'' '''''''''''''''''">
              <a:rPr lang="en-US" sz="1000">
                <a:sym typeface="+mn-lt"/>
              </a:rPr>
              <a:pPr marL="0" indent="0" algn="ctr">
                <a:spcBef>
                  <a:spcPct val="0"/>
                </a:spcBef>
                <a:spcAft>
                  <a:spcPct val="0"/>
                </a:spcAft>
                <a:buNone/>
              </a:pPr>
              <a:t> 1,500 </a:t>
            </a:fld>
            <a:endParaRPr lang="en-US" sz="1000" dirty="0">
              <a:sym typeface="+mn-lt"/>
            </a:endParaRPr>
          </a:p>
        </p:txBody>
      </p:sp>
      <p:sp>
        <p:nvSpPr>
          <p:cNvPr id="66" name="Text Placeholder 48"/>
          <p:cNvSpPr>
            <a:spLocks noGrp="1"/>
          </p:cNvSpPr>
          <p:nvPr>
            <p:custDataLst>
              <p:tags r:id="rId19"/>
            </p:custDataLst>
          </p:nvPr>
        </p:nvSpPr>
        <p:spPr bwMode="auto">
          <a:xfrm>
            <a:off x="6738938" y="5394325"/>
            <a:ext cx="361950" cy="1524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2C0A401F-E698-4AB1-AF4D-4887DC0E106B}" type="datetime''''''' ''''''''''2'''''''''''''',000 '''">
              <a:rPr lang="en-US" sz="1000">
                <a:sym typeface="+mn-lt"/>
              </a:rPr>
              <a:pPr marL="0" indent="0" algn="ctr">
                <a:spcBef>
                  <a:spcPct val="0"/>
                </a:spcBef>
                <a:spcAft>
                  <a:spcPct val="0"/>
                </a:spcAft>
                <a:buNone/>
              </a:pPr>
              <a:t> 2,000 </a:t>
            </a:fld>
            <a:endParaRPr lang="en-US" sz="1000" dirty="0">
              <a:sym typeface="+mn-lt"/>
            </a:endParaRPr>
          </a:p>
        </p:txBody>
      </p:sp>
      <p:sp>
        <p:nvSpPr>
          <p:cNvPr id="19" name="Rectangle 18"/>
          <p:cNvSpPr/>
          <p:nvPr>
            <p:custDataLst>
              <p:tags r:id="rId20"/>
            </p:custDataLst>
          </p:nvPr>
        </p:nvSpPr>
        <p:spPr bwMode="auto">
          <a:xfrm>
            <a:off x="6056313" y="1971675"/>
            <a:ext cx="179387" cy="133350"/>
          </a:xfrm>
          <a:prstGeom prst="rect">
            <a:avLst/>
          </a:prstGeom>
          <a:solidFill>
            <a:srgbClr val="BBBBBF"/>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8" name="Straight Connector 17"/>
          <p:cNvCxnSpPr/>
          <p:nvPr>
            <p:custDataLst>
              <p:tags r:id="rId21"/>
            </p:custDataLst>
          </p:nvPr>
        </p:nvCxnSpPr>
        <p:spPr bwMode="gray">
          <a:xfrm>
            <a:off x="5907088" y="1835150"/>
            <a:ext cx="328612" cy="0"/>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0" name="Text Placeholder 62"/>
          <p:cNvSpPr>
            <a:spLocks noGrp="1"/>
          </p:cNvSpPr>
          <p:nvPr>
            <p:custDataLst>
              <p:tags r:id="rId22"/>
            </p:custDataLst>
          </p:nvPr>
        </p:nvSpPr>
        <p:spPr bwMode="auto">
          <a:xfrm>
            <a:off x="6286500" y="1765300"/>
            <a:ext cx="11287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ja-JP" altLang="ja-JP" sz="1000" dirty="0">
                <a:latin typeface="ＭＳ Ｐゴシック" panose="020B0600070205080204" pitchFamily="50" charset="-128"/>
                <a:ea typeface="ＭＳ Ｐゴシック" panose="020B0600070205080204" pitchFamily="50" charset="-128"/>
              </a:rPr>
              <a:t>利用者</a:t>
            </a:r>
            <a:r>
              <a:rPr lang="en-US" altLang="ja-JP" sz="1000" dirty="0">
                <a:latin typeface="ＭＳ Ｐゴシック" panose="020B0600070205080204" pitchFamily="50" charset="-128"/>
                <a:ea typeface="ＭＳ Ｐゴシック" panose="020B0600070205080204" pitchFamily="50" charset="-128"/>
              </a:rPr>
              <a:t>1</a:t>
            </a:r>
            <a:r>
              <a:rPr lang="ja-JP" altLang="ja-JP" sz="1000" dirty="0">
                <a:latin typeface="ＭＳ Ｐゴシック" panose="020B0600070205080204" pitchFamily="50" charset="-128"/>
                <a:ea typeface="ＭＳ Ｐゴシック" panose="020B0600070205080204" pitchFamily="50" charset="-128"/>
              </a:rPr>
              <a:t>人当たりコスト（米ドル）</a:t>
            </a:r>
            <a:endParaRPr lang="en-US" sz="1000" dirty="0">
              <a:latin typeface="ＭＳ Ｐゴシック" panose="020B0600070205080204" pitchFamily="50" charset="-128"/>
              <a:ea typeface="ＭＳ Ｐゴシック" panose="020B0600070205080204" pitchFamily="50" charset="-128"/>
              <a:sym typeface="+mn-lt"/>
            </a:endParaRPr>
          </a:p>
        </p:txBody>
      </p:sp>
      <p:sp>
        <p:nvSpPr>
          <p:cNvPr id="79" name="Text Placeholder 61"/>
          <p:cNvSpPr>
            <a:spLocks noGrp="1"/>
          </p:cNvSpPr>
          <p:nvPr>
            <p:custDataLst>
              <p:tags r:id="rId23"/>
            </p:custDataLst>
          </p:nvPr>
        </p:nvSpPr>
        <p:spPr bwMode="auto">
          <a:xfrm>
            <a:off x="6286500" y="1968500"/>
            <a:ext cx="22733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ja-JP" altLang="ja-JP" sz="1000" dirty="0">
                <a:latin typeface="ＭＳ Ｐゴシック" panose="020B0600070205080204" pitchFamily="50" charset="-128"/>
                <a:ea typeface="ＭＳ Ｐゴシック" panose="020B0600070205080204" pitchFamily="50" charset="-128"/>
              </a:rPr>
              <a:t>設置総コスト（千米ドル）</a:t>
            </a:r>
            <a:endParaRPr lang="en-US" sz="1000" dirty="0">
              <a:latin typeface="ＭＳ Ｐゴシック" panose="020B0600070205080204" pitchFamily="50" charset="-128"/>
              <a:ea typeface="ＭＳ Ｐゴシック" panose="020B0600070205080204" pitchFamily="50" charset="-128"/>
              <a:sym typeface="+mn-lt"/>
            </a:endParaRPr>
          </a:p>
        </p:txBody>
      </p:sp>
      <p:sp>
        <p:nvSpPr>
          <p:cNvPr id="83" name="Text Placeholder 2"/>
          <p:cNvSpPr>
            <a:spLocks noGrp="1"/>
          </p:cNvSpPr>
          <p:nvPr>
            <p:ph type="body" sz="quarter" idx="37"/>
          </p:nvPr>
        </p:nvSpPr>
        <p:spPr>
          <a:xfrm>
            <a:off x="415925" y="6446487"/>
            <a:ext cx="7539318" cy="386679"/>
          </a:xfrm>
        </p:spPr>
        <p:txBody>
          <a:bodyPr/>
          <a:lstStyle/>
          <a:p>
            <a:r>
              <a:rPr lang="en-US" dirty="0" smtClean="0"/>
              <a:t> </a:t>
            </a:r>
            <a:endParaRPr lang="en-US" dirty="0"/>
          </a:p>
          <a:p>
            <a:r>
              <a:rPr lang="ja-JP" altLang="ja-JP" dirty="0">
                <a:latin typeface="Arial" panose="020B0604020202020204" pitchFamily="34" charset="0"/>
                <a:ea typeface="ＭＳ Ｐゴシック" panose="020B0600070205080204" pitchFamily="50" charset="-128"/>
                <a:cs typeface="Arial" panose="020B0604020202020204" pitchFamily="34" charset="0"/>
              </a:rPr>
              <a:t>日本でのコストに</a:t>
            </a:r>
            <a:r>
              <a:rPr lang="ja-JP" altLang="ja-JP" dirty="0" smtClean="0">
                <a:latin typeface="Arial" panose="020B0604020202020204" pitchFamily="34" charset="0"/>
                <a:ea typeface="ＭＳ Ｐゴシック" panose="020B0600070205080204" pitchFamily="50" charset="-128"/>
                <a:cs typeface="Arial" panose="020B0604020202020204" pitchFamily="34" charset="0"/>
              </a:rPr>
              <a:t>基づいて</a:t>
            </a:r>
            <a:r>
              <a:rPr lang="ja-JP" altLang="en-US" dirty="0" smtClean="0">
                <a:latin typeface="Arial" panose="020B0604020202020204" pitchFamily="34" charset="0"/>
                <a:ea typeface="ＭＳ Ｐゴシック" panose="020B0600070205080204" pitchFamily="50" charset="-128"/>
                <a:cs typeface="Arial" panose="020B0604020202020204" pitchFamily="34" charset="0"/>
              </a:rPr>
              <a:t>いるた</a:t>
            </a:r>
            <a:r>
              <a:rPr lang="ja-JP" altLang="en-US" dirty="0">
                <a:latin typeface="Arial" panose="020B0604020202020204" pitchFamily="34" charset="0"/>
                <a:ea typeface="ＭＳ Ｐゴシック" panose="020B0600070205080204" pitchFamily="50" charset="-128"/>
                <a:cs typeface="Arial" panose="020B0604020202020204" pitchFamily="34" charset="0"/>
              </a:rPr>
              <a:t>め</a:t>
            </a:r>
            <a:r>
              <a:rPr lang="ja-JP" altLang="ja-JP" dirty="0" smtClean="0">
                <a:latin typeface="Arial" panose="020B0604020202020204" pitchFamily="34" charset="0"/>
                <a:ea typeface="ＭＳ Ｐゴシック" panose="020B0600070205080204" pitchFamily="50" charset="-128"/>
                <a:cs typeface="Arial" panose="020B0604020202020204" pitchFamily="34" charset="0"/>
              </a:rPr>
              <a:t>、</a:t>
            </a:r>
            <a:r>
              <a:rPr lang="ja-JP" altLang="ja-JP" dirty="0">
                <a:latin typeface="Arial" panose="020B0604020202020204" pitchFamily="34" charset="0"/>
                <a:ea typeface="ＭＳ Ｐゴシック" panose="020B0600070205080204" pitchFamily="50" charset="-128"/>
                <a:cs typeface="Arial" panose="020B0604020202020204" pitchFamily="34" charset="0"/>
              </a:rPr>
              <a:t>発展途上国では、適切な現地調達できる代替品が見つかれば、総コストはもっと安くなる</a:t>
            </a:r>
          </a:p>
          <a:p>
            <a:r>
              <a:rPr lang="ja-JP" altLang="en-US" dirty="0" smtClean="0">
                <a:latin typeface="Arial" panose="020B0604020202020204" pitchFamily="34" charset="0"/>
                <a:ea typeface="ＭＳ Ｐゴシック" panose="020B0600070205080204" pitchFamily="50" charset="-128"/>
                <a:cs typeface="Arial" panose="020B0604020202020204" pitchFamily="34" charset="0"/>
              </a:rPr>
              <a:t>出典</a:t>
            </a:r>
            <a:r>
              <a:rPr lang="en-US" dirty="0" smtClean="0">
                <a:latin typeface="Arial" panose="020B0604020202020204" pitchFamily="34" charset="0"/>
                <a:ea typeface="ＭＳ Ｐゴシック" panose="020B0600070205080204" pitchFamily="50" charset="-128"/>
                <a:cs typeface="Arial" panose="020B0604020202020204" pitchFamily="34" charset="0"/>
              </a:rPr>
              <a:t>: </a:t>
            </a:r>
            <a:r>
              <a:rPr lang="ja-JP" altLang="en-US" dirty="0" smtClean="0">
                <a:latin typeface="Arial" panose="020B0604020202020204" pitchFamily="34" charset="0"/>
                <a:ea typeface="ＭＳ Ｐゴシック" panose="020B0600070205080204" pitchFamily="50" charset="-128"/>
                <a:cs typeface="Arial" panose="020B0604020202020204" pitchFamily="34" charset="0"/>
              </a:rPr>
              <a:t>毛細浄化社提供データ（</a:t>
            </a:r>
            <a:r>
              <a:rPr lang="en-US" dirty="0" smtClean="0">
                <a:latin typeface="Arial" panose="020B0604020202020204" pitchFamily="34" charset="0"/>
                <a:ea typeface="ＭＳ Ｐゴシック" panose="020B0600070205080204" pitchFamily="50" charset="-128"/>
                <a:cs typeface="Arial" panose="020B0604020202020204" pitchFamily="34" charset="0"/>
              </a:rPr>
              <a:t>Dalberg analysis</a:t>
            </a:r>
            <a:r>
              <a:rPr lang="ja-JP" altLang="en-US" dirty="0" smtClean="0">
                <a:latin typeface="Arial" panose="020B0604020202020204" pitchFamily="34" charset="0"/>
                <a:ea typeface="ＭＳ Ｐゴシック" panose="020B0600070205080204" pitchFamily="50" charset="-128"/>
                <a:cs typeface="Arial" panose="020B0604020202020204" pitchFamily="34" charset="0"/>
              </a:rPr>
              <a:t>）</a:t>
            </a:r>
            <a:endParaRPr 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4" name="TextBox 83"/>
          <p:cNvSpPr txBox="1"/>
          <p:nvPr/>
        </p:nvSpPr>
        <p:spPr>
          <a:xfrm>
            <a:off x="2033587" y="5870542"/>
            <a:ext cx="5076826" cy="213815"/>
          </a:xfrm>
          <a:prstGeom prst="rect">
            <a:avLst/>
          </a:prstGeom>
          <a:noFill/>
        </p:spPr>
        <p:txBody>
          <a:bodyPr wrap="square" lIns="0" tIns="0" rIns="0" bIns="0" rtlCol="0">
            <a:noAutofit/>
          </a:bodyPr>
          <a:lstStyle/>
          <a:p>
            <a:pPr marL="231775" indent="-231775" algn="ctr"/>
            <a:r>
              <a:rPr lang="ja-JP" altLang="en-US" sz="1400" b="1" dirty="0" smtClean="0">
                <a:latin typeface="ＭＳ Ｐゴシック" panose="020B0600070205080204" pitchFamily="50" charset="-128"/>
                <a:ea typeface="ＭＳ Ｐゴシック" panose="020B0600070205080204" pitchFamily="50" charset="-128"/>
              </a:rPr>
              <a:t>システムの利用対象人数</a:t>
            </a:r>
            <a:endParaRPr lang="en-US" sz="1400" i="1" dirty="0" smtClean="0">
              <a:latin typeface="ＭＳ Ｐゴシック" panose="020B0600070205080204" pitchFamily="50" charset="-128"/>
              <a:ea typeface="ＭＳ Ｐゴシック" panose="020B0600070205080204" pitchFamily="50" charset="-128"/>
            </a:endParaRPr>
          </a:p>
        </p:txBody>
      </p:sp>
      <p:sp>
        <p:nvSpPr>
          <p:cNvPr id="29" name="TextBox 28"/>
          <p:cNvSpPr txBox="1"/>
          <p:nvPr/>
        </p:nvSpPr>
        <p:spPr>
          <a:xfrm>
            <a:off x="415637" y="3275828"/>
            <a:ext cx="879762" cy="861197"/>
          </a:xfrm>
          <a:prstGeom prst="rect">
            <a:avLst/>
          </a:prstGeom>
          <a:noFill/>
        </p:spPr>
        <p:txBody>
          <a:bodyPr wrap="square" lIns="0" tIns="0" rIns="0" bIns="0" rtlCol="0">
            <a:noAutofit/>
          </a:bodyPr>
          <a:lstStyle/>
          <a:p>
            <a:r>
              <a:rPr lang="ja-JP" altLang="en-US" sz="1400" b="1" dirty="0">
                <a:latin typeface="ＭＳ Ｐゴシック" panose="020B0600070205080204" pitchFamily="50" charset="-128"/>
                <a:ea typeface="ＭＳ Ｐゴシック" panose="020B0600070205080204" pitchFamily="50" charset="-128"/>
              </a:rPr>
              <a:t>システムのコスト</a:t>
            </a:r>
            <a:r>
              <a:rPr lang="ja-JP" altLang="en-US" sz="1400" i="1" dirty="0">
                <a:latin typeface="ＭＳ Ｐゴシック" panose="020B0600070205080204" pitchFamily="50" charset="-128"/>
                <a:ea typeface="ＭＳ Ｐゴシック" panose="020B0600070205080204" pitchFamily="50" charset="-128"/>
              </a:rPr>
              <a:t>（千米ドル）</a:t>
            </a:r>
            <a:endParaRPr lang="en-US" sz="1400" i="1" dirty="0" smtClean="0">
              <a:latin typeface="ＭＳ Ｐゴシック" panose="020B0600070205080204" pitchFamily="50" charset="-128"/>
              <a:ea typeface="ＭＳ Ｐゴシック" panose="020B0600070205080204" pitchFamily="50" charset="-128"/>
            </a:endParaRPr>
          </a:p>
        </p:txBody>
      </p:sp>
      <p:sp>
        <p:nvSpPr>
          <p:cNvPr id="30" name="TextBox 29"/>
          <p:cNvSpPr txBox="1"/>
          <p:nvPr/>
        </p:nvSpPr>
        <p:spPr>
          <a:xfrm>
            <a:off x="7848602" y="3275828"/>
            <a:ext cx="879762" cy="861197"/>
          </a:xfrm>
          <a:prstGeom prst="rect">
            <a:avLst/>
          </a:prstGeom>
          <a:noFill/>
        </p:spPr>
        <p:txBody>
          <a:bodyPr wrap="square" lIns="0" tIns="0" rIns="0" bIns="0" rtlCol="0">
            <a:noAutofit/>
          </a:bodyPr>
          <a:lstStyle/>
          <a:p>
            <a:r>
              <a:rPr lang="ja-JP" altLang="en-US" sz="1400" b="1" dirty="0">
                <a:latin typeface="ＭＳ Ｐゴシック" panose="020B0600070205080204" pitchFamily="50" charset="-128"/>
                <a:ea typeface="ＭＳ Ｐゴシック" panose="020B0600070205080204" pitchFamily="50" charset="-128"/>
              </a:rPr>
              <a:t>利用者</a:t>
            </a:r>
            <a:r>
              <a:rPr lang="en-US" altLang="ja-JP" sz="1400" b="1" dirty="0">
                <a:latin typeface="ＭＳ Ｐゴシック" panose="020B0600070205080204" pitchFamily="50" charset="-128"/>
                <a:ea typeface="ＭＳ Ｐゴシック" panose="020B0600070205080204" pitchFamily="50" charset="-128"/>
              </a:rPr>
              <a:t>1</a:t>
            </a:r>
            <a:r>
              <a:rPr lang="ja-JP" altLang="en-US" sz="1400" b="1" dirty="0">
                <a:latin typeface="ＭＳ Ｐゴシック" panose="020B0600070205080204" pitchFamily="50" charset="-128"/>
                <a:ea typeface="ＭＳ Ｐゴシック" panose="020B0600070205080204" pitchFamily="50" charset="-128"/>
              </a:rPr>
              <a:t>人当たりコスト</a:t>
            </a:r>
            <a:r>
              <a:rPr lang="ja-JP" altLang="en-US" sz="1400" i="1" dirty="0">
                <a:latin typeface="ＭＳ Ｐゴシック" panose="020B0600070205080204" pitchFamily="50" charset="-128"/>
                <a:ea typeface="ＭＳ Ｐゴシック" panose="020B0600070205080204" pitchFamily="50" charset="-128"/>
              </a:rPr>
              <a:t>（米ドル）</a:t>
            </a:r>
            <a:endParaRPr lang="en-US" sz="1400" i="1" dirty="0" smtClean="0">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369152566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1213606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079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7" name="Rounded Rectangle 26"/>
          <p:cNvSpPr/>
          <p:nvPr/>
        </p:nvSpPr>
        <p:spPr>
          <a:xfrm>
            <a:off x="415637" y="4629909"/>
            <a:ext cx="8333076" cy="62665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 name="Rounded Rectangle 5"/>
          <p:cNvSpPr/>
          <p:nvPr/>
        </p:nvSpPr>
        <p:spPr>
          <a:xfrm>
            <a:off x="415637" y="2791028"/>
            <a:ext cx="8333076" cy="59436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 name="Title 1"/>
          <p:cNvSpPr>
            <a:spLocks noGrp="1"/>
          </p:cNvSpPr>
          <p:nvPr>
            <p:ph type="title"/>
          </p:nvPr>
        </p:nvSpPr>
        <p:spPr/>
        <p:txBody>
          <a:bodyPr/>
          <a:lstStyle/>
          <a:p>
            <a:r>
              <a:rPr lang="ja-JP" altLang="en-US" dirty="0" smtClean="0"/>
              <a:t>ニイミトレンチは従来の浸透枡システムに比べて環境面の利点が大きい</a:t>
            </a:r>
            <a:endParaRPr lang="en-US" dirty="0"/>
          </a:p>
        </p:txBody>
      </p:sp>
      <p:sp>
        <p:nvSpPr>
          <p:cNvPr id="3" name="Text Placeholder 2"/>
          <p:cNvSpPr>
            <a:spLocks noGrp="1"/>
          </p:cNvSpPr>
          <p:nvPr>
            <p:ph type="body" sz="quarter" idx="37"/>
          </p:nvPr>
        </p:nvSpPr>
        <p:spPr/>
        <p:txBody>
          <a:bodyPr/>
          <a:lstStyle/>
          <a:p>
            <a:r>
              <a:rPr lang="en-US" baseline="30000" dirty="0" smtClean="0"/>
              <a:t>1</a:t>
            </a:r>
            <a:r>
              <a:rPr lang="ja-JP" altLang="en-US" baseline="30000" dirty="0" smtClean="0"/>
              <a:t>輸入材のかわりに地元の材料を使うと（ナイロン製網、トレンチ用プラスチックシート、沈殿槽）コストは</a:t>
            </a:r>
            <a:r>
              <a:rPr lang="en-US" altLang="ja-JP" baseline="30000" dirty="0" smtClean="0"/>
              <a:t>700</a:t>
            </a:r>
            <a:r>
              <a:rPr lang="ja-JP" altLang="en-US" baseline="30000" dirty="0" smtClean="0"/>
              <a:t>米ドルぐらいまで下がる。それでも浄化槽としては高価である。</a:t>
            </a:r>
            <a:endParaRPr lang="en-US" dirty="0" smtClean="0"/>
          </a:p>
          <a:p>
            <a:r>
              <a:rPr lang="en-US" baseline="30000" dirty="0" smtClean="0"/>
              <a:t>2</a:t>
            </a:r>
            <a:r>
              <a:rPr lang="ja-JP" altLang="en-US" baseline="30000" dirty="0" smtClean="0"/>
              <a:t>材料費、建設費、人件費、輸送費を含む</a:t>
            </a:r>
            <a:endParaRPr lang="en-US" dirty="0"/>
          </a:p>
        </p:txBody>
      </p:sp>
      <p:sp>
        <p:nvSpPr>
          <p:cNvPr id="44" name="TextBox 43"/>
          <p:cNvSpPr txBox="1"/>
          <p:nvPr/>
        </p:nvSpPr>
        <p:spPr>
          <a:xfrm>
            <a:off x="2167650" y="2791027"/>
            <a:ext cx="6560713" cy="594360"/>
          </a:xfrm>
          <a:prstGeom prst="rect">
            <a:avLst/>
          </a:prstGeom>
          <a:noFill/>
        </p:spPr>
        <p:txBody>
          <a:bodyPr wrap="square" lIns="0" tIns="0" rIns="0" bIns="0" rtlCol="0">
            <a:noAutofit/>
          </a:bodyPr>
          <a:lstStyle/>
          <a:p>
            <a:r>
              <a:rPr lang="ja-JP" altLang="en-US" sz="1200" dirty="0" smtClean="0"/>
              <a:t>パイプを地表近くに設置するためトレンチはそれほど深くする必要はない（</a:t>
            </a:r>
            <a:r>
              <a:rPr lang="en-US" altLang="ja-JP" sz="1200" dirty="0" smtClean="0"/>
              <a:t>70</a:t>
            </a:r>
            <a:r>
              <a:rPr lang="ja-JP" altLang="en-US" sz="1200" dirty="0" smtClean="0"/>
              <a:t>～</a:t>
            </a:r>
            <a:r>
              <a:rPr lang="en-US" altLang="ja-JP" sz="1200" dirty="0"/>
              <a:t>90 cm </a:t>
            </a:r>
            <a:r>
              <a:rPr lang="ja-JP" altLang="en-US" sz="1200" dirty="0" smtClean="0"/>
              <a:t>）。もっと深く掘る（</a:t>
            </a:r>
            <a:r>
              <a:rPr lang="en-US" altLang="ja-JP" sz="1200" dirty="0" smtClean="0"/>
              <a:t>200</a:t>
            </a:r>
            <a:r>
              <a:rPr lang="ja-JP" altLang="en-US" sz="1200" dirty="0" smtClean="0"/>
              <a:t>～</a:t>
            </a:r>
            <a:r>
              <a:rPr lang="en-US" altLang="ja-JP" sz="1200" dirty="0" smtClean="0"/>
              <a:t>250</a:t>
            </a:r>
            <a:r>
              <a:rPr lang="en-US" sz="1200" dirty="0" smtClean="0"/>
              <a:t> </a:t>
            </a:r>
            <a:r>
              <a:rPr lang="en-US" altLang="ja-JP" sz="1200" dirty="0"/>
              <a:t>cm </a:t>
            </a:r>
            <a:r>
              <a:rPr lang="ja-JP" altLang="en-US" sz="1200" dirty="0" smtClean="0"/>
              <a:t>）</a:t>
            </a:r>
            <a:r>
              <a:rPr lang="ja-JP" altLang="en-US" sz="1200" dirty="0"/>
              <a:t>浸透</a:t>
            </a:r>
            <a:r>
              <a:rPr lang="ja-JP" altLang="en-US" sz="1200" dirty="0" smtClean="0"/>
              <a:t>枡と比べて</a:t>
            </a:r>
            <a:r>
              <a:rPr lang="ja-JP" altLang="en-US" sz="1200" b="1" dirty="0" smtClean="0"/>
              <a:t>労力も時間もかからない</a:t>
            </a:r>
            <a:endParaRPr lang="en-US" sz="1200" b="1" dirty="0" smtClean="0"/>
          </a:p>
        </p:txBody>
      </p:sp>
      <p:sp>
        <p:nvSpPr>
          <p:cNvPr id="4" name="Rectangle 3"/>
          <p:cNvSpPr/>
          <p:nvPr/>
        </p:nvSpPr>
        <p:spPr>
          <a:xfrm>
            <a:off x="2167651" y="1023457"/>
            <a:ext cx="3200400" cy="377504"/>
          </a:xfrm>
          <a:prstGeom prst="rect">
            <a:avLst/>
          </a:prstGeom>
          <a:solidFill>
            <a:srgbClr val="6710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smtClean="0">
                <a:solidFill>
                  <a:schemeClr val="bg1"/>
                </a:solidFill>
              </a:rPr>
              <a:t>ニイミトレンチ</a:t>
            </a:r>
            <a:endParaRPr lang="en-US" sz="1400" b="1" dirty="0">
              <a:solidFill>
                <a:schemeClr val="bg1"/>
              </a:solidFill>
            </a:endParaRPr>
          </a:p>
        </p:txBody>
      </p:sp>
      <p:sp>
        <p:nvSpPr>
          <p:cNvPr id="18" name="Rectangle 17"/>
          <p:cNvSpPr/>
          <p:nvPr/>
        </p:nvSpPr>
        <p:spPr>
          <a:xfrm>
            <a:off x="5527964" y="1023457"/>
            <a:ext cx="3200400" cy="37750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smtClean="0">
                <a:solidFill>
                  <a:schemeClr val="bg1"/>
                </a:solidFill>
              </a:rPr>
              <a:t>浸透枡システム</a:t>
            </a:r>
            <a:endParaRPr lang="en-US" sz="1400" b="1" dirty="0">
              <a:solidFill>
                <a:schemeClr val="bg1"/>
              </a:solidFill>
            </a:endParaRPr>
          </a:p>
        </p:txBody>
      </p:sp>
      <p:pic>
        <p:nvPicPr>
          <p:cNvPr id="19" name="Picture 25" descr="http://www.sswm.info/sites/default/files/toolbox/TILLEY%20et%20al%202014%20Schematic%20of%20a%20soak%20pit.png"/>
          <p:cNvPicPr>
            <a:picLocks noChangeAspect="1" noChangeArrowheads="1"/>
          </p:cNvPicPr>
          <p:nvPr/>
        </p:nvPicPr>
        <p:blipFill rotWithShape="1">
          <a:blip r:embed="rId6">
            <a:extLst>
              <a:ext uri="{28A0092B-C50C-407E-A947-70E740481C1C}">
                <a14:useLocalDpi xmlns:a14="http://schemas.microsoft.com/office/drawing/2010/main"/>
              </a:ext>
            </a:extLst>
          </a:blip>
          <a:srcRect l="31051" t="14692" r="29087" b="14032"/>
          <a:stretch/>
        </p:blipFill>
        <p:spPr bwMode="auto">
          <a:xfrm>
            <a:off x="6598631" y="1504852"/>
            <a:ext cx="1059066" cy="109728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036331" y="1504852"/>
            <a:ext cx="1463040" cy="1097280"/>
          </a:xfrm>
          <a:prstGeom prst="rect">
            <a:avLst/>
          </a:prstGeom>
        </p:spPr>
      </p:pic>
      <p:sp>
        <p:nvSpPr>
          <p:cNvPr id="5" name="Rectangle 4"/>
          <p:cNvSpPr/>
          <p:nvPr/>
        </p:nvSpPr>
        <p:spPr>
          <a:xfrm>
            <a:off x="415637" y="2791028"/>
            <a:ext cx="1275127" cy="5943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dirty="0" smtClean="0">
                <a:solidFill>
                  <a:schemeClr val="tx1"/>
                </a:solidFill>
              </a:rPr>
              <a:t>設置のしやすさ</a:t>
            </a:r>
            <a:endParaRPr lang="en-US" sz="1200" b="1" dirty="0">
              <a:solidFill>
                <a:schemeClr val="tx1"/>
              </a:solidFill>
            </a:endParaRPr>
          </a:p>
        </p:txBody>
      </p:sp>
      <p:sp>
        <p:nvSpPr>
          <p:cNvPr id="30" name="Rectangle 29"/>
          <p:cNvSpPr/>
          <p:nvPr/>
        </p:nvSpPr>
        <p:spPr>
          <a:xfrm>
            <a:off x="415637" y="3603579"/>
            <a:ext cx="1275127" cy="7772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dirty="0" smtClean="0">
                <a:solidFill>
                  <a:schemeClr val="tx1"/>
                </a:solidFill>
              </a:rPr>
              <a:t>環境面の利点</a:t>
            </a:r>
            <a:endParaRPr lang="en-US" sz="1200" b="1" dirty="0">
              <a:solidFill>
                <a:schemeClr val="tx1"/>
              </a:solidFill>
            </a:endParaRPr>
          </a:p>
        </p:txBody>
      </p:sp>
      <p:sp>
        <p:nvSpPr>
          <p:cNvPr id="35" name="Rectangle 34"/>
          <p:cNvSpPr/>
          <p:nvPr/>
        </p:nvSpPr>
        <p:spPr>
          <a:xfrm>
            <a:off x="415637" y="4650628"/>
            <a:ext cx="1275127" cy="5852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dirty="0" smtClean="0">
                <a:solidFill>
                  <a:schemeClr val="tx1"/>
                </a:solidFill>
              </a:rPr>
              <a:t>維持管理</a:t>
            </a:r>
            <a:endParaRPr lang="en-US" sz="1200" b="1" dirty="0">
              <a:solidFill>
                <a:schemeClr val="tx1"/>
              </a:solidFill>
            </a:endParaRPr>
          </a:p>
        </p:txBody>
      </p:sp>
      <p:sp>
        <p:nvSpPr>
          <p:cNvPr id="24" name="Rectangle 23"/>
          <p:cNvSpPr/>
          <p:nvPr/>
        </p:nvSpPr>
        <p:spPr>
          <a:xfrm>
            <a:off x="415637" y="5539709"/>
            <a:ext cx="1275127" cy="5303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dirty="0" smtClean="0">
                <a:solidFill>
                  <a:schemeClr val="tx1"/>
                </a:solidFill>
              </a:rPr>
              <a:t>コスト</a:t>
            </a:r>
            <a:endParaRPr lang="en-US" sz="1200" b="1" dirty="0">
              <a:solidFill>
                <a:schemeClr val="tx1"/>
              </a:solidFill>
            </a:endParaRPr>
          </a:p>
        </p:txBody>
      </p:sp>
      <p:sp>
        <p:nvSpPr>
          <p:cNvPr id="28" name="TextBox 27"/>
          <p:cNvSpPr txBox="1"/>
          <p:nvPr/>
        </p:nvSpPr>
        <p:spPr>
          <a:xfrm>
            <a:off x="2167650" y="3603579"/>
            <a:ext cx="6560713" cy="777240"/>
          </a:xfrm>
          <a:prstGeom prst="rect">
            <a:avLst/>
          </a:prstGeom>
          <a:noFill/>
        </p:spPr>
        <p:txBody>
          <a:bodyPr wrap="square" lIns="0" tIns="0" rIns="0" bIns="0" rtlCol="0">
            <a:noAutofit/>
          </a:bodyPr>
          <a:lstStyle/>
          <a:p>
            <a:r>
              <a:rPr lang="ja-JP" altLang="en-US" sz="1200" dirty="0" smtClean="0"/>
              <a:t>土中の微生物は地表近くに存在する。</a:t>
            </a:r>
            <a:r>
              <a:rPr lang="ja-JP" altLang="en-US" sz="1200" b="1" dirty="0" smtClean="0"/>
              <a:t>ニイミトレンチ</a:t>
            </a:r>
            <a:r>
              <a:rPr lang="ja-JP" altLang="en-US" sz="1200" dirty="0" smtClean="0"/>
              <a:t>は浅いので、</a:t>
            </a:r>
            <a:r>
              <a:rPr lang="ja-JP" altLang="en-US" sz="1200" b="1" dirty="0" smtClean="0"/>
              <a:t>微生物を有効に利用して排泄物を分解できる</a:t>
            </a:r>
            <a:r>
              <a:rPr lang="ja-JP" altLang="en-US" sz="1200" dirty="0" smtClean="0"/>
              <a:t>。</a:t>
            </a:r>
            <a:r>
              <a:rPr lang="ja-JP" altLang="en-US" sz="1200" b="1" dirty="0" smtClean="0"/>
              <a:t>浸透枡</a:t>
            </a:r>
            <a:r>
              <a:rPr lang="ja-JP" altLang="en-US" sz="1200" dirty="0" smtClean="0"/>
              <a:t>は深すぎて土壌バクテリアが排泄物を処理できず、</a:t>
            </a:r>
            <a:r>
              <a:rPr lang="ja-JP" altLang="en-US" sz="1200" b="1" dirty="0" smtClean="0"/>
              <a:t>未処理の排泄物が地下水面近くにまで達する</a:t>
            </a:r>
            <a:r>
              <a:rPr lang="ja-JP" altLang="en-US" sz="1200" dirty="0" smtClean="0"/>
              <a:t>ので、水由来の疾病のリスクが高まる</a:t>
            </a:r>
            <a:endParaRPr lang="en-US" sz="1200" dirty="0" smtClean="0"/>
          </a:p>
        </p:txBody>
      </p:sp>
      <p:sp>
        <p:nvSpPr>
          <p:cNvPr id="29" name="TextBox 28"/>
          <p:cNvSpPr txBox="1"/>
          <p:nvPr/>
        </p:nvSpPr>
        <p:spPr>
          <a:xfrm>
            <a:off x="2167650" y="4650628"/>
            <a:ext cx="6560713" cy="585216"/>
          </a:xfrm>
          <a:prstGeom prst="rect">
            <a:avLst/>
          </a:prstGeom>
          <a:noFill/>
        </p:spPr>
        <p:txBody>
          <a:bodyPr wrap="square" lIns="0" tIns="0" rIns="0" bIns="0" rtlCol="0">
            <a:noAutofit/>
          </a:bodyPr>
          <a:lstStyle/>
          <a:p>
            <a:r>
              <a:rPr lang="en-US" altLang="ja-JP" sz="1200" dirty="0" smtClean="0"/>
              <a:t>2</a:t>
            </a:r>
            <a:r>
              <a:rPr lang="ja-JP" altLang="en-US" sz="1200" dirty="0" smtClean="0"/>
              <a:t>本のトレンチは交互（</a:t>
            </a:r>
            <a:r>
              <a:rPr lang="en-US" altLang="ja-JP" sz="1200" dirty="0" smtClean="0"/>
              <a:t>6</a:t>
            </a:r>
            <a:r>
              <a:rPr lang="ja-JP" altLang="en-US" sz="1200" dirty="0" smtClean="0"/>
              <a:t>カ月ごと）に</a:t>
            </a:r>
            <a:r>
              <a:rPr lang="en-US" sz="1200" dirty="0" smtClean="0"/>
              <a:t> 15</a:t>
            </a:r>
            <a:r>
              <a:rPr lang="ja-JP" altLang="en-US" sz="1200" dirty="0" smtClean="0"/>
              <a:t>～</a:t>
            </a:r>
            <a:r>
              <a:rPr lang="en-US" sz="1200" dirty="0" smtClean="0"/>
              <a:t>20</a:t>
            </a:r>
            <a:r>
              <a:rPr lang="ja-JP" altLang="en-US" sz="1200" dirty="0" smtClean="0"/>
              <a:t>年間使用可能。一方浸透枡はすぐに満杯になるので</a:t>
            </a:r>
            <a:r>
              <a:rPr lang="en-US" sz="1200" dirty="0" smtClean="0"/>
              <a:t>8</a:t>
            </a:r>
            <a:r>
              <a:rPr lang="ja-JP" altLang="en-US" sz="1200" dirty="0" smtClean="0"/>
              <a:t>～</a:t>
            </a:r>
            <a:r>
              <a:rPr lang="en-US" sz="1200" dirty="0" smtClean="0"/>
              <a:t>10</a:t>
            </a:r>
            <a:r>
              <a:rPr lang="ja-JP" altLang="en-US" sz="1200" dirty="0" smtClean="0"/>
              <a:t>年ごとに新たに掘らなければなら</a:t>
            </a:r>
            <a:r>
              <a:rPr lang="ja-JP" altLang="en-US" sz="1200" dirty="0"/>
              <a:t>ず</a:t>
            </a:r>
            <a:r>
              <a:rPr lang="ja-JP" altLang="en-US" sz="1200" dirty="0" smtClean="0"/>
              <a:t>、費用がかさむだけでなく環境的にも持続可能ではない。</a:t>
            </a:r>
            <a:r>
              <a:rPr lang="ja-JP" altLang="en-US" sz="1200" b="1" dirty="0" smtClean="0"/>
              <a:t>いずれの場合も浄化槽は定期的に清掃しなければならない</a:t>
            </a:r>
            <a:r>
              <a:rPr lang="en-US" sz="1200" dirty="0" smtClean="0"/>
              <a:t> </a:t>
            </a:r>
          </a:p>
        </p:txBody>
      </p:sp>
      <p:sp>
        <p:nvSpPr>
          <p:cNvPr id="37" name="TextBox 36"/>
          <p:cNvSpPr txBox="1"/>
          <p:nvPr/>
        </p:nvSpPr>
        <p:spPr>
          <a:xfrm>
            <a:off x="2167650" y="5539709"/>
            <a:ext cx="6560713" cy="530352"/>
          </a:xfrm>
          <a:prstGeom prst="rect">
            <a:avLst/>
          </a:prstGeom>
          <a:noFill/>
        </p:spPr>
        <p:txBody>
          <a:bodyPr wrap="square" lIns="0" tIns="0" rIns="0" bIns="0" rtlCol="0">
            <a:noAutofit/>
          </a:bodyPr>
          <a:lstStyle/>
          <a:p>
            <a:r>
              <a:rPr lang="en-US" altLang="ja-JP" sz="1200" dirty="0" smtClean="0"/>
              <a:t>5</a:t>
            </a:r>
            <a:r>
              <a:rPr lang="ja-JP" altLang="en-US" sz="1200" dirty="0" smtClean="0"/>
              <a:t>～</a:t>
            </a:r>
            <a:r>
              <a:rPr lang="en-US" altLang="ja-JP" sz="1200" dirty="0" smtClean="0"/>
              <a:t>8</a:t>
            </a:r>
            <a:r>
              <a:rPr lang="ja-JP" altLang="en-US" sz="1200" dirty="0" smtClean="0"/>
              <a:t>人用のニイミトレンチの設置コストは</a:t>
            </a:r>
            <a:r>
              <a:rPr lang="en-US" altLang="ja-JP" sz="1200" dirty="0" smtClean="0"/>
              <a:t>1000</a:t>
            </a:r>
            <a:r>
              <a:rPr lang="ja-JP" altLang="en-US" sz="1200" dirty="0" smtClean="0"/>
              <a:t>米ドル</a:t>
            </a:r>
            <a:r>
              <a:rPr lang="en-US" sz="1200" baseline="30000" dirty="0" smtClean="0"/>
              <a:t>1</a:t>
            </a:r>
            <a:r>
              <a:rPr lang="en-US" sz="1200" dirty="0" smtClean="0"/>
              <a:t> </a:t>
            </a:r>
            <a:r>
              <a:rPr lang="ja-JP" altLang="en-US" sz="1200" dirty="0" err="1" smtClean="0"/>
              <a:t>。</a:t>
            </a:r>
            <a:r>
              <a:rPr lang="ja-JP" altLang="en-US" sz="1200" dirty="0" smtClean="0"/>
              <a:t>浄化槽＋浸透枡の設置コストは最大でも</a:t>
            </a:r>
            <a:r>
              <a:rPr lang="en-US" sz="1200" dirty="0" smtClean="0"/>
              <a:t>700</a:t>
            </a:r>
            <a:r>
              <a:rPr lang="ja-JP" altLang="en-US" sz="1200" dirty="0" smtClean="0"/>
              <a:t>米ドル</a:t>
            </a:r>
            <a:r>
              <a:rPr lang="en-US" sz="1200" baseline="30000" dirty="0" smtClean="0"/>
              <a:t>2</a:t>
            </a:r>
            <a:r>
              <a:rPr lang="en-US" sz="1200" dirty="0" smtClean="0"/>
              <a:t> </a:t>
            </a:r>
            <a:r>
              <a:rPr lang="ja-JP" altLang="en-US" sz="1200" dirty="0" err="1" smtClean="0"/>
              <a:t>。</a:t>
            </a:r>
            <a:r>
              <a:rPr lang="ja-JP" altLang="en-US" sz="1200" dirty="0" smtClean="0"/>
              <a:t>従って</a:t>
            </a:r>
            <a:r>
              <a:rPr lang="ja-JP" altLang="en-US" sz="1200" b="1" dirty="0" smtClean="0"/>
              <a:t>ニイミトレンチは</a:t>
            </a:r>
            <a:r>
              <a:rPr lang="ja-JP" altLang="en-US" sz="1200" dirty="0" smtClean="0"/>
              <a:t>次善の選択肢</a:t>
            </a:r>
            <a:r>
              <a:rPr lang="en-US" altLang="ja-JP" sz="1200" baseline="30000" dirty="0" smtClean="0"/>
              <a:t>2</a:t>
            </a:r>
            <a:r>
              <a:rPr lang="ja-JP" altLang="en-US" sz="1200" dirty="0" smtClean="0"/>
              <a:t>よりも</a:t>
            </a:r>
            <a:r>
              <a:rPr lang="ja-JP" altLang="en-US" sz="1200" b="1" dirty="0" smtClean="0"/>
              <a:t>約</a:t>
            </a:r>
            <a:r>
              <a:rPr lang="en-US" altLang="ja-JP" sz="1200" b="1" dirty="0" smtClean="0"/>
              <a:t>60</a:t>
            </a:r>
            <a:r>
              <a:rPr lang="ja-JP" altLang="en-US" sz="1200" b="1" dirty="0" smtClean="0"/>
              <a:t>％割高</a:t>
            </a:r>
            <a:endParaRPr lang="en-US" sz="1200" baseline="30000" dirty="0"/>
          </a:p>
        </p:txBody>
      </p:sp>
    </p:spTree>
    <p:extLst>
      <p:ext uri="{BB962C8B-B14F-4D97-AF65-F5344CB8AC3E}">
        <p14:creationId xmlns:p14="http://schemas.microsoft.com/office/powerpoint/2010/main" val="12265989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8" name="Rectangle 7"/>
          <p:cNvSpPr>
            <a:spLocks noChangeArrowheads="1"/>
          </p:cNvSpPr>
          <p:nvPr>
            <p:custDataLst>
              <p:tags r:id="rId1"/>
            </p:custDataLst>
          </p:nvPr>
        </p:nvSpPr>
        <p:spPr bwMode="auto">
          <a:xfrm>
            <a:off x="0" y="2906103"/>
            <a:ext cx="9144000" cy="901968"/>
          </a:xfrm>
          <a:prstGeom prst="rect">
            <a:avLst/>
          </a:prstGeom>
          <a:solidFill>
            <a:srgbClr val="67103F"/>
          </a:solidFill>
          <a:ln w="12700" algn="ctr">
            <a:noFill/>
            <a:miter lim="800000"/>
            <a:headEnd/>
            <a:tailEnd/>
          </a:ln>
        </p:spPr>
        <p:txBody>
          <a:bodyPr lIns="77893" tIns="38947" rIns="77893" bIns="38947" anchor="ctr"/>
          <a:lstStyle/>
          <a:p>
            <a:pPr marL="97389" defTabSz="779842"/>
            <a:r>
              <a:rPr lang="ja-JP" altLang="en-US" sz="1600" b="1" dirty="0">
                <a:solidFill>
                  <a:schemeClr val="bg1"/>
                </a:solidFill>
                <a:latin typeface="ＭＳ Ｐゴシック" panose="020B0600070205080204" pitchFamily="50" charset="-128"/>
                <a:ea typeface="ＭＳ Ｐゴシック" panose="020B0600070205080204" pitchFamily="50" charset="-128"/>
              </a:rPr>
              <a:t>付録 </a:t>
            </a:r>
            <a:r>
              <a:rPr lang="en-US" altLang="ja-JP" sz="1600" b="1" dirty="0">
                <a:solidFill>
                  <a:schemeClr val="bg1"/>
                </a:solidFill>
                <a:latin typeface="ＭＳ Ｐゴシック" panose="020B0600070205080204" pitchFamily="50" charset="-128"/>
                <a:ea typeface="ＭＳ Ｐゴシック" panose="020B0600070205080204" pitchFamily="50" charset="-128"/>
              </a:rPr>
              <a:t>2</a:t>
            </a:r>
            <a:r>
              <a:rPr lang="ja-JP" altLang="en-US" sz="1600" b="1" dirty="0">
                <a:solidFill>
                  <a:schemeClr val="bg1"/>
                </a:solidFill>
                <a:latin typeface="ＭＳ Ｐゴシック" panose="020B0600070205080204" pitchFamily="50" charset="-128"/>
                <a:ea typeface="ＭＳ Ｐゴシック" panose="020B0600070205080204" pitchFamily="50" charset="-128"/>
              </a:rPr>
              <a:t>：シッキムでの試験的設置に関する</a:t>
            </a:r>
            <a:r>
              <a:rPr lang="ja-JP" altLang="en-US" sz="1600" b="1" dirty="0" smtClean="0">
                <a:solidFill>
                  <a:schemeClr val="bg1"/>
                </a:solidFill>
                <a:latin typeface="ＭＳ Ｐゴシック" panose="020B0600070205080204" pitchFamily="50" charset="-128"/>
                <a:ea typeface="ＭＳ Ｐゴシック" panose="020B0600070205080204" pitchFamily="50" charset="-128"/>
              </a:rPr>
              <a:t>モニタリングおよび評価のフレームワーク案</a:t>
            </a:r>
            <a:endParaRPr lang="en-GB" sz="1600" i="1" dirty="0">
              <a:solidFill>
                <a:schemeClr val="bg1"/>
              </a:solidFill>
              <a:latin typeface="ＭＳ Ｐゴシック" panose="020B0600070205080204" pitchFamily="50" charset="-128"/>
              <a:ea typeface="ＭＳ Ｐゴシック" panose="020B0600070205080204" pitchFamily="50" charset="-128"/>
            </a:endParaRPr>
          </a:p>
        </p:txBody>
      </p:sp>
      <p:sp>
        <p:nvSpPr>
          <p:cNvPr id="9" name="Rectangle 8"/>
          <p:cNvSpPr>
            <a:spLocks noChangeArrowheads="1"/>
          </p:cNvSpPr>
          <p:nvPr>
            <p:custDataLst>
              <p:tags r:id="rId2"/>
            </p:custDataLst>
          </p:nvPr>
        </p:nvSpPr>
        <p:spPr bwMode="auto">
          <a:xfrm>
            <a:off x="0" y="0"/>
            <a:ext cx="9144000" cy="1076446"/>
          </a:xfrm>
          <a:prstGeom prst="rect">
            <a:avLst/>
          </a:prstGeom>
          <a:solidFill>
            <a:schemeClr val="bg1"/>
          </a:solidFill>
          <a:ln w="12700" algn="ctr">
            <a:noFill/>
            <a:miter lim="800000"/>
            <a:headEnd/>
            <a:tailEnd/>
          </a:ln>
        </p:spPr>
        <p:txBody>
          <a:bodyPr lIns="77893" tIns="38947" rIns="77893" bIns="38947" anchor="ctr"/>
          <a:lstStyle/>
          <a:p>
            <a:pPr marL="97389" defTabSz="779842"/>
            <a:endParaRPr lang="en-GB" sz="1600" i="1" dirty="0">
              <a:solidFill>
                <a:schemeClr val="bg1"/>
              </a:solidFill>
              <a:latin typeface="Calibri" pitchFamily="34" charset="0"/>
            </a:endParaRPr>
          </a:p>
        </p:txBody>
      </p:sp>
    </p:spTree>
    <p:extLst>
      <p:ext uri="{BB962C8B-B14F-4D97-AF65-F5344CB8AC3E}">
        <p14:creationId xmlns:p14="http://schemas.microsoft.com/office/powerpoint/2010/main" val="3747802092"/>
      </p:ext>
    </p:extLst>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ja-JP" dirty="0">
                <a:latin typeface="ＭＳ Ｐゴシック" panose="020B0600070205080204" pitchFamily="50" charset="-128"/>
                <a:ea typeface="ＭＳ Ｐゴシック" panose="020B0600070205080204" pitchFamily="50" charset="-128"/>
              </a:rPr>
              <a:t>シッキムでの試験的設置に関する</a:t>
            </a:r>
            <a:r>
              <a:rPr lang="en-US" altLang="ja-JP" dirty="0">
                <a:latin typeface="ＭＳ Ｐゴシック" panose="020B0600070205080204" pitchFamily="50" charset="-128"/>
                <a:ea typeface="ＭＳ Ｐゴシック" panose="020B0600070205080204" pitchFamily="50" charset="-128"/>
              </a:rPr>
              <a:t>M&amp;E</a:t>
            </a:r>
            <a:r>
              <a:rPr lang="ja-JP" altLang="ja-JP" dirty="0">
                <a:latin typeface="ＭＳ Ｐゴシック" panose="020B0600070205080204" pitchFamily="50" charset="-128"/>
                <a:ea typeface="ＭＳ Ｐゴシック" panose="020B0600070205080204" pitchFamily="50" charset="-128"/>
              </a:rPr>
              <a:t>報告により、将来の規模拡大に向けた計画の裏付け</a:t>
            </a:r>
            <a:r>
              <a:rPr lang="ja-JP" altLang="ja-JP" dirty="0" smtClean="0">
                <a:latin typeface="ＭＳ Ｐゴシック" panose="020B0600070205080204" pitchFamily="50" charset="-128"/>
                <a:ea typeface="ＭＳ Ｐゴシック" panose="020B0600070205080204" pitchFamily="50" charset="-128"/>
              </a:rPr>
              <a:t>に</a:t>
            </a:r>
            <a:r>
              <a:rPr lang="ja-JP" altLang="en-US" dirty="0">
                <a:latin typeface="ＭＳ Ｐゴシック" panose="020B0600070205080204" pitchFamily="50" charset="-128"/>
                <a:ea typeface="ＭＳ Ｐゴシック" panose="020B0600070205080204" pitchFamily="50" charset="-128"/>
              </a:rPr>
              <a:t>役立</a:t>
            </a:r>
            <a:r>
              <a:rPr lang="ja-JP" altLang="en-US" dirty="0" smtClean="0">
                <a:latin typeface="ＭＳ Ｐゴシック" panose="020B0600070205080204" pitchFamily="50" charset="-128"/>
                <a:ea typeface="ＭＳ Ｐゴシック" panose="020B0600070205080204" pitchFamily="50" charset="-128"/>
              </a:rPr>
              <a:t>つ</a:t>
            </a:r>
            <a:r>
              <a:rPr lang="ja-JP" altLang="ja-JP" dirty="0" smtClean="0">
                <a:latin typeface="ＭＳ Ｐゴシック" panose="020B0600070205080204" pitchFamily="50" charset="-128"/>
                <a:ea typeface="ＭＳ Ｐゴシック" panose="020B0600070205080204" pitchFamily="50" charset="-128"/>
              </a:rPr>
              <a:t>定量的データ</a:t>
            </a:r>
            <a:r>
              <a:rPr lang="ja-JP" altLang="en-US" dirty="0" smtClean="0">
                <a:latin typeface="ＭＳ Ｐゴシック" panose="020B0600070205080204" pitchFamily="50" charset="-128"/>
                <a:ea typeface="ＭＳ Ｐゴシック" panose="020B0600070205080204" pitchFamily="50" charset="-128"/>
              </a:rPr>
              <a:t>が示される</a:t>
            </a:r>
            <a:endParaRPr lang="en-US" dirty="0">
              <a:latin typeface="ＭＳ Ｐゴシック" panose="020B0600070205080204" pitchFamily="50" charset="-128"/>
              <a:ea typeface="ＭＳ Ｐゴシック" panose="020B0600070205080204" pitchFamily="50" charset="-128"/>
            </a:endParaRPr>
          </a:p>
        </p:txBody>
      </p:sp>
      <p:sp>
        <p:nvSpPr>
          <p:cNvPr id="3" name="Text Placeholder 2"/>
          <p:cNvSpPr>
            <a:spLocks noGrp="1"/>
          </p:cNvSpPr>
          <p:nvPr>
            <p:ph type="body" sz="quarter" idx="37"/>
          </p:nvPr>
        </p:nvSpPr>
        <p:spPr/>
        <p:txBody>
          <a:bodyPr/>
          <a:lstStyle/>
          <a:p>
            <a:r>
              <a:rPr lang="en-US" altLang="ja-JP" dirty="0"/>
              <a:t>*</a:t>
            </a:r>
            <a:r>
              <a:rPr lang="ja-JP" altLang="ja-JP" dirty="0"/>
              <a:t>定性的指標</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3249518333"/>
              </p:ext>
            </p:extLst>
          </p:nvPr>
        </p:nvGraphicFramePr>
        <p:xfrm>
          <a:off x="556054" y="916940"/>
          <a:ext cx="7848600" cy="4790440"/>
        </p:xfrm>
        <a:graphic>
          <a:graphicData uri="http://schemas.openxmlformats.org/drawingml/2006/table">
            <a:tbl>
              <a:tblPr firstRow="1" bandRow="1">
                <a:tableStyleId>{5C22544A-7EE6-4342-B048-85BDC9FD1C3A}</a:tableStyleId>
              </a:tblPr>
              <a:tblGrid>
                <a:gridCol w="3924300"/>
                <a:gridCol w="3924300"/>
              </a:tblGrid>
              <a:tr h="370840">
                <a:tc>
                  <a:txBody>
                    <a:bodyPr/>
                    <a:lstStyle/>
                    <a:p>
                      <a:r>
                        <a:rPr lang="ja-JP" altLang="ja-JP" sz="1400" b="1" kern="1200" dirty="0" smtClean="0">
                          <a:solidFill>
                            <a:schemeClr val="lt1"/>
                          </a:solidFill>
                          <a:latin typeface="ＭＳ Ｐゴシック" panose="020B0600070205080204" pitchFamily="50" charset="-128"/>
                          <a:ea typeface="ＭＳ Ｐゴシック" panose="020B0600070205080204" pitchFamily="50" charset="-128"/>
                          <a:cs typeface="+mn-cs"/>
                        </a:rPr>
                        <a:t>パラメーター </a:t>
                      </a:r>
                      <a:endParaRPr lang="en-US" sz="1400" b="1" kern="1200" dirty="0">
                        <a:solidFill>
                          <a:schemeClr val="lt1"/>
                        </a:solidFill>
                        <a:latin typeface="ＭＳ Ｐゴシック" panose="020B0600070205080204" pitchFamily="50" charset="-128"/>
                        <a:ea typeface="ＭＳ Ｐゴシック" panose="020B0600070205080204" pitchFamily="50" charset="-128"/>
                        <a:cs typeface="+mn-cs"/>
                      </a:endParaRPr>
                    </a:p>
                  </a:txBody>
                  <a:tcPr>
                    <a:solidFill>
                      <a:srgbClr val="67103F"/>
                    </a:solidFill>
                  </a:tcPr>
                </a:tc>
                <a:tc>
                  <a:txBody>
                    <a:bodyPr/>
                    <a:lstStyle/>
                    <a:p>
                      <a:r>
                        <a:rPr lang="ja-JP" altLang="en-US" sz="1400" dirty="0" smtClean="0">
                          <a:latin typeface="ＭＳ Ｐゴシック" panose="020B0600070205080204" pitchFamily="50" charset="-128"/>
                          <a:ea typeface="ＭＳ Ｐゴシック" panose="020B0600070205080204" pitchFamily="50" charset="-128"/>
                        </a:rPr>
                        <a:t>潜在指標</a:t>
                      </a:r>
                      <a:endParaRPr lang="en-US" sz="1400" baseline="30000" dirty="0">
                        <a:latin typeface="ＭＳ Ｐゴシック" panose="020B0600070205080204" pitchFamily="50" charset="-128"/>
                        <a:ea typeface="ＭＳ Ｐゴシック" panose="020B0600070205080204" pitchFamily="50" charset="-128"/>
                      </a:endParaRPr>
                    </a:p>
                  </a:txBody>
                  <a:tcPr>
                    <a:solidFill>
                      <a:srgbClr val="67103F"/>
                    </a:solidFill>
                  </a:tcPr>
                </a:tc>
              </a:tr>
              <a:tr h="370840">
                <a:tc>
                  <a:txBody>
                    <a:bodyPr/>
                    <a:lstStyle/>
                    <a:p>
                      <a:r>
                        <a:rPr lang="ja-JP" altLang="en-US" sz="1400" b="1" dirty="0" smtClean="0">
                          <a:latin typeface="ＭＳ Ｐゴシック" panose="020B0600070205080204" pitchFamily="50" charset="-128"/>
                          <a:ea typeface="ＭＳ Ｐゴシック" panose="020B0600070205080204" pitchFamily="50" charset="-128"/>
                        </a:rPr>
                        <a:t>使用</a:t>
                      </a:r>
                      <a:endParaRPr lang="en-US" altLang="ja-JP" sz="1400" b="1" dirty="0" smtClean="0">
                        <a:latin typeface="ＭＳ Ｐゴシック" panose="020B0600070205080204" pitchFamily="50" charset="-128"/>
                        <a:ea typeface="ＭＳ Ｐゴシック" panose="020B0600070205080204" pitchFamily="50" charset="-128"/>
                      </a:endParaRPr>
                    </a:p>
                    <a:p>
                      <a:r>
                        <a:rPr lang="ja-JP" altLang="en-US" sz="1400" b="0" i="1" dirty="0" smtClean="0">
                          <a:latin typeface="ＭＳ Ｐゴシック" panose="020B0600070205080204" pitchFamily="50" charset="-128"/>
                          <a:ea typeface="ＭＳ Ｐゴシック" panose="020B0600070205080204" pitchFamily="50" charset="-128"/>
                        </a:rPr>
                        <a:t>日次で何人がニイミシステムを利用しているか？ </a:t>
                      </a:r>
                    </a:p>
                    <a:p>
                      <a:r>
                        <a:rPr lang="ja-JP" altLang="en-US" sz="1400" b="0" i="1" dirty="0" smtClean="0">
                          <a:latin typeface="ＭＳ Ｐゴシック" panose="020B0600070205080204" pitchFamily="50" charset="-128"/>
                          <a:ea typeface="ＭＳ Ｐゴシック" panose="020B0600070205080204" pitchFamily="50" charset="-128"/>
                        </a:rPr>
                        <a:t>計画使用人数と比べてどうか？ 	</a:t>
                      </a:r>
                    </a:p>
                  </a:txBody>
                  <a:tcPr/>
                </a:tc>
                <a:tc>
                  <a:txBody>
                    <a:bodyPr/>
                    <a:lstStyle/>
                    <a:p>
                      <a:pPr marL="285750" indent="-285750">
                        <a:buFont typeface="Arial" panose="020B0604020202020204" pitchFamily="34" charset="0"/>
                        <a:buChar char="•"/>
                      </a:pPr>
                      <a:r>
                        <a:rPr lang="ja-JP" altLang="en-US" sz="1400" dirty="0" smtClean="0">
                          <a:latin typeface="ＭＳ Ｐゴシック" panose="020B0600070205080204" pitchFamily="50" charset="-128"/>
                          <a:ea typeface="ＭＳ Ｐゴシック" panose="020B0600070205080204" pitchFamily="50" charset="-128"/>
                        </a:rPr>
                        <a:t>日次利用者数</a:t>
                      </a:r>
                    </a:p>
                    <a:p>
                      <a:pPr marL="285750" indent="-285750">
                        <a:buFont typeface="Arial" panose="020B0604020202020204" pitchFamily="34" charset="0"/>
                        <a:buChar char="•"/>
                      </a:pPr>
                      <a:r>
                        <a:rPr lang="ja-JP" altLang="en-US" sz="1400" dirty="0" smtClean="0">
                          <a:latin typeface="ＭＳ Ｐゴシック" panose="020B0600070205080204" pitchFamily="50" charset="-128"/>
                          <a:ea typeface="ＭＳ Ｐゴシック" panose="020B0600070205080204" pitchFamily="50" charset="-128"/>
                        </a:rPr>
                        <a:t>現在までの総利用者数 </a:t>
                      </a:r>
                    </a:p>
                    <a:p>
                      <a:pPr marL="285750" indent="-285750">
                        <a:buFont typeface="Arial" panose="020B0604020202020204" pitchFamily="34" charset="0"/>
                        <a:buChar char="•"/>
                      </a:pPr>
                      <a:r>
                        <a:rPr lang="ja-JP" altLang="en-US" sz="1400" dirty="0" smtClean="0">
                          <a:latin typeface="ＭＳ Ｐゴシック" panose="020B0600070205080204" pitchFamily="50" charset="-128"/>
                          <a:ea typeface="ＭＳ Ｐゴシック" panose="020B0600070205080204" pitchFamily="50" charset="-128"/>
                        </a:rPr>
                        <a:t>日次水使用量（リットル） </a:t>
                      </a:r>
                    </a:p>
                  </a:txBody>
                  <a:tcPr/>
                </a:tc>
              </a:tr>
              <a:tr h="370840">
                <a:tc>
                  <a:txBody>
                    <a:bodyPr/>
                    <a:lstStyle/>
                    <a:p>
                      <a:r>
                        <a:rPr lang="ja-JP" altLang="en-US" sz="1400" b="1" dirty="0" smtClean="0">
                          <a:latin typeface="ＭＳ Ｐゴシック" panose="020B0600070205080204" pitchFamily="50" charset="-128"/>
                          <a:ea typeface="ＭＳ Ｐゴシック" panose="020B0600070205080204" pitchFamily="50" charset="-128"/>
                        </a:rPr>
                        <a:t>土壌汚染</a:t>
                      </a:r>
                      <a:endParaRPr lang="en-US" altLang="ja-JP" sz="1400" b="1" dirty="0" smtClean="0">
                        <a:latin typeface="ＭＳ Ｐゴシック" panose="020B0600070205080204" pitchFamily="50" charset="-128"/>
                        <a:ea typeface="ＭＳ Ｐゴシック" panose="020B0600070205080204" pitchFamily="50" charset="-128"/>
                      </a:endParaRPr>
                    </a:p>
                    <a:p>
                      <a:r>
                        <a:rPr lang="ja-JP" altLang="en-US" sz="1400" b="0" i="1" dirty="0" smtClean="0">
                          <a:latin typeface="ＭＳ Ｐゴシック" panose="020B0600070205080204" pitchFamily="50" charset="-128"/>
                          <a:ea typeface="ＭＳ Ｐゴシック" panose="020B0600070205080204" pitchFamily="50" charset="-128"/>
                        </a:rPr>
                        <a:t>（</a:t>
                      </a:r>
                      <a:r>
                        <a:rPr lang="ja-JP" altLang="en-US" sz="1400" b="0" i="1" dirty="0" smtClean="0">
                          <a:solidFill>
                            <a:srgbClr val="FF0000"/>
                          </a:solidFill>
                          <a:latin typeface="ＭＳ Ｐゴシック" panose="020B0600070205080204" pitchFamily="50" charset="-128"/>
                          <a:ea typeface="ＭＳ Ｐゴシック" panose="020B0600070205080204" pitchFamily="50" charset="-128"/>
                        </a:rPr>
                        <a:t>未定</a:t>
                      </a:r>
                      <a:r>
                        <a:rPr lang="ja-JP" altLang="en-US" sz="1400" b="0" i="1" dirty="0" smtClean="0">
                          <a:latin typeface="ＭＳ Ｐゴシック" panose="020B0600070205080204" pitchFamily="50" charset="-128"/>
                          <a:ea typeface="ＭＳ Ｐゴシック" panose="020B0600070205080204" pitchFamily="50" charset="-128"/>
                        </a:rPr>
                        <a:t>。</a:t>
                      </a:r>
                      <a:r>
                        <a:rPr lang="en-US" altLang="ja-JP" sz="1400" b="0" i="1" dirty="0" smtClean="0">
                          <a:latin typeface="ＭＳ Ｐゴシック" panose="020B0600070205080204" pitchFamily="50" charset="-128"/>
                          <a:ea typeface="ＭＳ Ｐゴシック" panose="020B0600070205080204" pitchFamily="50" charset="-128"/>
                        </a:rPr>
                        <a:t>ECOSS</a:t>
                      </a:r>
                      <a:r>
                        <a:rPr lang="ja-JP" altLang="en-US" sz="1400" b="0" i="1" dirty="0" smtClean="0">
                          <a:latin typeface="ＭＳ Ｐゴシック" panose="020B0600070205080204" pitchFamily="50" charset="-128"/>
                          <a:ea typeface="ＭＳ Ｐゴシック" panose="020B0600070205080204" pitchFamily="50" charset="-128"/>
                        </a:rPr>
                        <a:t>によると、ニイミトレンチの環境上のメリットを数値化する必要がある。） </a:t>
                      </a:r>
                      <a:endParaRPr lang="en-US" sz="1400" dirty="0">
                        <a:latin typeface="ＭＳ Ｐゴシック" panose="020B0600070205080204" pitchFamily="50" charset="-128"/>
                        <a:ea typeface="ＭＳ Ｐゴシック" panose="020B0600070205080204" pitchFamily="50" charset="-128"/>
                      </a:endParaRPr>
                    </a:p>
                  </a:txBody>
                  <a:tcPr/>
                </a:tc>
                <a:tc>
                  <a:txBody>
                    <a:bodyPr/>
                    <a:lstStyle/>
                    <a:p>
                      <a:pPr marL="285750" indent="-285750">
                        <a:buFont typeface="Arial" panose="020B0604020202020204" pitchFamily="34" charset="0"/>
                        <a:buChar char="•"/>
                      </a:pPr>
                      <a:r>
                        <a:rPr lang="ja-JP" altLang="en-US" sz="1400" dirty="0" smtClean="0">
                          <a:latin typeface="ＭＳ Ｐゴシック" panose="020B0600070205080204" pitchFamily="50" charset="-128"/>
                          <a:ea typeface="ＭＳ Ｐゴシック" panose="020B0600070205080204" pitchFamily="50" charset="-128"/>
                        </a:rPr>
                        <a:t>未定</a:t>
                      </a:r>
                      <a:endParaRPr lang="en-US" sz="1400" dirty="0">
                        <a:latin typeface="ＭＳ Ｐゴシック" panose="020B0600070205080204" pitchFamily="50" charset="-128"/>
                        <a:ea typeface="ＭＳ Ｐゴシック" panose="020B0600070205080204" pitchFamily="50" charset="-128"/>
                      </a:endParaRPr>
                    </a:p>
                  </a:txBody>
                  <a:tcPr/>
                </a:tc>
              </a:tr>
              <a:tr h="370840">
                <a:tc>
                  <a:txBody>
                    <a:bodyPr/>
                    <a:lstStyle/>
                    <a:p>
                      <a:r>
                        <a:rPr lang="ja-JP" altLang="en-US" sz="1400" b="1" dirty="0" smtClean="0">
                          <a:latin typeface="ＭＳ Ｐゴシック" panose="020B0600070205080204" pitchFamily="50" charset="-128"/>
                          <a:ea typeface="ＭＳ Ｐゴシック" panose="020B0600070205080204" pitchFamily="50" charset="-128"/>
                        </a:rPr>
                        <a:t>認識 </a:t>
                      </a:r>
                      <a:endParaRPr lang="en-US" altLang="ja-JP" sz="1400" b="1" dirty="0" smtClean="0">
                        <a:latin typeface="ＭＳ Ｐゴシック" panose="020B0600070205080204" pitchFamily="50" charset="-128"/>
                        <a:ea typeface="ＭＳ Ｐゴシック" panose="020B0600070205080204" pitchFamily="50" charset="-128"/>
                      </a:endParaRPr>
                    </a:p>
                    <a:p>
                      <a:r>
                        <a:rPr lang="ja-JP" altLang="en-US" sz="1400" b="0" i="1" baseline="0" dirty="0" smtClean="0">
                          <a:latin typeface="ＭＳ Ｐゴシック" panose="020B0600070205080204" pitchFamily="50" charset="-128"/>
                          <a:ea typeface="ＭＳ Ｐゴシック" panose="020B0600070205080204" pitchFamily="50" charset="-128"/>
                        </a:rPr>
                        <a:t>利用者はニイミシステムの正しい使い方を認識しているか？ </a:t>
                      </a:r>
                    </a:p>
                    <a:p>
                      <a:r>
                        <a:rPr lang="ja-JP" altLang="en-US" sz="1400" b="0" i="1" baseline="0" dirty="0" smtClean="0">
                          <a:latin typeface="ＭＳ Ｐゴシック" panose="020B0600070205080204" pitchFamily="50" charset="-128"/>
                          <a:ea typeface="ＭＳ Ｐゴシック" panose="020B0600070205080204" pitchFamily="50" charset="-128"/>
                        </a:rPr>
                        <a:t>利用者はニイミシステムのメリットを認識しているか？ </a:t>
                      </a:r>
                    </a:p>
                  </a:txBody>
                  <a:tcPr/>
                </a:tc>
                <a:tc>
                  <a:txBody>
                    <a:bodyPr/>
                    <a:lstStyle/>
                    <a:p>
                      <a:pPr marL="0" indent="0">
                        <a:buFont typeface="Arial" panose="020B0604020202020204" pitchFamily="34" charset="0"/>
                        <a:buNone/>
                      </a:pPr>
                      <a:r>
                        <a:rPr lang="ja-JP" altLang="en-US" sz="1400" i="1" dirty="0" smtClean="0">
                          <a:latin typeface="ＭＳ Ｐゴシック" panose="020B0600070205080204" pitchFamily="50" charset="-128"/>
                          <a:ea typeface="ＭＳ Ｐゴシック" panose="020B0600070205080204" pitchFamily="50" charset="-128"/>
                        </a:rPr>
                        <a:t>ホームスティ </a:t>
                      </a:r>
                      <a:endParaRPr lang="en-US" altLang="ja-JP" sz="1400" i="1" dirty="0" smtClean="0">
                        <a:latin typeface="ＭＳ Ｐゴシック" panose="020B0600070205080204" pitchFamily="50" charset="-128"/>
                        <a:ea typeface="ＭＳ Ｐゴシック" panose="020B0600070205080204" pitchFamily="50" charset="-128"/>
                      </a:endParaRPr>
                    </a:p>
                    <a:p>
                      <a:pPr marL="285750" indent="-285750">
                        <a:buFont typeface="Arial" panose="020B0604020202020204" pitchFamily="34" charset="0"/>
                        <a:buChar char="•"/>
                      </a:pPr>
                      <a:r>
                        <a:rPr lang="ja-JP" altLang="en-US" sz="1400" kern="1200" dirty="0" smtClean="0">
                          <a:solidFill>
                            <a:schemeClr val="dk1"/>
                          </a:solidFill>
                          <a:latin typeface="ＭＳ Ｐゴシック" panose="020B0600070205080204" pitchFamily="50" charset="-128"/>
                          <a:ea typeface="ＭＳ Ｐゴシック" panose="020B0600070205080204" pitchFamily="50" charset="-128"/>
                          <a:cs typeface="+mn-cs"/>
                        </a:rPr>
                        <a:t>利用者はニイミシステムの使い方を認識しているか？ </a:t>
                      </a:r>
                      <a:endParaRPr lang="en-US" altLang="ja-JP" sz="1400" kern="1200" dirty="0" smtClean="0">
                        <a:solidFill>
                          <a:schemeClr val="dk1"/>
                        </a:solidFill>
                        <a:latin typeface="ＭＳ Ｐゴシック" panose="020B0600070205080204" pitchFamily="50" charset="-128"/>
                        <a:ea typeface="ＭＳ Ｐゴシック" panose="020B0600070205080204" pitchFamily="50" charset="-128"/>
                        <a:cs typeface="+mn-cs"/>
                      </a:endParaRPr>
                    </a:p>
                    <a:p>
                      <a:pPr marL="285750" indent="-285750">
                        <a:buFont typeface="Arial" panose="020B0604020202020204" pitchFamily="34" charset="0"/>
                        <a:buChar char="•"/>
                      </a:pPr>
                      <a:r>
                        <a:rPr lang="en-US" altLang="ja-JP" sz="1400" dirty="0" smtClean="0">
                          <a:latin typeface="ＭＳ Ｐゴシック" panose="020B0600070205080204" pitchFamily="50" charset="-128"/>
                          <a:ea typeface="ＭＳ Ｐゴシック" panose="020B0600070205080204" pitchFamily="50" charset="-128"/>
                        </a:rPr>
                        <a:t> </a:t>
                      </a:r>
                      <a:r>
                        <a:rPr lang="ja-JP" altLang="en-US" sz="1400" dirty="0" smtClean="0">
                          <a:latin typeface="ＭＳ Ｐゴシック" panose="020B0600070205080204" pitchFamily="50" charset="-128"/>
                          <a:ea typeface="ＭＳ Ｐゴシック" panose="020B0600070205080204" pitchFamily="50" charset="-128"/>
                        </a:rPr>
                        <a:t>どの認識測定を用いたか？</a:t>
                      </a:r>
                      <a:r>
                        <a:rPr lang="en-US" altLang="ja-JP" sz="1400" baseline="0" dirty="0" smtClean="0"/>
                        <a:t>*</a:t>
                      </a:r>
                      <a:endParaRPr lang="en-US" sz="1400" dirty="0" smtClean="0">
                        <a:latin typeface="ＭＳ Ｐゴシック" panose="020B0600070205080204" pitchFamily="50" charset="-128"/>
                        <a:ea typeface="ＭＳ Ｐゴシック" panose="020B0600070205080204" pitchFamily="50" charset="-128"/>
                      </a:endParaRPr>
                    </a:p>
                    <a:p>
                      <a:pPr marL="0" indent="0">
                        <a:buFont typeface="Arial" panose="020B0604020202020204" pitchFamily="34" charset="0"/>
                        <a:buNone/>
                      </a:pPr>
                      <a:endParaRPr lang="en-US" sz="1400" dirty="0" smtClean="0">
                        <a:latin typeface="ＭＳ Ｐゴシック" panose="020B0600070205080204" pitchFamily="50" charset="-128"/>
                        <a:ea typeface="ＭＳ Ｐゴシック" panose="020B0600070205080204" pitchFamily="50" charset="-128"/>
                      </a:endParaRPr>
                    </a:p>
                    <a:p>
                      <a:pPr marL="0" indent="0">
                        <a:buFont typeface="Arial" panose="020B0604020202020204" pitchFamily="34" charset="0"/>
                        <a:buNone/>
                      </a:pPr>
                      <a:r>
                        <a:rPr lang="ja-JP" altLang="en-US" sz="1400" i="1" dirty="0" smtClean="0">
                          <a:latin typeface="ＭＳ Ｐゴシック" panose="020B0600070205080204" pitchFamily="50" charset="-128"/>
                          <a:ea typeface="ＭＳ Ｐゴシック" panose="020B0600070205080204" pitchFamily="50" charset="-128"/>
                        </a:rPr>
                        <a:t>学校</a:t>
                      </a:r>
                      <a:endParaRPr lang="en-US" altLang="ja-JP" sz="1400" i="1" dirty="0" smtClean="0">
                        <a:latin typeface="ＭＳ Ｐゴシック" panose="020B0600070205080204" pitchFamily="50" charset="-128"/>
                        <a:ea typeface="ＭＳ Ｐゴシック" panose="020B0600070205080204" pitchFamily="50" charset="-128"/>
                      </a:endParaRPr>
                    </a:p>
                    <a:p>
                      <a:pPr marL="285750" indent="-285750">
                        <a:buFont typeface="Arial" panose="020B0604020202020204" pitchFamily="34" charset="0"/>
                        <a:buChar char="•"/>
                      </a:pPr>
                      <a:r>
                        <a:rPr lang="ja-JP" altLang="en-US" sz="1400" dirty="0" smtClean="0">
                          <a:latin typeface="ＭＳ Ｐゴシック" panose="020B0600070205080204" pitchFamily="50" charset="-128"/>
                          <a:ea typeface="ＭＳ Ｐゴシック" panose="020B0600070205080204" pitchFamily="50" charset="-128"/>
                        </a:rPr>
                        <a:t>現在までにセミナー／認識セッションを何回開催したか？（一般的な下水処理とニイミシステムの両方に焦点を当てたものが考えられる）</a:t>
                      </a:r>
                    </a:p>
                    <a:p>
                      <a:pPr marL="285750" indent="-285750">
                        <a:buFont typeface="Arial" panose="020B0604020202020204" pitchFamily="34" charset="0"/>
                        <a:buChar char="•"/>
                      </a:pPr>
                      <a:r>
                        <a:rPr lang="ja-JP" altLang="en-US" sz="1400" dirty="0" smtClean="0">
                          <a:latin typeface="ＭＳ Ｐゴシック" panose="020B0600070205080204" pitchFamily="50" charset="-128"/>
                          <a:ea typeface="ＭＳ Ｐゴシック" panose="020B0600070205080204" pitchFamily="50" charset="-128"/>
                        </a:rPr>
                        <a:t> 出席した児童の数は？</a:t>
                      </a:r>
                      <a:endParaRPr lang="en-US" sz="1400" dirty="0" smtClean="0">
                        <a:latin typeface="ＭＳ Ｐゴシック" panose="020B0600070205080204" pitchFamily="50" charset="-128"/>
                        <a:ea typeface="ＭＳ Ｐゴシック" panose="020B0600070205080204" pitchFamily="50" charset="-128"/>
                      </a:endParaRPr>
                    </a:p>
                  </a:txBody>
                  <a:tcPr/>
                </a:tc>
              </a:tr>
              <a:tr h="370840">
                <a:tc>
                  <a:txBody>
                    <a:bodyPr/>
                    <a:lstStyle/>
                    <a:p>
                      <a:r>
                        <a:rPr lang="ja-JP" altLang="en-US" sz="1400" b="1" dirty="0" smtClean="0">
                          <a:latin typeface="ＭＳ Ｐゴシック" panose="020B0600070205080204" pitchFamily="50" charset="-128"/>
                          <a:ea typeface="ＭＳ Ｐゴシック" panose="020B0600070205080204" pitchFamily="50" charset="-128"/>
                        </a:rPr>
                        <a:t>論点と問題 </a:t>
                      </a:r>
                      <a:endParaRPr lang="en-US" altLang="ja-JP" sz="1400" b="1" dirty="0" smtClean="0">
                        <a:latin typeface="ＭＳ Ｐゴシック" panose="020B0600070205080204" pitchFamily="50" charset="-128"/>
                        <a:ea typeface="ＭＳ Ｐゴシック" panose="020B0600070205080204" pitchFamily="50" charset="-128"/>
                      </a:endParaRPr>
                    </a:p>
                    <a:p>
                      <a:r>
                        <a:rPr lang="ja-JP" altLang="en-US" sz="1400" b="0" i="1" dirty="0" smtClean="0">
                          <a:latin typeface="ＭＳ Ｐゴシック" panose="020B0600070205080204" pitchFamily="50" charset="-128"/>
                          <a:ea typeface="ＭＳ Ｐゴシック" panose="020B0600070205080204" pitchFamily="50" charset="-128"/>
                        </a:rPr>
                        <a:t>ニイミシステムの維持作業を行った場合、どのような内容だったか？</a:t>
                      </a:r>
                      <a:endParaRPr lang="en-US" sz="1400" b="0" i="1" dirty="0" smtClean="0">
                        <a:latin typeface="ＭＳ Ｐゴシック" panose="020B0600070205080204" pitchFamily="50" charset="-128"/>
                        <a:ea typeface="ＭＳ Ｐゴシック" panose="020B0600070205080204" pitchFamily="50" charset="-128"/>
                      </a:endParaRPr>
                    </a:p>
                  </a:txBody>
                  <a:tcPr/>
                </a:tc>
                <a:tc>
                  <a:txBody>
                    <a:bodyPr/>
                    <a:lstStyle/>
                    <a:p>
                      <a:pPr marL="285750" indent="-285750">
                        <a:buFont typeface="Arial" panose="020B0604020202020204" pitchFamily="34" charset="0"/>
                        <a:buChar char="•"/>
                      </a:pPr>
                      <a:r>
                        <a:rPr lang="ja-JP" altLang="en-US" sz="1400" dirty="0" smtClean="0">
                          <a:latin typeface="ＭＳ Ｐゴシック" panose="020B0600070205080204" pitchFamily="50" charset="-128"/>
                          <a:ea typeface="ＭＳ Ｐゴシック" panose="020B0600070205080204" pitchFamily="50" charset="-128"/>
                        </a:rPr>
                        <a:t>トイレは何日間使えなかったか？</a:t>
                      </a:r>
                    </a:p>
                    <a:p>
                      <a:pPr marL="285750" indent="-285750">
                        <a:buFont typeface="Arial" panose="020B0604020202020204" pitchFamily="34" charset="0"/>
                        <a:buChar char="•"/>
                      </a:pPr>
                      <a:r>
                        <a:rPr lang="ja-JP" altLang="en-US" sz="1400" dirty="0" smtClean="0">
                          <a:latin typeface="ＭＳ Ｐゴシック" panose="020B0600070205080204" pitchFamily="50" charset="-128"/>
                          <a:ea typeface="ＭＳ Ｐゴシック" panose="020B0600070205080204" pitchFamily="50" charset="-128"/>
                        </a:rPr>
                        <a:t>ニイミシステムが直面する論点／課題は何か？</a:t>
                      </a:r>
                      <a:r>
                        <a:rPr lang="en-US" altLang="ja-JP" sz="1400" baseline="0" dirty="0" smtClean="0"/>
                        <a:t>*</a:t>
                      </a:r>
                      <a:r>
                        <a:rPr lang="ja-JP" altLang="en-US" sz="1400" dirty="0" smtClean="0">
                          <a:latin typeface="ＭＳ Ｐゴシック" panose="020B0600070205080204" pitchFamily="50" charset="-128"/>
                          <a:ea typeface="ＭＳ Ｐゴシック" panose="020B0600070205080204" pitchFamily="50" charset="-128"/>
                        </a:rPr>
                        <a:t> </a:t>
                      </a:r>
                    </a:p>
                  </a:txBody>
                  <a:tcPr/>
                </a:tc>
              </a:tr>
            </a:tbl>
          </a:graphicData>
        </a:graphic>
      </p:graphicFrame>
    </p:spTree>
    <p:extLst>
      <p:ext uri="{BB962C8B-B14F-4D97-AF65-F5344CB8AC3E}">
        <p14:creationId xmlns:p14="http://schemas.microsoft.com/office/powerpoint/2010/main" val="312480223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8" name="Rectangle 7"/>
          <p:cNvSpPr>
            <a:spLocks noChangeArrowheads="1"/>
          </p:cNvSpPr>
          <p:nvPr>
            <p:custDataLst>
              <p:tags r:id="rId1"/>
            </p:custDataLst>
          </p:nvPr>
        </p:nvSpPr>
        <p:spPr bwMode="auto">
          <a:xfrm>
            <a:off x="0" y="2893577"/>
            <a:ext cx="9144000" cy="901968"/>
          </a:xfrm>
          <a:prstGeom prst="rect">
            <a:avLst/>
          </a:prstGeom>
          <a:solidFill>
            <a:srgbClr val="67103F"/>
          </a:solidFill>
          <a:ln w="12700" algn="ctr">
            <a:noFill/>
            <a:miter lim="800000"/>
            <a:headEnd/>
            <a:tailEnd/>
          </a:ln>
        </p:spPr>
        <p:txBody>
          <a:bodyPr lIns="77893" tIns="38947" rIns="77893" bIns="38947" anchor="ctr"/>
          <a:lstStyle/>
          <a:p>
            <a:pPr marL="97389" defTabSz="779842"/>
            <a:r>
              <a:rPr lang="ja-JP" altLang="en-US" sz="1600" b="1" dirty="0">
                <a:solidFill>
                  <a:schemeClr val="bg1"/>
                </a:solidFill>
                <a:latin typeface="ＭＳ Ｐゴシック" panose="020B0600070205080204" pitchFamily="50" charset="-128"/>
                <a:ea typeface="ＭＳ Ｐゴシック" panose="020B0600070205080204" pitchFamily="50" charset="-128"/>
              </a:rPr>
              <a:t>付録 </a:t>
            </a:r>
            <a:r>
              <a:rPr lang="en-US" altLang="ja-JP" sz="1600" b="1" dirty="0">
                <a:solidFill>
                  <a:schemeClr val="bg1"/>
                </a:solidFill>
                <a:latin typeface="ＭＳ Ｐゴシック" panose="020B0600070205080204" pitchFamily="50" charset="-128"/>
                <a:ea typeface="ＭＳ Ｐゴシック" panose="020B0600070205080204" pitchFamily="50" charset="-128"/>
              </a:rPr>
              <a:t>3</a:t>
            </a:r>
            <a:r>
              <a:rPr lang="ja-JP" altLang="en-US" sz="1600" b="1" dirty="0">
                <a:solidFill>
                  <a:schemeClr val="bg1"/>
                </a:solidFill>
                <a:latin typeface="ＭＳ Ｐゴシック" panose="020B0600070205080204" pitchFamily="50" charset="-128"/>
                <a:ea typeface="ＭＳ Ｐゴシック" panose="020B0600070205080204" pitchFamily="50" charset="-128"/>
              </a:rPr>
              <a:t>：</a:t>
            </a:r>
            <a:r>
              <a:rPr lang="ja-JP" altLang="en-US" sz="1600" b="1" dirty="0" smtClean="0">
                <a:solidFill>
                  <a:schemeClr val="bg1"/>
                </a:solidFill>
                <a:latin typeface="ＭＳ Ｐゴシック" panose="020B0600070205080204" pitchFamily="50" charset="-128"/>
                <a:ea typeface="ＭＳ Ｐゴシック" panose="020B0600070205080204" pitchFamily="50" charset="-128"/>
              </a:rPr>
              <a:t>インドにおける下水処理事業</a:t>
            </a:r>
            <a:r>
              <a:rPr lang="ja-JP" altLang="en-US" sz="1600" b="1" dirty="0">
                <a:solidFill>
                  <a:schemeClr val="bg1"/>
                </a:solidFill>
                <a:latin typeface="ＭＳ Ｐゴシック" panose="020B0600070205080204" pitchFamily="50" charset="-128"/>
                <a:ea typeface="ＭＳ Ｐゴシック" panose="020B0600070205080204" pitchFamily="50" charset="-128"/>
              </a:rPr>
              <a:t>の</a:t>
            </a:r>
            <a:r>
              <a:rPr lang="ja-JP" altLang="en-US" sz="1600" b="1" dirty="0" smtClean="0">
                <a:solidFill>
                  <a:schemeClr val="bg1"/>
                </a:solidFill>
                <a:latin typeface="ＭＳ Ｐゴシック" panose="020B0600070205080204" pitchFamily="50" charset="-128"/>
                <a:ea typeface="ＭＳ Ｐゴシック" panose="020B0600070205080204" pitchFamily="50" charset="-128"/>
              </a:rPr>
              <a:t>財源に関する分析</a:t>
            </a:r>
            <a:endParaRPr lang="en-GB" sz="1600" i="1" dirty="0">
              <a:solidFill>
                <a:schemeClr val="bg1"/>
              </a:solidFill>
              <a:latin typeface="ＭＳ Ｐゴシック" panose="020B0600070205080204" pitchFamily="50" charset="-128"/>
              <a:ea typeface="ＭＳ Ｐゴシック" panose="020B0600070205080204" pitchFamily="50" charset="-128"/>
            </a:endParaRPr>
          </a:p>
        </p:txBody>
      </p:sp>
      <p:sp>
        <p:nvSpPr>
          <p:cNvPr id="9" name="Rectangle 8"/>
          <p:cNvSpPr>
            <a:spLocks noChangeArrowheads="1"/>
          </p:cNvSpPr>
          <p:nvPr>
            <p:custDataLst>
              <p:tags r:id="rId2"/>
            </p:custDataLst>
          </p:nvPr>
        </p:nvSpPr>
        <p:spPr bwMode="auto">
          <a:xfrm>
            <a:off x="0" y="0"/>
            <a:ext cx="9144000" cy="1076446"/>
          </a:xfrm>
          <a:prstGeom prst="rect">
            <a:avLst/>
          </a:prstGeom>
          <a:solidFill>
            <a:schemeClr val="bg1"/>
          </a:solidFill>
          <a:ln w="12700" algn="ctr">
            <a:noFill/>
            <a:miter lim="800000"/>
            <a:headEnd/>
            <a:tailEnd/>
          </a:ln>
        </p:spPr>
        <p:txBody>
          <a:bodyPr lIns="77893" tIns="38947" rIns="77893" bIns="38947" anchor="ctr"/>
          <a:lstStyle/>
          <a:p>
            <a:pPr marL="97389" defTabSz="779842"/>
            <a:endParaRPr lang="en-GB" sz="1600" i="1" dirty="0">
              <a:solidFill>
                <a:schemeClr val="bg1"/>
              </a:solidFill>
              <a:latin typeface="Calibri" pitchFamily="34" charset="0"/>
            </a:endParaRPr>
          </a:p>
        </p:txBody>
      </p:sp>
    </p:spTree>
    <p:extLst>
      <p:ext uri="{BB962C8B-B14F-4D97-AF65-F5344CB8AC3E}">
        <p14:creationId xmlns:p14="http://schemas.microsoft.com/office/powerpoint/2010/main" val="969476212"/>
      </p:ext>
    </p:extLst>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879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381000" y="134471"/>
            <a:ext cx="8347364" cy="609600"/>
          </a:xfrm>
        </p:spPr>
        <p:txBody>
          <a:bodyPr/>
          <a:lstStyle/>
          <a:p>
            <a:r>
              <a:rPr lang="ja-JP" altLang="ja-JP" dirty="0">
                <a:latin typeface="ＭＳ Ｐゴシック" panose="020B0600070205080204" pitchFamily="50" charset="-128"/>
                <a:ea typeface="ＭＳ Ｐゴシック" panose="020B0600070205080204" pitchFamily="50" charset="-128"/>
              </a:rPr>
              <a:t>中央政府・州政府</a:t>
            </a:r>
            <a:r>
              <a:rPr lang="ja-JP" altLang="ja-JP" dirty="0" smtClean="0">
                <a:latin typeface="ＭＳ Ｐゴシック" panose="020B0600070205080204" pitchFamily="50" charset="-128"/>
                <a:ea typeface="ＭＳ Ｐゴシック" panose="020B0600070205080204" pitchFamily="50" charset="-128"/>
              </a:rPr>
              <a:t>の</a:t>
            </a:r>
            <a:r>
              <a:rPr lang="ja-JP" altLang="en-US" dirty="0" smtClean="0">
                <a:latin typeface="ＭＳ Ｐゴシック" panose="020B0600070205080204" pitchFamily="50" charset="-128"/>
                <a:ea typeface="ＭＳ Ｐゴシック" panose="020B0600070205080204" pitchFamily="50" charset="-128"/>
              </a:rPr>
              <a:t>スキーム</a:t>
            </a:r>
            <a:r>
              <a:rPr lang="ja-JP" altLang="ja-JP" dirty="0" smtClean="0">
                <a:latin typeface="ＭＳ Ｐゴシック" panose="020B0600070205080204" pitchFamily="50" charset="-128"/>
                <a:ea typeface="ＭＳ Ｐゴシック" panose="020B0600070205080204" pitchFamily="50" charset="-128"/>
              </a:rPr>
              <a:t>は</a:t>
            </a:r>
            <a:r>
              <a:rPr lang="ja-JP" altLang="en-US" dirty="0" smtClean="0">
                <a:latin typeface="ＭＳ Ｐゴシック" panose="020B0600070205080204" pitchFamily="50" charset="-128"/>
                <a:ea typeface="ＭＳ Ｐゴシック" panose="020B0600070205080204" pitchFamily="50" charset="-128"/>
              </a:rPr>
              <a:t>、小</a:t>
            </a:r>
            <a:r>
              <a:rPr lang="ja-JP" altLang="ja-JP" dirty="0" smtClean="0">
                <a:latin typeface="ＭＳ Ｐゴシック" panose="020B0600070205080204" pitchFamily="50" charset="-128"/>
                <a:ea typeface="ＭＳ Ｐゴシック" panose="020B0600070205080204" pitchFamily="50" charset="-128"/>
              </a:rPr>
              <a:t>都市</a:t>
            </a:r>
            <a:r>
              <a:rPr lang="ja-JP" altLang="ja-JP" dirty="0">
                <a:latin typeface="ＭＳ Ｐゴシック" panose="020B0600070205080204" pitchFamily="50" charset="-128"/>
                <a:ea typeface="ＭＳ Ｐゴシック" panose="020B0600070205080204" pitchFamily="50" charset="-128"/>
              </a:rPr>
              <a:t>を</a:t>
            </a:r>
            <a:r>
              <a:rPr lang="ja-JP" altLang="ja-JP" dirty="0" smtClean="0">
                <a:latin typeface="ＭＳ Ｐゴシック" panose="020B0600070205080204" pitchFamily="50" charset="-128"/>
                <a:ea typeface="ＭＳ Ｐゴシック" panose="020B0600070205080204" pitchFamily="50" charset="-128"/>
              </a:rPr>
              <a:t>対象</a:t>
            </a:r>
            <a:r>
              <a:rPr lang="ja-JP" altLang="en-US" dirty="0" smtClean="0">
                <a:latin typeface="ＭＳ Ｐゴシック" panose="020B0600070205080204" pitchFamily="50" charset="-128"/>
                <a:ea typeface="ＭＳ Ｐゴシック" panose="020B0600070205080204" pitchFamily="50" charset="-128"/>
              </a:rPr>
              <a:t>として、</a:t>
            </a:r>
            <a:r>
              <a:rPr lang="ja-JP" altLang="ja-JP" dirty="0" smtClean="0">
                <a:latin typeface="ＭＳ Ｐゴシック" panose="020B0600070205080204" pitchFamily="50" charset="-128"/>
                <a:ea typeface="ＭＳ Ｐゴシック" panose="020B0600070205080204" pitchFamily="50" charset="-128"/>
              </a:rPr>
              <a:t>価値</a:t>
            </a:r>
            <a:r>
              <a:rPr lang="ja-JP" altLang="ja-JP" dirty="0">
                <a:latin typeface="ＭＳ Ｐゴシック" panose="020B0600070205080204" pitchFamily="50" charset="-128"/>
                <a:ea typeface="ＭＳ Ｐゴシック" panose="020B0600070205080204" pitchFamily="50" charset="-128"/>
              </a:rPr>
              <a:t>連鎖を利用した下水設備</a:t>
            </a:r>
            <a:r>
              <a:rPr lang="ja-JP" altLang="ja-JP" dirty="0" smtClean="0">
                <a:latin typeface="ＭＳ Ｐゴシック" panose="020B0600070205080204" pitchFamily="50" charset="-128"/>
                <a:ea typeface="ＭＳ Ｐゴシック" panose="020B0600070205080204" pitchFamily="50" charset="-128"/>
              </a:rPr>
              <a:t>インフラ</a:t>
            </a:r>
            <a:r>
              <a:rPr lang="ja-JP" altLang="en-US" dirty="0">
                <a:latin typeface="ＭＳ Ｐゴシック" panose="020B0600070205080204" pitchFamily="50" charset="-128"/>
                <a:ea typeface="ＭＳ Ｐゴシック" panose="020B0600070205080204" pitchFamily="50" charset="-128"/>
              </a:rPr>
              <a:t>の</a:t>
            </a:r>
            <a:r>
              <a:rPr lang="ja-JP" altLang="ja-JP" dirty="0" smtClean="0">
                <a:latin typeface="ＭＳ Ｐゴシック" panose="020B0600070205080204" pitchFamily="50" charset="-128"/>
                <a:ea typeface="ＭＳ Ｐゴシック" panose="020B0600070205080204" pitchFamily="50" charset="-128"/>
              </a:rPr>
              <a:t>提供</a:t>
            </a:r>
            <a:r>
              <a:rPr lang="ja-JP" altLang="ja-JP" dirty="0">
                <a:latin typeface="ＭＳ Ｐゴシック" panose="020B0600070205080204" pitchFamily="50" charset="-128"/>
                <a:ea typeface="ＭＳ Ｐゴシック" panose="020B0600070205080204" pitchFamily="50" charset="-128"/>
              </a:rPr>
              <a:t>を目指している</a:t>
            </a:r>
          </a:p>
        </p:txBody>
      </p:sp>
      <p:sp>
        <p:nvSpPr>
          <p:cNvPr id="3" name="Text Placeholder 2"/>
          <p:cNvSpPr>
            <a:spLocks noGrp="1"/>
          </p:cNvSpPr>
          <p:nvPr>
            <p:ph type="body" sz="quarter" idx="37"/>
          </p:nvPr>
        </p:nvSpPr>
        <p:spPr/>
        <p:txBody>
          <a:bodyPr/>
          <a:lstStyle/>
          <a:p>
            <a:r>
              <a:rPr lang="ja-JP" altLang="en-US" dirty="0" smtClean="0">
                <a:latin typeface="Arial" panose="020B0604020202020204" pitchFamily="34" charset="0"/>
                <a:ea typeface="ＭＳ Ｐゴシック" panose="020B0600070205080204" pitchFamily="50" charset="-128"/>
                <a:cs typeface="Arial" panose="020B0604020202020204" pitchFamily="34" charset="0"/>
              </a:rPr>
              <a:t>出典：</a:t>
            </a:r>
            <a:r>
              <a:rPr lang="en-US" dirty="0" smtClean="0">
                <a:latin typeface="Arial" panose="020B0604020202020204" pitchFamily="34" charset="0"/>
                <a:ea typeface="ＭＳ Ｐゴシック" panose="020B0600070205080204" pitchFamily="50" charset="-128"/>
                <a:cs typeface="Arial" panose="020B0604020202020204" pitchFamily="34" charset="0"/>
              </a:rPr>
              <a:t>Dalberg analysis</a:t>
            </a:r>
            <a:endParaRPr 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TextBox 43"/>
          <p:cNvSpPr txBox="1"/>
          <p:nvPr/>
        </p:nvSpPr>
        <p:spPr>
          <a:xfrm>
            <a:off x="6876256" y="1124744"/>
            <a:ext cx="1620000" cy="198446"/>
          </a:xfrm>
          <a:prstGeom prst="rect">
            <a:avLst/>
          </a:prstGeom>
          <a:noFill/>
        </p:spPr>
        <p:txBody>
          <a:bodyPr wrap="square" lIns="0" tIns="0" rIns="0" bIns="0" rtlCol="0">
            <a:noAutofit/>
          </a:bodyPr>
          <a:lstStyle/>
          <a:p>
            <a:pPr marL="231775" indent="-231775"/>
            <a:r>
              <a:rPr lang="ja-JP" altLang="en-US" sz="1100" b="1" dirty="0" smtClean="0">
                <a:solidFill>
                  <a:srgbClr val="000000"/>
                </a:solidFill>
              </a:rPr>
              <a:t>投資の概要</a:t>
            </a:r>
            <a:endParaRPr lang="en-US" sz="1100" b="1" dirty="0" smtClean="0">
              <a:solidFill>
                <a:srgbClr val="000000"/>
              </a:solidFill>
            </a:endParaRPr>
          </a:p>
        </p:txBody>
      </p:sp>
      <p:sp>
        <p:nvSpPr>
          <p:cNvPr id="46" name="Rectangle 45"/>
          <p:cNvSpPr/>
          <p:nvPr/>
        </p:nvSpPr>
        <p:spPr>
          <a:xfrm>
            <a:off x="6876256" y="2029393"/>
            <a:ext cx="2016224" cy="448056"/>
          </a:xfrm>
          <a:prstGeom prst="rect">
            <a:avLst/>
          </a:prstGeom>
          <a:no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tIns="0" rIns="0" rtlCol="0" anchor="t" anchorCtr="0"/>
          <a:lstStyle/>
          <a:p>
            <a:r>
              <a:rPr lang="en-US" sz="1000" b="1" dirty="0" smtClean="0">
                <a:solidFill>
                  <a:srgbClr val="000000"/>
                </a:solidFill>
                <a:latin typeface="Arial" panose="020B0604020202020204" pitchFamily="34" charset="0"/>
                <a:ea typeface="ＭＳ Ｐゴシック" panose="020B0600070205080204" pitchFamily="50" charset="-128"/>
                <a:cs typeface="Arial" panose="020B0604020202020204" pitchFamily="34" charset="0"/>
              </a:rPr>
              <a:t>HUDCO</a:t>
            </a:r>
            <a:r>
              <a:rPr lang="ja-JP" altLang="en-US" sz="1000" b="1" dirty="0" smtClean="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sz="1000" b="1" dirty="0" smtClean="0">
                <a:solidFill>
                  <a:srgbClr val="000000"/>
                </a:solidFill>
                <a:latin typeface="Arial" panose="020B0604020202020204" pitchFamily="34" charset="0"/>
                <a:ea typeface="ＭＳ Ｐゴシック" panose="020B0600070205080204" pitchFamily="50" charset="-128"/>
                <a:cs typeface="Arial" panose="020B0604020202020204" pitchFamily="34" charset="0"/>
              </a:rPr>
              <a:t>ILCS (1)</a:t>
            </a:r>
          </a:p>
          <a:p>
            <a:r>
              <a:rPr lang="en-US" sz="1000" b="1" dirty="0" smtClean="0">
                <a:solidFill>
                  <a:srgbClr val="000000"/>
                </a:solidFill>
                <a:latin typeface="Arial" panose="020B0604020202020204" pitchFamily="34" charset="0"/>
                <a:ea typeface="ＭＳ Ｐゴシック" panose="020B0600070205080204" pitchFamily="50" charset="-128"/>
                <a:cs typeface="Arial" panose="020B0604020202020204" pitchFamily="34" charset="0"/>
              </a:rPr>
              <a:t>Maharashtra Sujal Nirmal Abhiyan</a:t>
            </a:r>
            <a:r>
              <a:rPr lang="ja-JP" altLang="en-US" sz="1000" b="1" dirty="0" smtClean="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sz="1000" b="1" dirty="0" smtClean="0">
                <a:solidFill>
                  <a:srgbClr val="000000"/>
                </a:solidFill>
                <a:latin typeface="Arial" panose="020B0604020202020204" pitchFamily="34" charset="0"/>
                <a:ea typeface="ＭＳ Ｐゴシック" panose="020B0600070205080204" pitchFamily="50" charset="-128"/>
                <a:cs typeface="Arial" panose="020B0604020202020204" pitchFamily="34" charset="0"/>
              </a:rPr>
              <a:t>JnNURM</a:t>
            </a:r>
            <a:r>
              <a:rPr lang="ja-JP" altLang="en-US" sz="1000" b="1" dirty="0" smtClean="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sz="1000" b="1" dirty="0" smtClean="0">
                <a:solidFill>
                  <a:srgbClr val="000000"/>
                </a:solidFill>
                <a:latin typeface="Arial" panose="020B0604020202020204" pitchFamily="34" charset="0"/>
                <a:ea typeface="ＭＳ Ｐゴシック" panose="020B0600070205080204" pitchFamily="50" charset="-128"/>
                <a:cs typeface="Arial" panose="020B0604020202020204" pitchFamily="34" charset="0"/>
              </a:rPr>
              <a:t>BSUP</a:t>
            </a:r>
            <a:r>
              <a:rPr lang="ja-JP" altLang="en-US" sz="1000" b="1" dirty="0" smtClean="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sz="1000" b="1" dirty="0" smtClean="0">
                <a:solidFill>
                  <a:srgbClr val="000000"/>
                </a:solidFill>
                <a:latin typeface="Arial" panose="020B0604020202020204" pitchFamily="34" charset="0"/>
                <a:ea typeface="ＭＳ Ｐゴシック" panose="020B0600070205080204" pitchFamily="50" charset="-128"/>
                <a:cs typeface="Arial" panose="020B0604020202020204" pitchFamily="34" charset="0"/>
              </a:rPr>
              <a:t>UIDSSMT (5)</a:t>
            </a:r>
          </a:p>
        </p:txBody>
      </p:sp>
      <p:sp>
        <p:nvSpPr>
          <p:cNvPr id="50" name="TextBox 49"/>
          <p:cNvSpPr txBox="1"/>
          <p:nvPr/>
        </p:nvSpPr>
        <p:spPr>
          <a:xfrm>
            <a:off x="380648" y="1124744"/>
            <a:ext cx="6281795" cy="224028"/>
          </a:xfrm>
          <a:prstGeom prst="rect">
            <a:avLst/>
          </a:prstGeom>
          <a:noFill/>
        </p:spPr>
        <p:txBody>
          <a:bodyPr wrap="square" lIns="0" tIns="0" rIns="0" bIns="0" rtlCol="0">
            <a:noAutofit/>
          </a:bodyPr>
          <a:lstStyle/>
          <a:p>
            <a:pPr marL="231775" indent="-231775"/>
            <a:r>
              <a:rPr lang="ja-JP" altLang="en-US" sz="1100" b="1" dirty="0" smtClean="0">
                <a:solidFill>
                  <a:srgbClr val="000000"/>
                </a:solidFill>
              </a:rPr>
              <a:t>ビジネスチャンスの概要</a:t>
            </a:r>
            <a:endParaRPr lang="en-US" sz="1100" b="1" dirty="0" smtClean="0">
              <a:solidFill>
                <a:srgbClr val="000000"/>
              </a:solidFill>
            </a:endParaRPr>
          </a:p>
        </p:txBody>
      </p:sp>
      <p:cxnSp>
        <p:nvCxnSpPr>
          <p:cNvPr id="51" name="Straight Connector 50"/>
          <p:cNvCxnSpPr/>
          <p:nvPr/>
        </p:nvCxnSpPr>
        <p:spPr>
          <a:xfrm>
            <a:off x="380649" y="1353344"/>
            <a:ext cx="621792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5334000" y="899754"/>
            <a:ext cx="228600" cy="1524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6" name="TextBox 55"/>
          <p:cNvSpPr txBox="1"/>
          <p:nvPr/>
        </p:nvSpPr>
        <p:spPr>
          <a:xfrm>
            <a:off x="5638800" y="883920"/>
            <a:ext cx="1686276" cy="182880"/>
          </a:xfrm>
          <a:prstGeom prst="rect">
            <a:avLst/>
          </a:prstGeom>
          <a:noFill/>
        </p:spPr>
        <p:txBody>
          <a:bodyPr wrap="square" lIns="0" tIns="0" rIns="0" bIns="0" rtlCol="0">
            <a:noAutofit/>
          </a:bodyPr>
          <a:lstStyle/>
          <a:p>
            <a:pPr marL="231775" indent="-231775"/>
            <a:r>
              <a:rPr lang="ja-JP" altLang="en-US" sz="1100" dirty="0" smtClean="0">
                <a:solidFill>
                  <a:srgbClr val="000000"/>
                </a:solidFill>
              </a:rPr>
              <a:t>現在の投資</a:t>
            </a:r>
            <a:endParaRPr lang="en-US" sz="1100" dirty="0" smtClean="0">
              <a:solidFill>
                <a:srgbClr val="000000"/>
              </a:solidFill>
            </a:endParaRPr>
          </a:p>
        </p:txBody>
      </p:sp>
      <p:sp>
        <p:nvSpPr>
          <p:cNvPr id="57" name="Rectangle 56"/>
          <p:cNvSpPr/>
          <p:nvPr/>
        </p:nvSpPr>
        <p:spPr>
          <a:xfrm>
            <a:off x="6984492" y="899754"/>
            <a:ext cx="228600" cy="1524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8" name="TextBox 57"/>
          <p:cNvSpPr txBox="1"/>
          <p:nvPr/>
        </p:nvSpPr>
        <p:spPr>
          <a:xfrm>
            <a:off x="7289292" y="883920"/>
            <a:ext cx="1686276" cy="182880"/>
          </a:xfrm>
          <a:prstGeom prst="rect">
            <a:avLst/>
          </a:prstGeom>
          <a:noFill/>
        </p:spPr>
        <p:txBody>
          <a:bodyPr wrap="square" lIns="0" tIns="0" rIns="0" bIns="0" rtlCol="0">
            <a:noAutofit/>
          </a:bodyPr>
          <a:lstStyle/>
          <a:p>
            <a:pPr marL="231775" indent="-231775"/>
            <a:r>
              <a:rPr lang="ja-JP" altLang="en-US" sz="1100" dirty="0" smtClean="0">
                <a:solidFill>
                  <a:srgbClr val="000000"/>
                </a:solidFill>
              </a:rPr>
              <a:t>見込まれる投資</a:t>
            </a:r>
            <a:endParaRPr lang="en-US" sz="1100" dirty="0" smtClean="0">
              <a:solidFill>
                <a:srgbClr val="000000"/>
              </a:solidFill>
            </a:endParaRPr>
          </a:p>
        </p:txBody>
      </p:sp>
      <p:cxnSp>
        <p:nvCxnSpPr>
          <p:cNvPr id="89" name="Straight Connector 88"/>
          <p:cNvCxnSpPr/>
          <p:nvPr/>
        </p:nvCxnSpPr>
        <p:spPr>
          <a:xfrm>
            <a:off x="6876256" y="1359940"/>
            <a:ext cx="15956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4" name="Rectangle 83"/>
          <p:cNvSpPr/>
          <p:nvPr/>
        </p:nvSpPr>
        <p:spPr>
          <a:xfrm>
            <a:off x="6876256" y="3162610"/>
            <a:ext cx="1620000" cy="425974"/>
          </a:xfrm>
          <a:prstGeom prst="rect">
            <a:avLst/>
          </a:prstGeom>
          <a:no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tIns="0" rIns="0" rtlCol="0" anchor="t" anchorCtr="0"/>
          <a:lstStyle/>
          <a:p>
            <a:r>
              <a:rPr 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JnNURM </a:t>
            </a:r>
            <a:r>
              <a:rPr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Maharashtra Sujal Nirmal Abhiyan (11)</a:t>
            </a:r>
          </a:p>
        </p:txBody>
      </p:sp>
      <p:sp>
        <p:nvSpPr>
          <p:cNvPr id="88" name="Rectangle 87"/>
          <p:cNvSpPr/>
          <p:nvPr/>
        </p:nvSpPr>
        <p:spPr>
          <a:xfrm>
            <a:off x="5256256" y="4989697"/>
            <a:ext cx="1620000"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latin typeface="ＭＳ Ｐゴシック" panose="020B0600070205080204" pitchFamily="50" charset="-128"/>
                <a:ea typeface="ＭＳ Ｐゴシック" panose="020B0600070205080204" pitchFamily="50" charset="-128"/>
              </a:rPr>
              <a:t>下水道処理場の設置（</a:t>
            </a:r>
            <a:r>
              <a:rPr lang="en-US" altLang="ja-JP" sz="1000" dirty="0" smtClean="0">
                <a:solidFill>
                  <a:schemeClr val="tx1"/>
                </a:solidFill>
                <a:latin typeface="ＭＳ Ｐゴシック" panose="020B0600070205080204" pitchFamily="50" charset="-128"/>
                <a:ea typeface="ＭＳ Ｐゴシック" panose="020B0600070205080204" pitchFamily="50" charset="-128"/>
              </a:rPr>
              <a:t>#11</a:t>
            </a:r>
            <a:r>
              <a:rPr lang="ja-JP" altLang="en-US" sz="1000" dirty="0" smtClean="0">
                <a:solidFill>
                  <a:schemeClr val="tx1"/>
                </a:solidFill>
                <a:latin typeface="ＭＳ Ｐゴシック" panose="020B0600070205080204" pitchFamily="50" charset="-128"/>
                <a:ea typeface="ＭＳ Ｐゴシック" panose="020B0600070205080204" pitchFamily="50" charset="-128"/>
              </a:rPr>
              <a:t>）と運営（</a:t>
            </a:r>
            <a:r>
              <a:rPr lang="en-US" altLang="ja-JP" sz="1000" dirty="0" smtClean="0">
                <a:solidFill>
                  <a:schemeClr val="tx1"/>
                </a:solidFill>
                <a:latin typeface="ＭＳ Ｐゴシック" panose="020B0600070205080204" pitchFamily="50" charset="-128"/>
                <a:ea typeface="ＭＳ Ｐゴシック" panose="020B0600070205080204" pitchFamily="50" charset="-128"/>
              </a:rPr>
              <a:t>#12</a:t>
            </a:r>
            <a:r>
              <a:rPr lang="ja-JP" altLang="en-US" sz="1000" dirty="0" smtClean="0">
                <a:solidFill>
                  <a:schemeClr val="tx1"/>
                </a:solidFill>
                <a:latin typeface="ＭＳ Ｐゴシック" panose="020B0600070205080204" pitchFamily="50" charset="-128"/>
                <a:ea typeface="ＭＳ Ｐゴシック" panose="020B0600070205080204" pitchFamily="50" charset="-128"/>
              </a:rPr>
              <a:t>）</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90" name="Rectangle 89"/>
          <p:cNvSpPr/>
          <p:nvPr/>
        </p:nvSpPr>
        <p:spPr>
          <a:xfrm>
            <a:off x="1534024" y="5533599"/>
            <a:ext cx="5342231"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latin typeface="ＭＳ Ｐゴシック" panose="020B0600070205080204" pitchFamily="50" charset="-128"/>
                <a:ea typeface="ＭＳ Ｐゴシック" panose="020B0600070205080204" pitchFamily="50" charset="-128"/>
              </a:rPr>
              <a:t>浄化槽の改修（</a:t>
            </a:r>
            <a:r>
              <a:rPr lang="en-US" altLang="ja-JP" sz="1000" dirty="0" smtClean="0">
                <a:solidFill>
                  <a:schemeClr val="tx1"/>
                </a:solidFill>
                <a:latin typeface="ＭＳ Ｐゴシック" panose="020B0600070205080204" pitchFamily="50" charset="-128"/>
                <a:ea typeface="ＭＳ Ｐゴシック" panose="020B0600070205080204" pitchFamily="50" charset="-128"/>
              </a:rPr>
              <a:t>#3</a:t>
            </a:r>
            <a:r>
              <a:rPr lang="ja-JP" altLang="en-US" sz="1000" dirty="0" smtClean="0">
                <a:solidFill>
                  <a:schemeClr val="tx1"/>
                </a:solidFill>
                <a:latin typeface="ＭＳ Ｐゴシック" panose="020B0600070205080204" pitchFamily="50" charset="-128"/>
                <a:ea typeface="ＭＳ Ｐゴシック" panose="020B0600070205080204" pitchFamily="50" charset="-128"/>
              </a:rPr>
              <a:t>）、汚泥管理（</a:t>
            </a:r>
            <a:r>
              <a:rPr lang="en-US" altLang="ja-JP" sz="1000" dirty="0" smtClean="0">
                <a:solidFill>
                  <a:schemeClr val="tx1"/>
                </a:solidFill>
                <a:latin typeface="ＭＳ Ｐゴシック" panose="020B0600070205080204" pitchFamily="50" charset="-128"/>
                <a:ea typeface="ＭＳ Ｐゴシック" panose="020B0600070205080204" pitchFamily="50" charset="-128"/>
              </a:rPr>
              <a:t>#7</a:t>
            </a:r>
            <a:r>
              <a:rPr lang="ja-JP" altLang="en-US" sz="1000" dirty="0" smtClean="0">
                <a:solidFill>
                  <a:schemeClr val="tx1"/>
                </a:solidFill>
                <a:latin typeface="ＭＳ Ｐゴシック" panose="020B0600070205080204" pitchFamily="50" charset="-128"/>
                <a:ea typeface="ＭＳ Ｐゴシック" panose="020B0600070205080204" pitchFamily="50" charset="-128"/>
              </a:rPr>
              <a:t>）、汚水処理場の設置（</a:t>
            </a:r>
            <a:r>
              <a:rPr lang="en-US" altLang="ja-JP" sz="1000" dirty="0" smtClean="0">
                <a:solidFill>
                  <a:schemeClr val="tx1"/>
                </a:solidFill>
                <a:latin typeface="ＭＳ Ｐゴシック" panose="020B0600070205080204" pitchFamily="50" charset="-128"/>
                <a:ea typeface="ＭＳ Ｐゴシック" panose="020B0600070205080204" pitchFamily="50" charset="-128"/>
              </a:rPr>
              <a:t>#9</a:t>
            </a:r>
            <a:r>
              <a:rPr lang="ja-JP" altLang="en-US" sz="1000" dirty="0" smtClean="0">
                <a:solidFill>
                  <a:schemeClr val="tx1"/>
                </a:solidFill>
                <a:latin typeface="ＭＳ Ｐゴシック" panose="020B0600070205080204" pitchFamily="50" charset="-128"/>
                <a:ea typeface="ＭＳ Ｐゴシック" panose="020B0600070205080204" pitchFamily="50" charset="-128"/>
              </a:rPr>
              <a:t>）をはじめとする、総合的な汚泥管理計画</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91" name="Rectangle 90"/>
          <p:cNvSpPr/>
          <p:nvPr/>
        </p:nvSpPr>
        <p:spPr>
          <a:xfrm>
            <a:off x="1534024" y="4989697"/>
            <a:ext cx="1620000"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latin typeface="ＭＳ Ｐゴシック" panose="020B0600070205080204" pitchFamily="50" charset="-128"/>
                <a:ea typeface="ＭＳ Ｐゴシック" panose="020B0600070205080204" pitchFamily="50" charset="-128"/>
              </a:rPr>
              <a:t>コミュニティ・トイレの設置（</a:t>
            </a:r>
            <a:r>
              <a:rPr lang="en-US" altLang="ja-JP" sz="1000" dirty="0" smtClean="0">
                <a:solidFill>
                  <a:schemeClr val="tx1"/>
                </a:solidFill>
                <a:latin typeface="ＭＳ Ｐゴシック" panose="020B0600070205080204" pitchFamily="50" charset="-128"/>
                <a:ea typeface="ＭＳ Ｐゴシック" panose="020B0600070205080204" pitchFamily="50" charset="-128"/>
              </a:rPr>
              <a:t>#2</a:t>
            </a:r>
            <a:r>
              <a:rPr lang="ja-JP" altLang="en-US" sz="1000" dirty="0" smtClean="0">
                <a:solidFill>
                  <a:schemeClr val="tx1"/>
                </a:solidFill>
                <a:latin typeface="ＭＳ Ｐゴシック" panose="020B0600070205080204" pitchFamily="50" charset="-128"/>
                <a:ea typeface="ＭＳ Ｐゴシック" panose="020B0600070205080204" pitchFamily="50" charset="-128"/>
              </a:rPr>
              <a:t>）と維持管理（</a:t>
            </a:r>
            <a:r>
              <a:rPr lang="en-US" altLang="ja-JP" sz="1000" dirty="0" smtClean="0">
                <a:solidFill>
                  <a:schemeClr val="tx1"/>
                </a:solidFill>
                <a:latin typeface="ＭＳ Ｐゴシック" panose="020B0600070205080204" pitchFamily="50" charset="-128"/>
                <a:ea typeface="ＭＳ Ｐゴシック" panose="020B0600070205080204" pitchFamily="50" charset="-128"/>
              </a:rPr>
              <a:t>#4</a:t>
            </a:r>
            <a:r>
              <a:rPr lang="ja-JP" altLang="en-US" sz="1000" dirty="0" smtClean="0">
                <a:solidFill>
                  <a:schemeClr val="tx1"/>
                </a:solidFill>
                <a:latin typeface="ＭＳ Ｐゴシック" panose="020B0600070205080204" pitchFamily="50" charset="-128"/>
                <a:ea typeface="ＭＳ Ｐゴシック" panose="020B0600070205080204" pitchFamily="50" charset="-128"/>
              </a:rPr>
              <a:t>）</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cxnSp>
        <p:nvCxnSpPr>
          <p:cNvPr id="92" name="Straight Connector 91"/>
          <p:cNvCxnSpPr/>
          <p:nvPr/>
        </p:nvCxnSpPr>
        <p:spPr>
          <a:xfrm>
            <a:off x="441144" y="3703083"/>
            <a:ext cx="6255307" cy="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93" name="Rectangle 92"/>
          <p:cNvSpPr/>
          <p:nvPr/>
        </p:nvSpPr>
        <p:spPr>
          <a:xfrm>
            <a:off x="1534024" y="2608824"/>
            <a:ext cx="1620000"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900" dirty="0">
                <a:solidFill>
                  <a:schemeClr val="tx1"/>
                </a:solidFill>
                <a:latin typeface="ＭＳ Ｐゴシック" panose="020B0600070205080204" pitchFamily="50" charset="-128"/>
                <a:ea typeface="ＭＳ Ｐゴシック" panose="020B0600070205080204" pitchFamily="50" charset="-128"/>
              </a:rPr>
              <a:t>浄化槽や下水道とつながった新しいコミュニティ・トイレ／公衆トイレの設置</a:t>
            </a:r>
            <a:endParaRPr lang="en-US" sz="900" dirty="0">
              <a:solidFill>
                <a:schemeClr val="tx1"/>
              </a:solidFill>
              <a:latin typeface="ＭＳ Ｐゴシック" panose="020B0600070205080204" pitchFamily="50" charset="-128"/>
              <a:ea typeface="ＭＳ Ｐゴシック" panose="020B0600070205080204" pitchFamily="50" charset="-128"/>
            </a:endParaRPr>
          </a:p>
        </p:txBody>
      </p:sp>
      <p:sp>
        <p:nvSpPr>
          <p:cNvPr id="94" name="Rectangle 93"/>
          <p:cNvSpPr/>
          <p:nvPr/>
        </p:nvSpPr>
        <p:spPr>
          <a:xfrm>
            <a:off x="5256256" y="2608824"/>
            <a:ext cx="1620000"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latin typeface="ＭＳ Ｐゴシック" panose="020B0600070205080204" pitchFamily="50" charset="-128"/>
                <a:ea typeface="ＭＳ Ｐゴシック" panose="020B0600070205080204" pitchFamily="50" charset="-128"/>
              </a:rPr>
              <a:t>排水処理場の設置</a:t>
            </a:r>
            <a:endParaRPr lang="en-US" sz="1000" baseline="30000" dirty="0">
              <a:solidFill>
                <a:schemeClr val="tx1"/>
              </a:solidFill>
              <a:latin typeface="ＭＳ Ｐゴシック" panose="020B0600070205080204" pitchFamily="50" charset="-128"/>
              <a:ea typeface="ＭＳ Ｐゴシック" panose="020B0600070205080204" pitchFamily="50" charset="-128"/>
            </a:endParaRPr>
          </a:p>
        </p:txBody>
      </p:sp>
      <p:sp>
        <p:nvSpPr>
          <p:cNvPr id="95" name="Rectangle 94"/>
          <p:cNvSpPr/>
          <p:nvPr/>
        </p:nvSpPr>
        <p:spPr>
          <a:xfrm>
            <a:off x="3395141" y="2608824"/>
            <a:ext cx="1620000"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latin typeface="ＭＳ Ｐゴシック" panose="020B0600070205080204" pitchFamily="50" charset="-128"/>
                <a:ea typeface="ＭＳ Ｐゴシック" panose="020B0600070205080204" pitchFamily="50" charset="-128"/>
              </a:rPr>
              <a:t>排水穴と前沈殿下水道の設置</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96" name="Rectangle 95"/>
          <p:cNvSpPr/>
          <p:nvPr/>
        </p:nvSpPr>
        <p:spPr>
          <a:xfrm>
            <a:off x="1534024" y="2031336"/>
            <a:ext cx="1620000" cy="433496"/>
          </a:xfrm>
          <a:prstGeom prst="rect">
            <a:avLst/>
          </a:prstGeom>
          <a:solidFill>
            <a:schemeClr val="accent3">
              <a:lumMod val="40000"/>
              <a:lumOff val="60000"/>
            </a:schemeClr>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900" dirty="0" smtClean="0">
                <a:solidFill>
                  <a:schemeClr val="tx1"/>
                </a:solidFill>
                <a:latin typeface="ＭＳ Ｐゴシック" panose="020B0600070205080204" pitchFamily="50" charset="-128"/>
                <a:ea typeface="ＭＳ Ｐゴシック" panose="020B0600070205080204" pitchFamily="50" charset="-128"/>
              </a:rPr>
              <a:t>浄化槽や下水道とつながった新しい共同トイレ／個別トイレの設置</a:t>
            </a:r>
            <a:endParaRPr lang="en-US" sz="900" dirty="0">
              <a:solidFill>
                <a:schemeClr val="tx1"/>
              </a:solidFill>
              <a:latin typeface="ＭＳ Ｐゴシック" panose="020B0600070205080204" pitchFamily="50" charset="-128"/>
              <a:ea typeface="ＭＳ Ｐゴシック" panose="020B0600070205080204" pitchFamily="50" charset="-128"/>
            </a:endParaRPr>
          </a:p>
        </p:txBody>
      </p:sp>
      <p:sp>
        <p:nvSpPr>
          <p:cNvPr id="97" name="Rectangle 96"/>
          <p:cNvSpPr/>
          <p:nvPr/>
        </p:nvSpPr>
        <p:spPr>
          <a:xfrm>
            <a:off x="3395141" y="2031336"/>
            <a:ext cx="1620000" cy="433496"/>
          </a:xfrm>
          <a:prstGeom prst="rect">
            <a:avLst/>
          </a:prstGeom>
          <a:solidFill>
            <a:schemeClr val="accent3">
              <a:lumMod val="40000"/>
              <a:lumOff val="60000"/>
            </a:schemeClr>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latin typeface="ＭＳ Ｐゴシック" panose="020B0600070205080204" pitchFamily="50" charset="-128"/>
                <a:ea typeface="ＭＳ Ｐゴシック" panose="020B0600070205080204" pitchFamily="50" charset="-128"/>
              </a:rPr>
              <a:t>下水道ネットワークの設置</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98" name="Rectangle 97"/>
          <p:cNvSpPr/>
          <p:nvPr/>
        </p:nvSpPr>
        <p:spPr>
          <a:xfrm>
            <a:off x="5256256" y="2031336"/>
            <a:ext cx="1620000" cy="433496"/>
          </a:xfrm>
          <a:prstGeom prst="rect">
            <a:avLst/>
          </a:prstGeom>
          <a:solidFill>
            <a:schemeClr val="bg1"/>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latin typeface="ＭＳ Ｐゴシック" panose="020B0600070205080204" pitchFamily="50" charset="-128"/>
                <a:ea typeface="ＭＳ Ｐゴシック" panose="020B0600070205080204" pitchFamily="50" charset="-128"/>
              </a:rPr>
              <a:t>汚水処理場の設置</a:t>
            </a:r>
            <a:endParaRPr lang="en-US" sz="1000" baseline="30000" dirty="0">
              <a:solidFill>
                <a:schemeClr val="tx1"/>
              </a:solidFill>
              <a:latin typeface="ＭＳ Ｐゴシック" panose="020B0600070205080204" pitchFamily="50" charset="-128"/>
              <a:ea typeface="ＭＳ Ｐゴシック" panose="020B0600070205080204" pitchFamily="50" charset="-128"/>
            </a:endParaRPr>
          </a:p>
        </p:txBody>
      </p:sp>
      <p:sp>
        <p:nvSpPr>
          <p:cNvPr id="100" name="Rectangle 99"/>
          <p:cNvSpPr/>
          <p:nvPr/>
        </p:nvSpPr>
        <p:spPr>
          <a:xfrm>
            <a:off x="3395141" y="4363656"/>
            <a:ext cx="1620000" cy="433496"/>
          </a:xfrm>
          <a:prstGeom prst="rect">
            <a:avLst/>
          </a:prstGeom>
          <a:solidFill>
            <a:schemeClr val="bg1"/>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latin typeface="ＭＳ Ｐゴシック" panose="020B0600070205080204" pitchFamily="50" charset="-128"/>
                <a:ea typeface="ＭＳ Ｐゴシック" panose="020B0600070205080204" pitchFamily="50" charset="-128"/>
              </a:rPr>
              <a:t>下水道ネットワークの管理</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cxnSp>
        <p:nvCxnSpPr>
          <p:cNvPr id="102" name="Straight Connector 101"/>
          <p:cNvCxnSpPr/>
          <p:nvPr/>
        </p:nvCxnSpPr>
        <p:spPr>
          <a:xfrm>
            <a:off x="450293" y="4848437"/>
            <a:ext cx="6255307" cy="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03" name="Oval 102"/>
          <p:cNvSpPr/>
          <p:nvPr/>
        </p:nvSpPr>
        <p:spPr>
          <a:xfrm>
            <a:off x="1371717" y="1956322"/>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rgbClr val="FFFFFF"/>
                </a:solidFill>
              </a:rPr>
              <a:t>1</a:t>
            </a:r>
          </a:p>
        </p:txBody>
      </p:sp>
      <p:sp>
        <p:nvSpPr>
          <p:cNvPr id="104" name="Oval 103"/>
          <p:cNvSpPr/>
          <p:nvPr/>
        </p:nvSpPr>
        <p:spPr>
          <a:xfrm>
            <a:off x="1371717" y="2546064"/>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2</a:t>
            </a:r>
            <a:endParaRPr lang="en-US" sz="1000" dirty="0">
              <a:solidFill>
                <a:srgbClr val="FFFFFF"/>
              </a:solidFill>
            </a:endParaRPr>
          </a:p>
        </p:txBody>
      </p:sp>
      <p:sp>
        <p:nvSpPr>
          <p:cNvPr id="105" name="Rectangle 104"/>
          <p:cNvSpPr/>
          <p:nvPr/>
        </p:nvSpPr>
        <p:spPr>
          <a:xfrm>
            <a:off x="1534024" y="3809602"/>
            <a:ext cx="1620000" cy="433495"/>
          </a:xfrm>
          <a:prstGeom prst="rect">
            <a:avLst/>
          </a:prstGeom>
          <a:solidFill>
            <a:schemeClr val="bg1"/>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latin typeface="ＭＳ Ｐゴシック" panose="020B0600070205080204" pitchFamily="50" charset="-128"/>
                <a:ea typeface="ＭＳ Ｐゴシック" panose="020B0600070205080204" pitchFamily="50" charset="-128"/>
              </a:rPr>
              <a:t>コミュニティ・トイレと公衆トイレの維持管理</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106" name="Oval 105"/>
          <p:cNvSpPr/>
          <p:nvPr/>
        </p:nvSpPr>
        <p:spPr>
          <a:xfrm>
            <a:off x="1371717" y="3713676"/>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rgbClr val="FFFFFF"/>
                </a:solidFill>
              </a:rPr>
              <a:t>4</a:t>
            </a:r>
          </a:p>
        </p:txBody>
      </p:sp>
      <p:sp>
        <p:nvSpPr>
          <p:cNvPr id="107" name="Oval 106"/>
          <p:cNvSpPr/>
          <p:nvPr/>
        </p:nvSpPr>
        <p:spPr>
          <a:xfrm>
            <a:off x="3246020" y="2546064"/>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rgbClr val="FFFFFF"/>
                </a:solidFill>
              </a:rPr>
              <a:t>6</a:t>
            </a:r>
          </a:p>
        </p:txBody>
      </p:sp>
      <p:sp>
        <p:nvSpPr>
          <p:cNvPr id="108" name="Rectangle 107"/>
          <p:cNvSpPr/>
          <p:nvPr/>
        </p:nvSpPr>
        <p:spPr>
          <a:xfrm>
            <a:off x="3395141" y="3809602"/>
            <a:ext cx="1620000"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latin typeface="ＭＳ Ｐゴシック" panose="020B0600070205080204" pitchFamily="50" charset="-128"/>
                <a:ea typeface="ＭＳ Ｐゴシック" panose="020B0600070205080204" pitchFamily="50" charset="-128"/>
              </a:rPr>
              <a:t>汚泥の管理</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109" name="Oval 108"/>
          <p:cNvSpPr/>
          <p:nvPr/>
        </p:nvSpPr>
        <p:spPr>
          <a:xfrm>
            <a:off x="3246020" y="3713676"/>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7</a:t>
            </a:r>
            <a:endParaRPr lang="en-US" sz="1000" dirty="0">
              <a:solidFill>
                <a:srgbClr val="FFFFFF"/>
              </a:solidFill>
            </a:endParaRPr>
          </a:p>
        </p:txBody>
      </p:sp>
      <p:sp>
        <p:nvSpPr>
          <p:cNvPr id="110" name="Oval 109"/>
          <p:cNvSpPr/>
          <p:nvPr/>
        </p:nvSpPr>
        <p:spPr>
          <a:xfrm>
            <a:off x="3246020" y="4289746"/>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rgbClr val="FFFFFF"/>
                </a:solidFill>
              </a:rPr>
              <a:t>8</a:t>
            </a:r>
          </a:p>
        </p:txBody>
      </p:sp>
      <p:sp>
        <p:nvSpPr>
          <p:cNvPr id="111" name="Oval 110"/>
          <p:cNvSpPr/>
          <p:nvPr/>
        </p:nvSpPr>
        <p:spPr>
          <a:xfrm>
            <a:off x="3246020" y="1958685"/>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rgbClr val="FFFFFF"/>
                </a:solidFill>
              </a:rPr>
              <a:t>5</a:t>
            </a:r>
          </a:p>
        </p:txBody>
      </p:sp>
      <p:sp>
        <p:nvSpPr>
          <p:cNvPr id="112" name="Oval 111"/>
          <p:cNvSpPr/>
          <p:nvPr/>
        </p:nvSpPr>
        <p:spPr>
          <a:xfrm>
            <a:off x="5121432" y="1958685"/>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rgbClr val="FFFFFF"/>
                </a:solidFill>
              </a:rPr>
              <a:t>9</a:t>
            </a:r>
          </a:p>
        </p:txBody>
      </p:sp>
      <p:sp>
        <p:nvSpPr>
          <p:cNvPr id="114" name="Oval 113"/>
          <p:cNvSpPr/>
          <p:nvPr/>
        </p:nvSpPr>
        <p:spPr>
          <a:xfrm>
            <a:off x="5121432" y="2546064"/>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0</a:t>
            </a:r>
            <a:endParaRPr lang="en-US" sz="1000" dirty="0">
              <a:solidFill>
                <a:srgbClr val="FFFFFF"/>
              </a:solidFill>
            </a:endParaRPr>
          </a:p>
        </p:txBody>
      </p:sp>
      <p:sp>
        <p:nvSpPr>
          <p:cNvPr id="115" name="Rectangle 114"/>
          <p:cNvSpPr/>
          <p:nvPr/>
        </p:nvSpPr>
        <p:spPr>
          <a:xfrm>
            <a:off x="5256256" y="3809602"/>
            <a:ext cx="1620000" cy="433496"/>
          </a:xfrm>
          <a:prstGeom prst="rect">
            <a:avLst/>
          </a:prstGeom>
          <a:solidFill>
            <a:schemeClr val="bg1"/>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latin typeface="ＭＳ Ｐゴシック" panose="020B0600070205080204" pitchFamily="50" charset="-128"/>
                <a:ea typeface="ＭＳ Ｐゴシック" panose="020B0600070205080204" pitchFamily="50" charset="-128"/>
              </a:rPr>
              <a:t>下水処理場の維持管理</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116" name="Oval 115"/>
          <p:cNvSpPr/>
          <p:nvPr/>
        </p:nvSpPr>
        <p:spPr>
          <a:xfrm>
            <a:off x="5121432" y="3713676"/>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2</a:t>
            </a:r>
            <a:endParaRPr lang="en-US" sz="1000" dirty="0">
              <a:solidFill>
                <a:srgbClr val="FFFFFF"/>
              </a:solidFill>
            </a:endParaRPr>
          </a:p>
        </p:txBody>
      </p:sp>
      <p:sp>
        <p:nvSpPr>
          <p:cNvPr id="117" name="Oval 116"/>
          <p:cNvSpPr/>
          <p:nvPr/>
        </p:nvSpPr>
        <p:spPr>
          <a:xfrm>
            <a:off x="1371717" y="5435728"/>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4</a:t>
            </a:r>
            <a:endParaRPr lang="en-US" sz="1000" dirty="0">
              <a:solidFill>
                <a:srgbClr val="FFFFFF"/>
              </a:solidFill>
            </a:endParaRPr>
          </a:p>
        </p:txBody>
      </p:sp>
      <p:sp>
        <p:nvSpPr>
          <p:cNvPr id="118" name="Oval 117"/>
          <p:cNvSpPr/>
          <p:nvPr/>
        </p:nvSpPr>
        <p:spPr>
          <a:xfrm>
            <a:off x="5121432" y="4919068"/>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6</a:t>
            </a:r>
            <a:endParaRPr lang="en-US" sz="1000" dirty="0">
              <a:solidFill>
                <a:srgbClr val="FFFFFF"/>
              </a:solidFill>
            </a:endParaRPr>
          </a:p>
        </p:txBody>
      </p:sp>
      <p:sp>
        <p:nvSpPr>
          <p:cNvPr id="119" name="Oval 118"/>
          <p:cNvSpPr/>
          <p:nvPr/>
        </p:nvSpPr>
        <p:spPr>
          <a:xfrm>
            <a:off x="1371717" y="4919068"/>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3</a:t>
            </a:r>
            <a:endParaRPr lang="en-US" sz="1000" dirty="0">
              <a:solidFill>
                <a:srgbClr val="FFFFFF"/>
              </a:solidFill>
            </a:endParaRPr>
          </a:p>
        </p:txBody>
      </p:sp>
      <p:sp>
        <p:nvSpPr>
          <p:cNvPr id="121" name="Chevron 120"/>
          <p:cNvSpPr/>
          <p:nvPr/>
        </p:nvSpPr>
        <p:spPr>
          <a:xfrm>
            <a:off x="1534025" y="1419326"/>
            <a:ext cx="1692000" cy="470866"/>
          </a:xfrm>
          <a:prstGeom prst="chevron">
            <a:avLst>
              <a:gd name="adj" fmla="val 20248"/>
            </a:avLst>
          </a:prstGeom>
          <a:solidFill>
            <a:srgbClr val="67103F"/>
          </a:solidFill>
          <a:ln w="9525">
            <a:noFill/>
          </a:ln>
        </p:spPr>
        <p:txBody>
          <a:bodyPr wrap="square" lIns="44450" tIns="131763" rIns="0" bIns="133350" anchor="ctr" anchorCtr="0">
            <a:noAutofit/>
          </a:bodyPr>
          <a:lstStyle/>
          <a:p>
            <a:pPr algn="ctr">
              <a:spcBef>
                <a:spcPct val="0"/>
              </a:spcBef>
              <a:spcAft>
                <a:spcPct val="0"/>
              </a:spcAft>
              <a:buFont typeface="Arial" pitchFamily="34" charset="0"/>
              <a:buNone/>
            </a:pPr>
            <a:r>
              <a:rPr lang="ja-JP" altLang="en-US" sz="1000" b="1" dirty="0" smtClean="0">
                <a:solidFill>
                  <a:srgbClr val="FFFFFF"/>
                </a:solidFill>
              </a:rPr>
              <a:t>アクセスと収集</a:t>
            </a:r>
            <a:endParaRPr lang="en-US" sz="1000" b="1" dirty="0">
              <a:solidFill>
                <a:srgbClr val="FFFFFF"/>
              </a:solidFill>
            </a:endParaRPr>
          </a:p>
        </p:txBody>
      </p:sp>
      <p:sp>
        <p:nvSpPr>
          <p:cNvPr id="122" name="Chevron 121"/>
          <p:cNvSpPr/>
          <p:nvPr/>
        </p:nvSpPr>
        <p:spPr>
          <a:xfrm>
            <a:off x="3395141" y="1419326"/>
            <a:ext cx="1692000" cy="470866"/>
          </a:xfrm>
          <a:prstGeom prst="chevron">
            <a:avLst>
              <a:gd name="adj" fmla="val 20248"/>
            </a:avLst>
          </a:prstGeom>
          <a:solidFill>
            <a:srgbClr val="67103F"/>
          </a:solidFill>
          <a:ln w="9525">
            <a:noFill/>
          </a:ln>
        </p:spPr>
        <p:txBody>
          <a:bodyPr wrap="square" lIns="44450" tIns="131763" rIns="0" bIns="133350" anchor="ctr" anchorCtr="0">
            <a:noAutofit/>
          </a:bodyPr>
          <a:lstStyle/>
          <a:p>
            <a:pPr algn="ctr">
              <a:spcBef>
                <a:spcPct val="0"/>
              </a:spcBef>
              <a:spcAft>
                <a:spcPct val="0"/>
              </a:spcAft>
              <a:buFont typeface="Arial" pitchFamily="34" charset="0"/>
              <a:buNone/>
            </a:pPr>
            <a:r>
              <a:rPr lang="ja-JP" altLang="en-US" sz="1000" b="1" dirty="0" smtClean="0">
                <a:solidFill>
                  <a:srgbClr val="FFFFFF"/>
                </a:solidFill>
              </a:rPr>
              <a:t>運搬</a:t>
            </a:r>
            <a:endParaRPr lang="en-US" sz="1000" b="1" dirty="0">
              <a:solidFill>
                <a:srgbClr val="FFFFFF"/>
              </a:solidFill>
            </a:endParaRPr>
          </a:p>
        </p:txBody>
      </p:sp>
      <p:sp>
        <p:nvSpPr>
          <p:cNvPr id="123" name="Chevron 122"/>
          <p:cNvSpPr/>
          <p:nvPr/>
        </p:nvSpPr>
        <p:spPr>
          <a:xfrm>
            <a:off x="5256256" y="1419326"/>
            <a:ext cx="1619999" cy="470866"/>
          </a:xfrm>
          <a:prstGeom prst="chevron">
            <a:avLst>
              <a:gd name="adj" fmla="val 20248"/>
            </a:avLst>
          </a:prstGeom>
          <a:solidFill>
            <a:srgbClr val="67103F"/>
          </a:solidFill>
          <a:ln w="9525">
            <a:noFill/>
          </a:ln>
        </p:spPr>
        <p:txBody>
          <a:bodyPr wrap="square" lIns="44450" tIns="131763" rIns="0" bIns="133350" anchor="ctr" anchorCtr="0">
            <a:noAutofit/>
          </a:bodyPr>
          <a:lstStyle/>
          <a:p>
            <a:pPr algn="ctr">
              <a:spcBef>
                <a:spcPct val="0"/>
              </a:spcBef>
              <a:spcAft>
                <a:spcPct val="0"/>
              </a:spcAft>
              <a:buFont typeface="Arial" pitchFamily="34" charset="0"/>
              <a:buNone/>
            </a:pPr>
            <a:r>
              <a:rPr lang="ja-JP" altLang="en-US" sz="1000" b="1" dirty="0" smtClean="0">
                <a:solidFill>
                  <a:srgbClr val="FFFFFF"/>
                </a:solidFill>
              </a:rPr>
              <a:t>処理と再利用</a:t>
            </a:r>
            <a:endParaRPr lang="en-US" sz="1000" b="1" dirty="0">
              <a:solidFill>
                <a:srgbClr val="FFFFFF"/>
              </a:solidFill>
            </a:endParaRPr>
          </a:p>
        </p:txBody>
      </p:sp>
      <p:sp>
        <p:nvSpPr>
          <p:cNvPr id="53" name="Rectangle 52"/>
          <p:cNvSpPr/>
          <p:nvPr/>
        </p:nvSpPr>
        <p:spPr>
          <a:xfrm>
            <a:off x="1534024" y="3155088"/>
            <a:ext cx="1620000"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latin typeface="ＭＳ Ｐゴシック" panose="020B0600070205080204" pitchFamily="50" charset="-128"/>
                <a:ea typeface="ＭＳ Ｐゴシック" panose="020B0600070205080204" pitchFamily="50" charset="-128"/>
              </a:rPr>
              <a:t>浄化槽の改修</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54" name="Oval 53"/>
          <p:cNvSpPr/>
          <p:nvPr/>
        </p:nvSpPr>
        <p:spPr>
          <a:xfrm>
            <a:off x="1371717" y="3079070"/>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3</a:t>
            </a:r>
            <a:endParaRPr lang="en-US" sz="1000" dirty="0">
              <a:solidFill>
                <a:srgbClr val="FFFFFF"/>
              </a:solidFill>
            </a:endParaRPr>
          </a:p>
        </p:txBody>
      </p:sp>
      <p:sp>
        <p:nvSpPr>
          <p:cNvPr id="55" name="Rounded Rectangle 54"/>
          <p:cNvSpPr/>
          <p:nvPr/>
        </p:nvSpPr>
        <p:spPr>
          <a:xfrm>
            <a:off x="381001" y="2031337"/>
            <a:ext cx="961102" cy="155724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200" dirty="0" smtClean="0">
                <a:solidFill>
                  <a:schemeClr val="tx2"/>
                </a:solidFill>
                <a:latin typeface="ＭＳ Ｐゴシック" panose="020B0600070205080204" pitchFamily="50" charset="-128"/>
                <a:ea typeface="ＭＳ Ｐゴシック" panose="020B0600070205080204" pitchFamily="50" charset="-128"/>
              </a:rPr>
              <a:t>設置</a:t>
            </a:r>
            <a:endParaRPr lang="en-IN" sz="1200" dirty="0">
              <a:solidFill>
                <a:schemeClr val="tx2"/>
              </a:solidFill>
              <a:latin typeface="ＭＳ Ｐゴシック" panose="020B0600070205080204" pitchFamily="50" charset="-128"/>
              <a:ea typeface="ＭＳ Ｐゴシック" panose="020B0600070205080204" pitchFamily="50" charset="-128"/>
            </a:endParaRPr>
          </a:p>
        </p:txBody>
      </p:sp>
      <p:sp>
        <p:nvSpPr>
          <p:cNvPr id="59" name="Rectangle 58"/>
          <p:cNvSpPr/>
          <p:nvPr/>
        </p:nvSpPr>
        <p:spPr>
          <a:xfrm>
            <a:off x="5256256" y="3155088"/>
            <a:ext cx="1620000" cy="433496"/>
          </a:xfrm>
          <a:prstGeom prst="rect">
            <a:avLst/>
          </a:prstGeom>
          <a:solidFill>
            <a:schemeClr val="accent3">
              <a:lumMod val="40000"/>
              <a:lumOff val="60000"/>
            </a:schemeClr>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latin typeface="ＭＳ Ｐゴシック" panose="020B0600070205080204" pitchFamily="50" charset="-128"/>
                <a:ea typeface="ＭＳ Ｐゴシック" panose="020B0600070205080204" pitchFamily="50" charset="-128"/>
              </a:rPr>
              <a:t>下水処理場の設置 </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60" name="Oval 59"/>
          <p:cNvSpPr/>
          <p:nvPr/>
        </p:nvSpPr>
        <p:spPr>
          <a:xfrm>
            <a:off x="5121432" y="3079070"/>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1</a:t>
            </a:r>
            <a:endParaRPr lang="en-US" sz="1000" dirty="0">
              <a:solidFill>
                <a:srgbClr val="FFFFFF"/>
              </a:solidFill>
            </a:endParaRPr>
          </a:p>
        </p:txBody>
      </p:sp>
      <p:sp>
        <p:nvSpPr>
          <p:cNvPr id="61" name="Rectangle 60"/>
          <p:cNvSpPr/>
          <p:nvPr/>
        </p:nvSpPr>
        <p:spPr>
          <a:xfrm>
            <a:off x="1534024" y="6079492"/>
            <a:ext cx="5342231"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latin typeface="ＭＳ Ｐゴシック" panose="020B0600070205080204" pitchFamily="50" charset="-128"/>
                <a:ea typeface="ＭＳ Ｐゴシック" panose="020B0600070205080204" pitchFamily="50" charset="-128"/>
              </a:rPr>
              <a:t>浄化槽の改修（</a:t>
            </a:r>
            <a:r>
              <a:rPr lang="en-US" altLang="ja-JP" sz="1000" dirty="0" smtClean="0">
                <a:solidFill>
                  <a:schemeClr val="tx1"/>
                </a:solidFill>
                <a:latin typeface="ＭＳ Ｐゴシック" panose="020B0600070205080204" pitchFamily="50" charset="-128"/>
                <a:ea typeface="ＭＳ Ｐゴシック" panose="020B0600070205080204" pitchFamily="50" charset="-128"/>
              </a:rPr>
              <a:t>#3</a:t>
            </a:r>
            <a:r>
              <a:rPr lang="ja-JP" altLang="en-US" sz="1000" dirty="0" smtClean="0">
                <a:solidFill>
                  <a:schemeClr val="tx1"/>
                </a:solidFill>
                <a:latin typeface="ＭＳ Ｐゴシック" panose="020B0600070205080204" pitchFamily="50" charset="-128"/>
                <a:ea typeface="ＭＳ Ｐゴシック" panose="020B0600070205080204" pitchFamily="50" charset="-128"/>
              </a:rPr>
              <a:t>）、汚泥の管理（</a:t>
            </a:r>
            <a:r>
              <a:rPr lang="en-US" altLang="ja-JP" sz="1000" dirty="0" smtClean="0">
                <a:solidFill>
                  <a:schemeClr val="tx1"/>
                </a:solidFill>
                <a:latin typeface="ＭＳ Ｐゴシック" panose="020B0600070205080204" pitchFamily="50" charset="-128"/>
                <a:ea typeface="ＭＳ Ｐゴシック" panose="020B0600070205080204" pitchFamily="50" charset="-128"/>
              </a:rPr>
              <a:t>#7</a:t>
            </a:r>
            <a:r>
              <a:rPr lang="ja-JP" altLang="en-US" sz="1000" dirty="0" smtClean="0">
                <a:solidFill>
                  <a:schemeClr val="tx1"/>
                </a:solidFill>
                <a:latin typeface="ＭＳ Ｐゴシック" panose="020B0600070205080204" pitchFamily="50" charset="-128"/>
                <a:ea typeface="ＭＳ Ｐゴシック" panose="020B0600070205080204" pitchFamily="50" charset="-128"/>
              </a:rPr>
              <a:t>）をはじめとする、総合的な前沈殿下水道と汚泥の管理計画 場の設置</a:t>
            </a:r>
            <a:r>
              <a:rPr lang="en-US" sz="1000" dirty="0" smtClean="0">
                <a:solidFill>
                  <a:schemeClr val="tx1"/>
                </a:solidFill>
                <a:latin typeface="ＭＳ Ｐゴシック" panose="020B0600070205080204" pitchFamily="50" charset="-128"/>
                <a:ea typeface="ＭＳ Ｐゴシック" panose="020B0600070205080204" pitchFamily="50" charset="-128"/>
              </a:rPr>
              <a:t> </a:t>
            </a:r>
            <a:r>
              <a:rPr lang="en-US" sz="1000" dirty="0">
                <a:solidFill>
                  <a:schemeClr val="tx1"/>
                </a:solidFill>
                <a:latin typeface="ＭＳ Ｐゴシック" panose="020B0600070205080204" pitchFamily="50" charset="-128"/>
                <a:ea typeface="ＭＳ Ｐゴシック" panose="020B0600070205080204" pitchFamily="50" charset="-128"/>
              </a:rPr>
              <a:t>(#10)</a:t>
            </a:r>
          </a:p>
        </p:txBody>
      </p:sp>
      <p:sp>
        <p:nvSpPr>
          <p:cNvPr id="62" name="Oval 61"/>
          <p:cNvSpPr/>
          <p:nvPr/>
        </p:nvSpPr>
        <p:spPr>
          <a:xfrm>
            <a:off x="1371717" y="5986680"/>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5</a:t>
            </a:r>
            <a:endParaRPr lang="en-US" sz="1000" dirty="0">
              <a:solidFill>
                <a:srgbClr val="FFFFFF"/>
              </a:solidFill>
            </a:endParaRPr>
          </a:p>
        </p:txBody>
      </p:sp>
      <p:sp>
        <p:nvSpPr>
          <p:cNvPr id="63" name="Rounded Rectangle 62"/>
          <p:cNvSpPr/>
          <p:nvPr/>
        </p:nvSpPr>
        <p:spPr>
          <a:xfrm>
            <a:off x="381001" y="3809602"/>
            <a:ext cx="961102" cy="98755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200" dirty="0" smtClean="0">
                <a:solidFill>
                  <a:schemeClr val="tx2"/>
                </a:solidFill>
                <a:latin typeface="ＭＳ Ｐゴシック" panose="020B0600070205080204" pitchFamily="50" charset="-128"/>
                <a:ea typeface="ＭＳ Ｐゴシック" panose="020B0600070205080204" pitchFamily="50" charset="-128"/>
              </a:rPr>
              <a:t>維持管理</a:t>
            </a:r>
            <a:endParaRPr lang="en-IN" sz="1200" dirty="0">
              <a:solidFill>
                <a:schemeClr val="tx2"/>
              </a:solidFill>
              <a:latin typeface="ＭＳ Ｐゴシック" panose="020B0600070205080204" pitchFamily="50" charset="-128"/>
              <a:ea typeface="ＭＳ Ｐゴシック" panose="020B0600070205080204" pitchFamily="50" charset="-128"/>
            </a:endParaRPr>
          </a:p>
        </p:txBody>
      </p:sp>
      <p:sp>
        <p:nvSpPr>
          <p:cNvPr id="64" name="Rounded Rectangle 63"/>
          <p:cNvSpPr/>
          <p:nvPr/>
        </p:nvSpPr>
        <p:spPr>
          <a:xfrm>
            <a:off x="380648" y="4989696"/>
            <a:ext cx="961102" cy="152329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200" dirty="0" smtClean="0">
                <a:solidFill>
                  <a:schemeClr val="tx2"/>
                </a:solidFill>
                <a:latin typeface="ＭＳ Ｐゴシック" panose="020B0600070205080204" pitchFamily="50" charset="-128"/>
                <a:ea typeface="ＭＳ Ｐゴシック" panose="020B0600070205080204" pitchFamily="50" charset="-128"/>
              </a:rPr>
              <a:t>総合的ビジネスチャンス</a:t>
            </a:r>
            <a:endParaRPr lang="en-IN" sz="1200" dirty="0">
              <a:solidFill>
                <a:schemeClr val="tx2"/>
              </a:solidFill>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407989954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981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381000" y="134471"/>
            <a:ext cx="8347364" cy="609600"/>
          </a:xfrm>
        </p:spPr>
        <p:txBody>
          <a:bodyPr/>
          <a:lstStyle/>
          <a:p>
            <a:r>
              <a:rPr lang="ja-JP" altLang="en-US" dirty="0">
                <a:latin typeface="ＭＳ Ｐゴシック" panose="020B0600070205080204" pitchFamily="50" charset="-128"/>
                <a:ea typeface="ＭＳ Ｐゴシック" panose="020B0600070205080204" pitchFamily="50" charset="-128"/>
              </a:rPr>
              <a:t>汚物運搬・処理</a:t>
            </a:r>
            <a:r>
              <a:rPr lang="ja-JP" altLang="en-US" dirty="0" smtClean="0">
                <a:latin typeface="ＭＳ Ｐゴシック" panose="020B0600070205080204" pitchFamily="50" charset="-128"/>
                <a:ea typeface="ＭＳ Ｐゴシック" panose="020B0600070205080204" pitchFamily="50" charset="-128"/>
              </a:rPr>
              <a:t>インフラを建設す</a:t>
            </a:r>
            <a:r>
              <a:rPr lang="ja-JP" altLang="en-US" dirty="0">
                <a:latin typeface="ＭＳ Ｐゴシック" panose="020B0600070205080204" pitchFamily="50" charset="-128"/>
                <a:ea typeface="ＭＳ Ｐゴシック" panose="020B0600070205080204" pitchFamily="50" charset="-128"/>
              </a:rPr>
              <a:t>る</a:t>
            </a:r>
            <a:r>
              <a:rPr lang="ja-JP" altLang="en-US" dirty="0" smtClean="0">
                <a:latin typeface="ＭＳ Ｐゴシック" panose="020B0600070205080204" pitchFamily="50" charset="-128"/>
                <a:ea typeface="ＭＳ Ｐゴシック" panose="020B0600070205080204" pitchFamily="50" charset="-128"/>
              </a:rPr>
              <a:t>大規模</a:t>
            </a:r>
            <a:r>
              <a:rPr lang="ja-JP" altLang="en-US" dirty="0">
                <a:latin typeface="ＭＳ Ｐゴシック" panose="020B0600070205080204" pitchFamily="50" charset="-128"/>
                <a:ea typeface="ＭＳ Ｐゴシック" panose="020B0600070205080204" pitchFamily="50" charset="-128"/>
              </a:rPr>
              <a:t>下水処理</a:t>
            </a:r>
            <a:r>
              <a:rPr lang="ja-JP" altLang="en-US" dirty="0" smtClean="0">
                <a:latin typeface="ＭＳ Ｐゴシック" panose="020B0600070205080204" pitchFamily="50" charset="-128"/>
                <a:ea typeface="ＭＳ Ｐゴシック" panose="020B0600070205080204" pitchFamily="50" charset="-128"/>
              </a:rPr>
              <a:t>事業へ</a:t>
            </a:r>
            <a:r>
              <a:rPr lang="ja-JP" altLang="en-US" dirty="0">
                <a:latin typeface="ＭＳ Ｐゴシック" panose="020B0600070205080204" pitchFamily="50" charset="-128"/>
                <a:ea typeface="ＭＳ Ｐゴシック" panose="020B0600070205080204" pitchFamily="50" charset="-128"/>
              </a:rPr>
              <a:t>の</a:t>
            </a:r>
            <a:r>
              <a:rPr lang="ja-JP" altLang="en-US" dirty="0" smtClean="0">
                <a:latin typeface="ＭＳ Ｐゴシック" panose="020B0600070205080204" pitchFamily="50" charset="-128"/>
                <a:ea typeface="ＭＳ Ｐゴシック" panose="020B0600070205080204" pitchFamily="50" charset="-128"/>
              </a:rPr>
              <a:t>投資を</a:t>
            </a:r>
            <a:r>
              <a:rPr lang="ja-JP" altLang="en-US" dirty="0">
                <a:latin typeface="ＭＳ Ｐゴシック" panose="020B0600070205080204" pitchFamily="50" charset="-128"/>
                <a:ea typeface="ＭＳ Ｐゴシック" panose="020B0600070205080204" pitchFamily="50" charset="-128"/>
              </a:rPr>
              <a:t>行</a:t>
            </a:r>
            <a:r>
              <a:rPr lang="ja-JP" altLang="en-US" dirty="0" smtClean="0">
                <a:latin typeface="ＭＳ Ｐゴシック" panose="020B0600070205080204" pitchFamily="50" charset="-128"/>
                <a:ea typeface="ＭＳ Ｐゴシック" panose="020B0600070205080204" pitchFamily="50" charset="-128"/>
              </a:rPr>
              <a:t>う二</a:t>
            </a:r>
            <a:r>
              <a:rPr lang="ja-JP" altLang="en-US" dirty="0">
                <a:latin typeface="ＭＳ Ｐゴシック" panose="020B0600070205080204" pitchFamily="50" charset="-128"/>
                <a:ea typeface="ＭＳ Ｐゴシック" panose="020B0600070205080204" pitchFamily="50" charset="-128"/>
              </a:rPr>
              <a:t>国間・多国間の援助供与機関</a:t>
            </a:r>
            <a:endParaRPr lang="en-US" dirty="0">
              <a:latin typeface="ＭＳ Ｐゴシック" panose="020B0600070205080204" pitchFamily="50" charset="-128"/>
              <a:ea typeface="ＭＳ Ｐゴシック" panose="020B0600070205080204" pitchFamily="50" charset="-128"/>
            </a:endParaRPr>
          </a:p>
        </p:txBody>
      </p:sp>
      <p:sp>
        <p:nvSpPr>
          <p:cNvPr id="3" name="Text Placeholder 2"/>
          <p:cNvSpPr>
            <a:spLocks noGrp="1"/>
          </p:cNvSpPr>
          <p:nvPr>
            <p:ph type="body" sz="quarter" idx="37"/>
          </p:nvPr>
        </p:nvSpPr>
        <p:spPr/>
        <p:txBody>
          <a:bodyPr/>
          <a:lstStyle/>
          <a:p>
            <a:r>
              <a:rPr lang="ja-JP" altLang="en-US" dirty="0" smtClean="0">
                <a:latin typeface="Arial" panose="020B0604020202020204" pitchFamily="34" charset="0"/>
                <a:ea typeface="ＭＳ Ｐゴシック" panose="020B0600070205080204" pitchFamily="50" charset="-128"/>
                <a:cs typeface="Arial" panose="020B0604020202020204" pitchFamily="34" charset="0"/>
              </a:rPr>
              <a:t>出典：</a:t>
            </a:r>
            <a:r>
              <a:rPr lang="en-US" dirty="0" smtClean="0">
                <a:latin typeface="Arial" panose="020B0604020202020204" pitchFamily="34" charset="0"/>
                <a:ea typeface="ＭＳ Ｐゴシック" panose="020B0600070205080204" pitchFamily="50" charset="-128"/>
                <a:cs typeface="Arial" panose="020B0604020202020204" pitchFamily="34" charset="0"/>
              </a:rPr>
              <a:t>Dalberg analysis</a:t>
            </a:r>
            <a:endParaRPr 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TextBox 43"/>
          <p:cNvSpPr txBox="1"/>
          <p:nvPr/>
        </p:nvSpPr>
        <p:spPr>
          <a:xfrm>
            <a:off x="6876256" y="1124744"/>
            <a:ext cx="1620000" cy="198446"/>
          </a:xfrm>
          <a:prstGeom prst="rect">
            <a:avLst/>
          </a:prstGeom>
          <a:noFill/>
        </p:spPr>
        <p:txBody>
          <a:bodyPr wrap="square" lIns="0" tIns="0" rIns="0" bIns="0" rtlCol="0">
            <a:noAutofit/>
          </a:bodyPr>
          <a:lstStyle/>
          <a:p>
            <a:pPr marL="231775" indent="-231775"/>
            <a:r>
              <a:rPr lang="ja-JP" altLang="en-US" sz="1100" b="1" dirty="0" smtClean="0">
                <a:solidFill>
                  <a:srgbClr val="000000"/>
                </a:solidFill>
                <a:latin typeface="ＭＳ Ｐゴシック" panose="020B0600070205080204" pitchFamily="50" charset="-128"/>
                <a:ea typeface="ＭＳ Ｐゴシック" panose="020B0600070205080204" pitchFamily="50" charset="-128"/>
              </a:rPr>
              <a:t>投資の概要</a:t>
            </a:r>
            <a:endParaRPr lang="en-US" sz="1100" b="1" dirty="0" smtClean="0">
              <a:solidFill>
                <a:srgbClr val="000000"/>
              </a:solidFill>
              <a:latin typeface="ＭＳ Ｐゴシック" panose="020B0600070205080204" pitchFamily="50" charset="-128"/>
              <a:ea typeface="ＭＳ Ｐゴシック" panose="020B0600070205080204" pitchFamily="50" charset="-128"/>
            </a:endParaRPr>
          </a:p>
        </p:txBody>
      </p:sp>
      <p:sp>
        <p:nvSpPr>
          <p:cNvPr id="46" name="Rectangle 45"/>
          <p:cNvSpPr/>
          <p:nvPr/>
        </p:nvSpPr>
        <p:spPr>
          <a:xfrm>
            <a:off x="6948264" y="2029393"/>
            <a:ext cx="2016224" cy="448056"/>
          </a:xfrm>
          <a:prstGeom prst="rect">
            <a:avLst/>
          </a:prstGeom>
          <a:no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tIns="0" rIns="0" rtlCol="0" anchor="t" anchorCtr="0"/>
          <a:lstStyle/>
          <a:p>
            <a:r>
              <a:rPr lang="en-US" sz="1000" b="1" dirty="0" smtClean="0">
                <a:solidFill>
                  <a:srgbClr val="000000"/>
                </a:solidFill>
                <a:latin typeface="Arial" panose="020B0604020202020204" pitchFamily="34" charset="0"/>
                <a:ea typeface="ＭＳ Ｐゴシック" panose="020B0600070205080204" pitchFamily="50" charset="-128"/>
                <a:cs typeface="Arial" panose="020B0604020202020204" pitchFamily="34" charset="0"/>
              </a:rPr>
              <a:t>DFID (1)</a:t>
            </a:r>
          </a:p>
          <a:p>
            <a:r>
              <a:rPr lang="en-US" sz="1000" b="1" dirty="0" smtClean="0">
                <a:solidFill>
                  <a:srgbClr val="000000"/>
                </a:solidFill>
                <a:latin typeface="Arial" panose="020B0604020202020204" pitchFamily="34" charset="0"/>
                <a:ea typeface="ＭＳ Ｐゴシック" panose="020B0600070205080204" pitchFamily="50" charset="-128"/>
                <a:cs typeface="Arial" panose="020B0604020202020204" pitchFamily="34" charset="0"/>
              </a:rPr>
              <a:t>JICA、 ADB (5)</a:t>
            </a:r>
          </a:p>
        </p:txBody>
      </p:sp>
      <p:sp>
        <p:nvSpPr>
          <p:cNvPr id="50" name="TextBox 49"/>
          <p:cNvSpPr txBox="1"/>
          <p:nvPr/>
        </p:nvSpPr>
        <p:spPr>
          <a:xfrm>
            <a:off x="380648" y="1124744"/>
            <a:ext cx="6281795" cy="224028"/>
          </a:xfrm>
          <a:prstGeom prst="rect">
            <a:avLst/>
          </a:prstGeom>
          <a:noFill/>
        </p:spPr>
        <p:txBody>
          <a:bodyPr wrap="square" lIns="0" tIns="0" rIns="0" bIns="0" rtlCol="0">
            <a:noAutofit/>
          </a:bodyPr>
          <a:lstStyle/>
          <a:p>
            <a:pPr marL="231775" indent="-231775"/>
            <a:r>
              <a:rPr lang="ja-JP" altLang="en-US" sz="1100" b="1" dirty="0" smtClean="0">
                <a:solidFill>
                  <a:srgbClr val="000000"/>
                </a:solidFill>
                <a:latin typeface="ＭＳ Ｐゴシック" panose="020B0600070205080204" pitchFamily="50" charset="-128"/>
                <a:ea typeface="ＭＳ Ｐゴシック" panose="020B0600070205080204" pitchFamily="50" charset="-128"/>
              </a:rPr>
              <a:t>ビジネスチャンスの概要</a:t>
            </a:r>
            <a:endParaRPr lang="en-US" sz="1100" b="1" dirty="0" smtClean="0">
              <a:solidFill>
                <a:srgbClr val="000000"/>
              </a:solidFill>
              <a:latin typeface="ＭＳ Ｐゴシック" panose="020B0600070205080204" pitchFamily="50" charset="-128"/>
              <a:ea typeface="ＭＳ Ｐゴシック" panose="020B0600070205080204" pitchFamily="50" charset="-128"/>
            </a:endParaRPr>
          </a:p>
        </p:txBody>
      </p:sp>
      <p:cxnSp>
        <p:nvCxnSpPr>
          <p:cNvPr id="51" name="Straight Connector 50"/>
          <p:cNvCxnSpPr/>
          <p:nvPr/>
        </p:nvCxnSpPr>
        <p:spPr>
          <a:xfrm>
            <a:off x="380649" y="1353344"/>
            <a:ext cx="621792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5334000" y="899754"/>
            <a:ext cx="228600" cy="1524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000" dirty="0">
              <a:solidFill>
                <a:srgbClr val="FFFFFF"/>
              </a:solidFill>
            </a:endParaRPr>
          </a:p>
        </p:txBody>
      </p:sp>
      <p:sp>
        <p:nvSpPr>
          <p:cNvPr id="56" name="TextBox 55"/>
          <p:cNvSpPr txBox="1"/>
          <p:nvPr/>
        </p:nvSpPr>
        <p:spPr>
          <a:xfrm>
            <a:off x="5638800" y="883920"/>
            <a:ext cx="1686276" cy="182880"/>
          </a:xfrm>
          <a:prstGeom prst="rect">
            <a:avLst/>
          </a:prstGeom>
          <a:noFill/>
        </p:spPr>
        <p:txBody>
          <a:bodyPr wrap="square" lIns="0" tIns="0" rIns="0" bIns="0" rtlCol="0">
            <a:noAutofit/>
          </a:bodyPr>
          <a:lstStyle/>
          <a:p>
            <a:pPr marL="231775" indent="-231775"/>
            <a:r>
              <a:rPr lang="ja-JP" altLang="en-US" sz="1100" dirty="0" smtClean="0">
                <a:solidFill>
                  <a:srgbClr val="000000"/>
                </a:solidFill>
                <a:latin typeface="ＭＳ Ｐゴシック" panose="020B0600070205080204" pitchFamily="50" charset="-128"/>
                <a:ea typeface="ＭＳ Ｐゴシック" panose="020B0600070205080204" pitchFamily="50" charset="-128"/>
              </a:rPr>
              <a:t>現在の投資</a:t>
            </a:r>
            <a:endParaRPr lang="en-US" sz="1100" dirty="0" smtClean="0">
              <a:solidFill>
                <a:srgbClr val="000000"/>
              </a:solidFill>
              <a:latin typeface="ＭＳ Ｐゴシック" panose="020B0600070205080204" pitchFamily="50" charset="-128"/>
              <a:ea typeface="ＭＳ Ｐゴシック" panose="020B0600070205080204" pitchFamily="50" charset="-128"/>
            </a:endParaRPr>
          </a:p>
        </p:txBody>
      </p:sp>
      <p:sp>
        <p:nvSpPr>
          <p:cNvPr id="57" name="Rectangle 56"/>
          <p:cNvSpPr/>
          <p:nvPr/>
        </p:nvSpPr>
        <p:spPr>
          <a:xfrm>
            <a:off x="6984492" y="899754"/>
            <a:ext cx="228600" cy="1524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8" name="TextBox 57"/>
          <p:cNvSpPr txBox="1"/>
          <p:nvPr/>
        </p:nvSpPr>
        <p:spPr>
          <a:xfrm>
            <a:off x="7289292" y="883920"/>
            <a:ext cx="1686276" cy="182880"/>
          </a:xfrm>
          <a:prstGeom prst="rect">
            <a:avLst/>
          </a:prstGeom>
          <a:noFill/>
        </p:spPr>
        <p:txBody>
          <a:bodyPr wrap="square" lIns="0" tIns="0" rIns="0" bIns="0" rtlCol="0">
            <a:noAutofit/>
          </a:bodyPr>
          <a:lstStyle/>
          <a:p>
            <a:pPr marL="231775" indent="-231775"/>
            <a:r>
              <a:rPr lang="ja-JP" altLang="en-US" sz="1100" dirty="0" smtClean="0">
                <a:solidFill>
                  <a:srgbClr val="000000"/>
                </a:solidFill>
                <a:latin typeface="ＭＳ Ｐゴシック" panose="020B0600070205080204" pitchFamily="50" charset="-128"/>
                <a:ea typeface="ＭＳ Ｐゴシック" panose="020B0600070205080204" pitchFamily="50" charset="-128"/>
              </a:rPr>
              <a:t>見込まれる投資</a:t>
            </a:r>
            <a:endParaRPr lang="en-US" sz="1100" dirty="0" smtClean="0">
              <a:solidFill>
                <a:srgbClr val="000000"/>
              </a:solidFill>
              <a:latin typeface="ＭＳ Ｐゴシック" panose="020B0600070205080204" pitchFamily="50" charset="-128"/>
              <a:ea typeface="ＭＳ Ｐゴシック" panose="020B0600070205080204" pitchFamily="50" charset="-128"/>
            </a:endParaRPr>
          </a:p>
        </p:txBody>
      </p:sp>
      <p:cxnSp>
        <p:nvCxnSpPr>
          <p:cNvPr id="89" name="Straight Connector 88"/>
          <p:cNvCxnSpPr/>
          <p:nvPr/>
        </p:nvCxnSpPr>
        <p:spPr>
          <a:xfrm>
            <a:off x="6876256" y="1359940"/>
            <a:ext cx="15956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8" name="Rectangle 87"/>
          <p:cNvSpPr/>
          <p:nvPr/>
        </p:nvSpPr>
        <p:spPr>
          <a:xfrm>
            <a:off x="5256256" y="4989697"/>
            <a:ext cx="1620000"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latin typeface="ＭＳ Ｐゴシック" panose="020B0600070205080204" pitchFamily="50" charset="-128"/>
                <a:ea typeface="ＭＳ Ｐゴシック" panose="020B0600070205080204" pitchFamily="50" charset="-128"/>
              </a:rPr>
              <a:t>下水道処理場の設置（</a:t>
            </a:r>
            <a:r>
              <a:rPr lang="en-US" altLang="ja-JP" sz="1000" dirty="0" smtClean="0">
                <a:solidFill>
                  <a:schemeClr val="tx1"/>
                </a:solidFill>
                <a:latin typeface="ＭＳ Ｐゴシック" panose="020B0600070205080204" pitchFamily="50" charset="-128"/>
                <a:ea typeface="ＭＳ Ｐゴシック" panose="020B0600070205080204" pitchFamily="50" charset="-128"/>
              </a:rPr>
              <a:t>#11</a:t>
            </a:r>
            <a:r>
              <a:rPr lang="ja-JP" altLang="en-US" sz="1000" dirty="0" smtClean="0">
                <a:solidFill>
                  <a:schemeClr val="tx1"/>
                </a:solidFill>
                <a:latin typeface="ＭＳ Ｐゴシック" panose="020B0600070205080204" pitchFamily="50" charset="-128"/>
                <a:ea typeface="ＭＳ Ｐゴシック" panose="020B0600070205080204" pitchFamily="50" charset="-128"/>
              </a:rPr>
              <a:t>）と運営（</a:t>
            </a:r>
            <a:r>
              <a:rPr lang="en-US" altLang="ja-JP" sz="1000" dirty="0" smtClean="0">
                <a:solidFill>
                  <a:schemeClr val="tx1"/>
                </a:solidFill>
                <a:latin typeface="ＭＳ Ｐゴシック" panose="020B0600070205080204" pitchFamily="50" charset="-128"/>
                <a:ea typeface="ＭＳ Ｐゴシック" panose="020B0600070205080204" pitchFamily="50" charset="-128"/>
              </a:rPr>
              <a:t>#12</a:t>
            </a:r>
            <a:r>
              <a:rPr lang="ja-JP" altLang="en-US" sz="1000" dirty="0" smtClean="0">
                <a:solidFill>
                  <a:schemeClr val="tx1"/>
                </a:solidFill>
                <a:latin typeface="ＭＳ Ｐゴシック" panose="020B0600070205080204" pitchFamily="50" charset="-128"/>
                <a:ea typeface="ＭＳ Ｐゴシック" panose="020B0600070205080204" pitchFamily="50" charset="-128"/>
              </a:rPr>
              <a:t>）</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90" name="Rectangle 89"/>
          <p:cNvSpPr/>
          <p:nvPr/>
        </p:nvSpPr>
        <p:spPr>
          <a:xfrm>
            <a:off x="1534024" y="5533599"/>
            <a:ext cx="5342231" cy="433496"/>
          </a:xfrm>
          <a:prstGeom prst="rect">
            <a:avLst/>
          </a:prstGeom>
          <a:solidFill>
            <a:schemeClr val="tx2">
              <a:lumMod val="20000"/>
              <a:lumOff val="80000"/>
            </a:schemeClr>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latin typeface="ＭＳ Ｐゴシック" panose="020B0600070205080204" pitchFamily="50" charset="-128"/>
                <a:ea typeface="ＭＳ Ｐゴシック" panose="020B0600070205080204" pitchFamily="50" charset="-128"/>
              </a:rPr>
              <a:t>浄化槽の改修（</a:t>
            </a:r>
            <a:r>
              <a:rPr lang="en-US" altLang="ja-JP" sz="1000" dirty="0" smtClean="0">
                <a:solidFill>
                  <a:schemeClr val="tx1"/>
                </a:solidFill>
                <a:latin typeface="ＭＳ Ｐゴシック" panose="020B0600070205080204" pitchFamily="50" charset="-128"/>
                <a:ea typeface="ＭＳ Ｐゴシック" panose="020B0600070205080204" pitchFamily="50" charset="-128"/>
              </a:rPr>
              <a:t>#3</a:t>
            </a:r>
            <a:r>
              <a:rPr lang="ja-JP" altLang="en-US" sz="1000" dirty="0" smtClean="0">
                <a:solidFill>
                  <a:schemeClr val="tx1"/>
                </a:solidFill>
                <a:latin typeface="ＭＳ Ｐゴシック" panose="020B0600070205080204" pitchFamily="50" charset="-128"/>
                <a:ea typeface="ＭＳ Ｐゴシック" panose="020B0600070205080204" pitchFamily="50" charset="-128"/>
              </a:rPr>
              <a:t>）、汚泥管理（</a:t>
            </a:r>
            <a:r>
              <a:rPr lang="en-US" altLang="ja-JP" sz="1000" dirty="0" smtClean="0">
                <a:solidFill>
                  <a:schemeClr val="tx1"/>
                </a:solidFill>
                <a:latin typeface="ＭＳ Ｐゴシック" panose="020B0600070205080204" pitchFamily="50" charset="-128"/>
                <a:ea typeface="ＭＳ Ｐゴシック" panose="020B0600070205080204" pitchFamily="50" charset="-128"/>
              </a:rPr>
              <a:t>#7</a:t>
            </a:r>
            <a:r>
              <a:rPr lang="ja-JP" altLang="en-US" sz="1000" dirty="0" smtClean="0">
                <a:solidFill>
                  <a:schemeClr val="tx1"/>
                </a:solidFill>
                <a:latin typeface="ＭＳ Ｐゴシック" panose="020B0600070205080204" pitchFamily="50" charset="-128"/>
                <a:ea typeface="ＭＳ Ｐゴシック" panose="020B0600070205080204" pitchFamily="50" charset="-128"/>
              </a:rPr>
              <a:t>）、汚水処理場の設置（</a:t>
            </a:r>
            <a:r>
              <a:rPr lang="en-US" altLang="ja-JP" sz="1000" dirty="0" smtClean="0">
                <a:solidFill>
                  <a:schemeClr val="tx1"/>
                </a:solidFill>
                <a:latin typeface="ＭＳ Ｐゴシック" panose="020B0600070205080204" pitchFamily="50" charset="-128"/>
                <a:ea typeface="ＭＳ Ｐゴシック" panose="020B0600070205080204" pitchFamily="50" charset="-128"/>
              </a:rPr>
              <a:t>#9</a:t>
            </a:r>
            <a:r>
              <a:rPr lang="ja-JP" altLang="en-US" sz="1000" dirty="0" smtClean="0">
                <a:solidFill>
                  <a:schemeClr val="tx1"/>
                </a:solidFill>
                <a:latin typeface="ＭＳ Ｐゴシック" panose="020B0600070205080204" pitchFamily="50" charset="-128"/>
                <a:ea typeface="ＭＳ Ｐゴシック" panose="020B0600070205080204" pitchFamily="50" charset="-128"/>
              </a:rPr>
              <a:t>）をはじめとする、総合的な汚泥管理計画</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91" name="Rectangle 90"/>
          <p:cNvSpPr/>
          <p:nvPr/>
        </p:nvSpPr>
        <p:spPr>
          <a:xfrm>
            <a:off x="1534024" y="4989697"/>
            <a:ext cx="1620000"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latin typeface="ＭＳ Ｐゴシック" panose="020B0600070205080204" pitchFamily="50" charset="-128"/>
                <a:ea typeface="ＭＳ Ｐゴシック" panose="020B0600070205080204" pitchFamily="50" charset="-128"/>
              </a:rPr>
              <a:t>コミュニティ・トイレの設置（</a:t>
            </a:r>
            <a:r>
              <a:rPr lang="en-US" altLang="ja-JP" sz="1000" dirty="0" smtClean="0">
                <a:solidFill>
                  <a:schemeClr val="tx1"/>
                </a:solidFill>
                <a:latin typeface="ＭＳ Ｐゴシック" panose="020B0600070205080204" pitchFamily="50" charset="-128"/>
                <a:ea typeface="ＭＳ Ｐゴシック" panose="020B0600070205080204" pitchFamily="50" charset="-128"/>
              </a:rPr>
              <a:t>#2</a:t>
            </a:r>
            <a:r>
              <a:rPr lang="ja-JP" altLang="en-US" sz="1000" dirty="0" smtClean="0">
                <a:solidFill>
                  <a:schemeClr val="tx1"/>
                </a:solidFill>
                <a:latin typeface="ＭＳ Ｐゴシック" panose="020B0600070205080204" pitchFamily="50" charset="-128"/>
                <a:ea typeface="ＭＳ Ｐゴシック" panose="020B0600070205080204" pitchFamily="50" charset="-128"/>
              </a:rPr>
              <a:t>）と維持管理（</a:t>
            </a:r>
            <a:r>
              <a:rPr lang="en-US" altLang="ja-JP" sz="1000" dirty="0" smtClean="0">
                <a:solidFill>
                  <a:schemeClr val="tx1"/>
                </a:solidFill>
                <a:latin typeface="ＭＳ Ｐゴシック" panose="020B0600070205080204" pitchFamily="50" charset="-128"/>
                <a:ea typeface="ＭＳ Ｐゴシック" panose="020B0600070205080204" pitchFamily="50" charset="-128"/>
              </a:rPr>
              <a:t>#4</a:t>
            </a:r>
            <a:r>
              <a:rPr lang="ja-JP" altLang="en-US" sz="1000" dirty="0" smtClean="0">
                <a:solidFill>
                  <a:schemeClr val="tx1"/>
                </a:solidFill>
                <a:latin typeface="ＭＳ Ｐゴシック" panose="020B0600070205080204" pitchFamily="50" charset="-128"/>
                <a:ea typeface="ＭＳ Ｐゴシック" panose="020B0600070205080204" pitchFamily="50" charset="-128"/>
              </a:rPr>
              <a:t>）</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cxnSp>
        <p:nvCxnSpPr>
          <p:cNvPr id="92" name="Straight Connector 91"/>
          <p:cNvCxnSpPr/>
          <p:nvPr/>
        </p:nvCxnSpPr>
        <p:spPr>
          <a:xfrm>
            <a:off x="441144" y="3703083"/>
            <a:ext cx="6255307" cy="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93" name="Rectangle 92"/>
          <p:cNvSpPr/>
          <p:nvPr/>
        </p:nvSpPr>
        <p:spPr>
          <a:xfrm>
            <a:off x="1534024" y="2608824"/>
            <a:ext cx="1620000" cy="433496"/>
          </a:xfrm>
          <a:prstGeom prst="rect">
            <a:avLst/>
          </a:prstGeom>
          <a:solidFill>
            <a:schemeClr val="accent3">
              <a:lumMod val="40000"/>
              <a:lumOff val="60000"/>
            </a:schemeClr>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900" dirty="0" smtClean="0">
                <a:solidFill>
                  <a:schemeClr val="tx1"/>
                </a:solidFill>
                <a:latin typeface="ＭＳ Ｐゴシック" panose="020B0600070205080204" pitchFamily="50" charset="-128"/>
                <a:ea typeface="ＭＳ Ｐゴシック" panose="020B0600070205080204" pitchFamily="50" charset="-128"/>
              </a:rPr>
              <a:t>浄化槽や下水道とつながった新しいコミュニティ・トイレ／公衆トイレの設置</a:t>
            </a:r>
            <a:endParaRPr lang="en-US" sz="900" dirty="0">
              <a:solidFill>
                <a:schemeClr val="tx1"/>
              </a:solidFill>
              <a:latin typeface="ＭＳ Ｐゴシック" panose="020B0600070205080204" pitchFamily="50" charset="-128"/>
              <a:ea typeface="ＭＳ Ｐゴシック" panose="020B0600070205080204" pitchFamily="50" charset="-128"/>
            </a:endParaRPr>
          </a:p>
        </p:txBody>
      </p:sp>
      <p:sp>
        <p:nvSpPr>
          <p:cNvPr id="94" name="Rectangle 93"/>
          <p:cNvSpPr/>
          <p:nvPr/>
        </p:nvSpPr>
        <p:spPr>
          <a:xfrm>
            <a:off x="5256256" y="2608824"/>
            <a:ext cx="1620000"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latin typeface="ＭＳ Ｐゴシック" panose="020B0600070205080204" pitchFamily="50" charset="-128"/>
                <a:ea typeface="ＭＳ Ｐゴシック" panose="020B0600070205080204" pitchFamily="50" charset="-128"/>
              </a:rPr>
              <a:t>排水処理場の設置</a:t>
            </a:r>
            <a:endParaRPr lang="en-US" sz="1000" baseline="30000" dirty="0">
              <a:solidFill>
                <a:schemeClr val="tx1"/>
              </a:solidFill>
              <a:latin typeface="ＭＳ Ｐゴシック" panose="020B0600070205080204" pitchFamily="50" charset="-128"/>
              <a:ea typeface="ＭＳ Ｐゴシック" panose="020B0600070205080204" pitchFamily="50" charset="-128"/>
            </a:endParaRPr>
          </a:p>
        </p:txBody>
      </p:sp>
      <p:sp>
        <p:nvSpPr>
          <p:cNvPr id="95" name="Rectangle 94"/>
          <p:cNvSpPr/>
          <p:nvPr/>
        </p:nvSpPr>
        <p:spPr>
          <a:xfrm>
            <a:off x="3395141" y="2608824"/>
            <a:ext cx="1620000"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latin typeface="ＭＳ Ｐゴシック" panose="020B0600070205080204" pitchFamily="50" charset="-128"/>
                <a:ea typeface="ＭＳ Ｐゴシック" panose="020B0600070205080204" pitchFamily="50" charset="-128"/>
              </a:rPr>
              <a:t>排水穴と前沈殿下水道の設置</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96" name="Rectangle 95"/>
          <p:cNvSpPr/>
          <p:nvPr/>
        </p:nvSpPr>
        <p:spPr>
          <a:xfrm>
            <a:off x="1534024" y="2031336"/>
            <a:ext cx="1620000" cy="411239"/>
          </a:xfrm>
          <a:prstGeom prst="rect">
            <a:avLst/>
          </a:prstGeom>
          <a:solidFill>
            <a:schemeClr val="accent3">
              <a:lumMod val="40000"/>
              <a:lumOff val="60000"/>
            </a:schemeClr>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900" dirty="0" smtClean="0">
                <a:solidFill>
                  <a:schemeClr val="tx1"/>
                </a:solidFill>
                <a:latin typeface="ＭＳ Ｐゴシック" panose="020B0600070205080204" pitchFamily="50" charset="-128"/>
                <a:ea typeface="ＭＳ Ｐゴシック" panose="020B0600070205080204" pitchFamily="50" charset="-128"/>
              </a:rPr>
              <a:t>浄化槽や下水道とつながった新しい共同トイレ／個別トイレの設置</a:t>
            </a:r>
            <a:endParaRPr lang="en-US" sz="900" dirty="0">
              <a:solidFill>
                <a:schemeClr val="tx1"/>
              </a:solidFill>
              <a:latin typeface="ＭＳ Ｐゴシック" panose="020B0600070205080204" pitchFamily="50" charset="-128"/>
              <a:ea typeface="ＭＳ Ｐゴシック" panose="020B0600070205080204" pitchFamily="50" charset="-128"/>
            </a:endParaRPr>
          </a:p>
        </p:txBody>
      </p:sp>
      <p:sp>
        <p:nvSpPr>
          <p:cNvPr id="97" name="Rectangle 96"/>
          <p:cNvSpPr/>
          <p:nvPr/>
        </p:nvSpPr>
        <p:spPr>
          <a:xfrm>
            <a:off x="3395141" y="2031336"/>
            <a:ext cx="1620000"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latin typeface="ＭＳ Ｐゴシック" panose="020B0600070205080204" pitchFamily="50" charset="-128"/>
                <a:ea typeface="ＭＳ Ｐゴシック" panose="020B0600070205080204" pitchFamily="50" charset="-128"/>
              </a:rPr>
              <a:t>下水道ネットワークの設置</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98" name="Rectangle 97"/>
          <p:cNvSpPr/>
          <p:nvPr/>
        </p:nvSpPr>
        <p:spPr>
          <a:xfrm>
            <a:off x="5256256" y="2031336"/>
            <a:ext cx="1620000" cy="433496"/>
          </a:xfrm>
          <a:prstGeom prst="rect">
            <a:avLst/>
          </a:prstGeom>
          <a:solidFill>
            <a:schemeClr val="bg1"/>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latin typeface="ＭＳ Ｐゴシック" panose="020B0600070205080204" pitchFamily="50" charset="-128"/>
                <a:ea typeface="ＭＳ Ｐゴシック" panose="020B0600070205080204" pitchFamily="50" charset="-128"/>
              </a:rPr>
              <a:t>汚水処理場の設置</a:t>
            </a:r>
            <a:endParaRPr lang="en-US" sz="1000" baseline="30000" dirty="0">
              <a:solidFill>
                <a:schemeClr val="tx1"/>
              </a:solidFill>
              <a:latin typeface="ＭＳ Ｐゴシック" panose="020B0600070205080204" pitchFamily="50" charset="-128"/>
              <a:ea typeface="ＭＳ Ｐゴシック" panose="020B0600070205080204" pitchFamily="50" charset="-128"/>
            </a:endParaRPr>
          </a:p>
        </p:txBody>
      </p:sp>
      <p:sp>
        <p:nvSpPr>
          <p:cNvPr id="100" name="Rectangle 99"/>
          <p:cNvSpPr/>
          <p:nvPr/>
        </p:nvSpPr>
        <p:spPr>
          <a:xfrm>
            <a:off x="3395141" y="4363656"/>
            <a:ext cx="1620000" cy="433496"/>
          </a:xfrm>
          <a:prstGeom prst="rect">
            <a:avLst/>
          </a:prstGeom>
          <a:solidFill>
            <a:schemeClr val="bg1"/>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latin typeface="ＭＳ Ｐゴシック" panose="020B0600070205080204" pitchFamily="50" charset="-128"/>
                <a:ea typeface="ＭＳ Ｐゴシック" panose="020B0600070205080204" pitchFamily="50" charset="-128"/>
              </a:rPr>
              <a:t>下水道ネットワークの管理</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cxnSp>
        <p:nvCxnSpPr>
          <p:cNvPr id="102" name="Straight Connector 101"/>
          <p:cNvCxnSpPr/>
          <p:nvPr/>
        </p:nvCxnSpPr>
        <p:spPr>
          <a:xfrm>
            <a:off x="450293" y="4848437"/>
            <a:ext cx="6255307" cy="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03" name="Oval 102"/>
          <p:cNvSpPr/>
          <p:nvPr/>
        </p:nvSpPr>
        <p:spPr>
          <a:xfrm>
            <a:off x="1371717" y="1956322"/>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rgbClr val="FFFFFF"/>
                </a:solidFill>
              </a:rPr>
              <a:t>1</a:t>
            </a:r>
          </a:p>
        </p:txBody>
      </p:sp>
      <p:sp>
        <p:nvSpPr>
          <p:cNvPr id="104" name="Oval 103"/>
          <p:cNvSpPr/>
          <p:nvPr/>
        </p:nvSpPr>
        <p:spPr>
          <a:xfrm>
            <a:off x="1371717" y="2546064"/>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2</a:t>
            </a:r>
            <a:endParaRPr lang="en-US" sz="1000" dirty="0">
              <a:solidFill>
                <a:srgbClr val="FFFFFF"/>
              </a:solidFill>
            </a:endParaRPr>
          </a:p>
        </p:txBody>
      </p:sp>
      <p:sp>
        <p:nvSpPr>
          <p:cNvPr id="105" name="Rectangle 104"/>
          <p:cNvSpPr/>
          <p:nvPr/>
        </p:nvSpPr>
        <p:spPr>
          <a:xfrm>
            <a:off x="1534024" y="3809602"/>
            <a:ext cx="1620000" cy="433495"/>
          </a:xfrm>
          <a:prstGeom prst="rect">
            <a:avLst/>
          </a:prstGeom>
          <a:solidFill>
            <a:schemeClr val="bg1"/>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latin typeface="ＭＳ Ｐゴシック" panose="020B0600070205080204" pitchFamily="50" charset="-128"/>
                <a:ea typeface="ＭＳ Ｐゴシック" panose="020B0600070205080204" pitchFamily="50" charset="-128"/>
              </a:rPr>
              <a:t>コミュニティ・トイレと公衆トイレの維持管理</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106" name="Oval 105"/>
          <p:cNvSpPr/>
          <p:nvPr/>
        </p:nvSpPr>
        <p:spPr>
          <a:xfrm>
            <a:off x="1371717" y="3713676"/>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rgbClr val="FFFFFF"/>
                </a:solidFill>
              </a:rPr>
              <a:t>4</a:t>
            </a:r>
          </a:p>
        </p:txBody>
      </p:sp>
      <p:sp>
        <p:nvSpPr>
          <p:cNvPr id="107" name="Oval 106"/>
          <p:cNvSpPr/>
          <p:nvPr/>
        </p:nvSpPr>
        <p:spPr>
          <a:xfrm>
            <a:off x="3246020" y="2546064"/>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rgbClr val="FFFFFF"/>
                </a:solidFill>
              </a:rPr>
              <a:t>6</a:t>
            </a:r>
          </a:p>
        </p:txBody>
      </p:sp>
      <p:sp>
        <p:nvSpPr>
          <p:cNvPr id="108" name="Rectangle 107"/>
          <p:cNvSpPr/>
          <p:nvPr/>
        </p:nvSpPr>
        <p:spPr>
          <a:xfrm>
            <a:off x="3395141" y="3809602"/>
            <a:ext cx="1620000"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latin typeface="ＭＳ Ｐゴシック" panose="020B0600070205080204" pitchFamily="50" charset="-128"/>
                <a:ea typeface="ＭＳ Ｐゴシック" panose="020B0600070205080204" pitchFamily="50" charset="-128"/>
              </a:rPr>
              <a:t>汚泥の管理</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109" name="Oval 108"/>
          <p:cNvSpPr/>
          <p:nvPr/>
        </p:nvSpPr>
        <p:spPr>
          <a:xfrm>
            <a:off x="3246020" y="3713676"/>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7</a:t>
            </a:r>
            <a:endParaRPr lang="en-US" sz="1000" dirty="0">
              <a:solidFill>
                <a:srgbClr val="FFFFFF"/>
              </a:solidFill>
            </a:endParaRPr>
          </a:p>
        </p:txBody>
      </p:sp>
      <p:sp>
        <p:nvSpPr>
          <p:cNvPr id="110" name="Oval 109"/>
          <p:cNvSpPr/>
          <p:nvPr/>
        </p:nvSpPr>
        <p:spPr>
          <a:xfrm>
            <a:off x="3246020" y="4289746"/>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rgbClr val="FFFFFF"/>
                </a:solidFill>
              </a:rPr>
              <a:t>8</a:t>
            </a:r>
          </a:p>
        </p:txBody>
      </p:sp>
      <p:sp>
        <p:nvSpPr>
          <p:cNvPr id="111" name="Oval 110"/>
          <p:cNvSpPr/>
          <p:nvPr/>
        </p:nvSpPr>
        <p:spPr>
          <a:xfrm>
            <a:off x="3246020" y="1958685"/>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rgbClr val="FFFFFF"/>
                </a:solidFill>
              </a:rPr>
              <a:t>5</a:t>
            </a:r>
          </a:p>
        </p:txBody>
      </p:sp>
      <p:sp>
        <p:nvSpPr>
          <p:cNvPr id="112" name="Oval 111"/>
          <p:cNvSpPr/>
          <p:nvPr/>
        </p:nvSpPr>
        <p:spPr>
          <a:xfrm>
            <a:off x="5121432" y="1958685"/>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rgbClr val="FFFFFF"/>
                </a:solidFill>
              </a:rPr>
              <a:t>9</a:t>
            </a:r>
          </a:p>
        </p:txBody>
      </p:sp>
      <p:sp>
        <p:nvSpPr>
          <p:cNvPr id="114" name="Oval 113"/>
          <p:cNvSpPr/>
          <p:nvPr/>
        </p:nvSpPr>
        <p:spPr>
          <a:xfrm>
            <a:off x="5121432" y="2546064"/>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0</a:t>
            </a:r>
            <a:endParaRPr lang="en-US" sz="1000" dirty="0">
              <a:solidFill>
                <a:srgbClr val="FFFFFF"/>
              </a:solidFill>
            </a:endParaRPr>
          </a:p>
        </p:txBody>
      </p:sp>
      <p:sp>
        <p:nvSpPr>
          <p:cNvPr id="115" name="Rectangle 114"/>
          <p:cNvSpPr/>
          <p:nvPr/>
        </p:nvSpPr>
        <p:spPr>
          <a:xfrm>
            <a:off x="5256256" y="3809602"/>
            <a:ext cx="1620000" cy="433496"/>
          </a:xfrm>
          <a:prstGeom prst="rect">
            <a:avLst/>
          </a:prstGeom>
          <a:solidFill>
            <a:schemeClr val="bg1"/>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latin typeface="ＭＳ Ｐゴシック" panose="020B0600070205080204" pitchFamily="50" charset="-128"/>
                <a:ea typeface="ＭＳ Ｐゴシック" panose="020B0600070205080204" pitchFamily="50" charset="-128"/>
              </a:rPr>
              <a:t>下水処理場の維持管理</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116" name="Oval 115"/>
          <p:cNvSpPr/>
          <p:nvPr/>
        </p:nvSpPr>
        <p:spPr>
          <a:xfrm>
            <a:off x="5121432" y="3713676"/>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2</a:t>
            </a:r>
            <a:endParaRPr lang="en-US" sz="1000" dirty="0">
              <a:solidFill>
                <a:srgbClr val="FFFFFF"/>
              </a:solidFill>
            </a:endParaRPr>
          </a:p>
        </p:txBody>
      </p:sp>
      <p:sp>
        <p:nvSpPr>
          <p:cNvPr id="117" name="Oval 116"/>
          <p:cNvSpPr/>
          <p:nvPr/>
        </p:nvSpPr>
        <p:spPr>
          <a:xfrm>
            <a:off x="1371717" y="5435728"/>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4</a:t>
            </a:r>
            <a:endParaRPr lang="en-US" sz="1000" dirty="0">
              <a:solidFill>
                <a:srgbClr val="FFFFFF"/>
              </a:solidFill>
            </a:endParaRPr>
          </a:p>
        </p:txBody>
      </p:sp>
      <p:sp>
        <p:nvSpPr>
          <p:cNvPr id="118" name="Oval 117"/>
          <p:cNvSpPr/>
          <p:nvPr/>
        </p:nvSpPr>
        <p:spPr>
          <a:xfrm>
            <a:off x="5121432" y="4919068"/>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6</a:t>
            </a:r>
            <a:endParaRPr lang="en-US" sz="1000" dirty="0">
              <a:solidFill>
                <a:srgbClr val="FFFFFF"/>
              </a:solidFill>
            </a:endParaRPr>
          </a:p>
        </p:txBody>
      </p:sp>
      <p:sp>
        <p:nvSpPr>
          <p:cNvPr id="119" name="Oval 118"/>
          <p:cNvSpPr/>
          <p:nvPr/>
        </p:nvSpPr>
        <p:spPr>
          <a:xfrm>
            <a:off x="1371717" y="4919068"/>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3</a:t>
            </a:r>
            <a:endParaRPr lang="en-US" sz="1000" dirty="0">
              <a:solidFill>
                <a:srgbClr val="FFFFFF"/>
              </a:solidFill>
            </a:endParaRPr>
          </a:p>
        </p:txBody>
      </p:sp>
      <p:sp>
        <p:nvSpPr>
          <p:cNvPr id="121" name="Chevron 120"/>
          <p:cNvSpPr/>
          <p:nvPr/>
        </p:nvSpPr>
        <p:spPr>
          <a:xfrm>
            <a:off x="1534025" y="1419326"/>
            <a:ext cx="1692000" cy="470866"/>
          </a:xfrm>
          <a:prstGeom prst="chevron">
            <a:avLst>
              <a:gd name="adj" fmla="val 20248"/>
            </a:avLst>
          </a:prstGeom>
          <a:solidFill>
            <a:srgbClr val="67103F"/>
          </a:solidFill>
          <a:ln w="9525">
            <a:noFill/>
          </a:ln>
        </p:spPr>
        <p:txBody>
          <a:bodyPr wrap="square" lIns="44450" tIns="131763" rIns="0" bIns="133350" anchor="ctr" anchorCtr="0">
            <a:noAutofit/>
          </a:bodyPr>
          <a:lstStyle/>
          <a:p>
            <a:pPr algn="ctr">
              <a:spcBef>
                <a:spcPct val="0"/>
              </a:spcBef>
              <a:spcAft>
                <a:spcPct val="0"/>
              </a:spcAft>
              <a:buFont typeface="Arial" pitchFamily="34" charset="0"/>
              <a:buNone/>
            </a:pPr>
            <a:r>
              <a:rPr lang="ja-JP" altLang="en-US" sz="1000" b="1" dirty="0" smtClean="0">
                <a:solidFill>
                  <a:srgbClr val="FFFFFF"/>
                </a:solidFill>
              </a:rPr>
              <a:t>アクセスと収集</a:t>
            </a:r>
            <a:endParaRPr lang="en-US" sz="1000" b="1" dirty="0">
              <a:solidFill>
                <a:srgbClr val="FFFFFF"/>
              </a:solidFill>
            </a:endParaRPr>
          </a:p>
        </p:txBody>
      </p:sp>
      <p:sp>
        <p:nvSpPr>
          <p:cNvPr id="122" name="Chevron 121"/>
          <p:cNvSpPr/>
          <p:nvPr/>
        </p:nvSpPr>
        <p:spPr>
          <a:xfrm>
            <a:off x="3395141" y="1419326"/>
            <a:ext cx="1692000" cy="470866"/>
          </a:xfrm>
          <a:prstGeom prst="chevron">
            <a:avLst>
              <a:gd name="adj" fmla="val 20248"/>
            </a:avLst>
          </a:prstGeom>
          <a:solidFill>
            <a:srgbClr val="67103F"/>
          </a:solidFill>
          <a:ln w="9525">
            <a:noFill/>
          </a:ln>
        </p:spPr>
        <p:txBody>
          <a:bodyPr wrap="square" lIns="44450" tIns="131763" rIns="0" bIns="133350" anchor="ctr" anchorCtr="0">
            <a:noAutofit/>
          </a:bodyPr>
          <a:lstStyle/>
          <a:p>
            <a:pPr algn="ctr">
              <a:spcBef>
                <a:spcPct val="0"/>
              </a:spcBef>
              <a:spcAft>
                <a:spcPct val="0"/>
              </a:spcAft>
              <a:buFont typeface="Arial" pitchFamily="34" charset="0"/>
              <a:buNone/>
            </a:pPr>
            <a:r>
              <a:rPr lang="ja-JP" altLang="en-US" sz="1000" b="1" dirty="0" smtClean="0">
                <a:solidFill>
                  <a:srgbClr val="FFFFFF"/>
                </a:solidFill>
              </a:rPr>
              <a:t>運搬</a:t>
            </a:r>
            <a:endParaRPr lang="en-US" sz="1000" b="1" dirty="0">
              <a:solidFill>
                <a:srgbClr val="FFFFFF"/>
              </a:solidFill>
            </a:endParaRPr>
          </a:p>
        </p:txBody>
      </p:sp>
      <p:sp>
        <p:nvSpPr>
          <p:cNvPr id="123" name="Chevron 122"/>
          <p:cNvSpPr/>
          <p:nvPr/>
        </p:nvSpPr>
        <p:spPr>
          <a:xfrm>
            <a:off x="5256256" y="1419326"/>
            <a:ext cx="1619999" cy="470866"/>
          </a:xfrm>
          <a:prstGeom prst="chevron">
            <a:avLst>
              <a:gd name="adj" fmla="val 20248"/>
            </a:avLst>
          </a:prstGeom>
          <a:solidFill>
            <a:srgbClr val="67103F"/>
          </a:solidFill>
          <a:ln w="9525">
            <a:noFill/>
          </a:ln>
        </p:spPr>
        <p:txBody>
          <a:bodyPr wrap="square" lIns="44450" tIns="131763" rIns="0" bIns="133350" anchor="ctr" anchorCtr="0">
            <a:noAutofit/>
          </a:bodyPr>
          <a:lstStyle/>
          <a:p>
            <a:pPr algn="ctr">
              <a:spcBef>
                <a:spcPct val="0"/>
              </a:spcBef>
              <a:spcAft>
                <a:spcPct val="0"/>
              </a:spcAft>
              <a:buFont typeface="Arial" pitchFamily="34" charset="0"/>
              <a:buNone/>
            </a:pPr>
            <a:r>
              <a:rPr lang="ja-JP" altLang="en-US" sz="1000" b="1" dirty="0" smtClean="0">
                <a:solidFill>
                  <a:srgbClr val="FFFFFF"/>
                </a:solidFill>
              </a:rPr>
              <a:t>処理と再利用</a:t>
            </a:r>
            <a:endParaRPr lang="en-US" sz="1000" b="1" dirty="0">
              <a:solidFill>
                <a:srgbClr val="FFFFFF"/>
              </a:solidFill>
            </a:endParaRPr>
          </a:p>
        </p:txBody>
      </p:sp>
      <p:sp>
        <p:nvSpPr>
          <p:cNvPr id="53" name="Rectangle 52"/>
          <p:cNvSpPr/>
          <p:nvPr/>
        </p:nvSpPr>
        <p:spPr>
          <a:xfrm>
            <a:off x="1534024" y="3155088"/>
            <a:ext cx="1620000"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latin typeface="ＭＳ Ｐゴシック" panose="020B0600070205080204" pitchFamily="50" charset="-128"/>
                <a:ea typeface="ＭＳ Ｐゴシック" panose="020B0600070205080204" pitchFamily="50" charset="-128"/>
              </a:rPr>
              <a:t>浄化槽の改修</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54" name="Oval 53"/>
          <p:cNvSpPr/>
          <p:nvPr/>
        </p:nvSpPr>
        <p:spPr>
          <a:xfrm>
            <a:off x="1371717" y="3079070"/>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3</a:t>
            </a:r>
            <a:endParaRPr lang="en-US" sz="1000" dirty="0">
              <a:solidFill>
                <a:srgbClr val="FFFFFF"/>
              </a:solidFill>
            </a:endParaRPr>
          </a:p>
        </p:txBody>
      </p:sp>
      <p:sp>
        <p:nvSpPr>
          <p:cNvPr id="55" name="Rounded Rectangle 54"/>
          <p:cNvSpPr/>
          <p:nvPr/>
        </p:nvSpPr>
        <p:spPr>
          <a:xfrm>
            <a:off x="381001" y="2031337"/>
            <a:ext cx="961102" cy="155724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200" dirty="0" smtClean="0">
                <a:solidFill>
                  <a:schemeClr val="tx2"/>
                </a:solidFill>
                <a:latin typeface="ＭＳ Ｐゴシック" panose="020B0600070205080204" pitchFamily="50" charset="-128"/>
                <a:ea typeface="ＭＳ Ｐゴシック" panose="020B0600070205080204" pitchFamily="50" charset="-128"/>
              </a:rPr>
              <a:t>設置</a:t>
            </a:r>
            <a:endParaRPr lang="en-IN" sz="1200" dirty="0">
              <a:solidFill>
                <a:schemeClr val="tx2"/>
              </a:solidFill>
              <a:latin typeface="ＭＳ Ｐゴシック" panose="020B0600070205080204" pitchFamily="50" charset="-128"/>
              <a:ea typeface="ＭＳ Ｐゴシック" panose="020B0600070205080204" pitchFamily="50" charset="-128"/>
            </a:endParaRPr>
          </a:p>
        </p:txBody>
      </p:sp>
      <p:sp>
        <p:nvSpPr>
          <p:cNvPr id="59" name="Rectangle 58"/>
          <p:cNvSpPr/>
          <p:nvPr/>
        </p:nvSpPr>
        <p:spPr>
          <a:xfrm>
            <a:off x="5256256" y="3155088"/>
            <a:ext cx="1620000" cy="433496"/>
          </a:xfrm>
          <a:prstGeom prst="rect">
            <a:avLst/>
          </a:prstGeom>
          <a:solidFill>
            <a:schemeClr val="accent3">
              <a:lumMod val="40000"/>
              <a:lumOff val="60000"/>
            </a:schemeClr>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latin typeface="ＭＳ Ｐゴシック" panose="020B0600070205080204" pitchFamily="50" charset="-128"/>
                <a:ea typeface="ＭＳ Ｐゴシック" panose="020B0600070205080204" pitchFamily="50" charset="-128"/>
              </a:rPr>
              <a:t>下水処理場の設置 </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60" name="Oval 59"/>
          <p:cNvSpPr/>
          <p:nvPr/>
        </p:nvSpPr>
        <p:spPr>
          <a:xfrm>
            <a:off x="5121432" y="3079070"/>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1</a:t>
            </a:r>
            <a:endParaRPr lang="en-US" sz="1000" dirty="0">
              <a:solidFill>
                <a:srgbClr val="FFFFFF"/>
              </a:solidFill>
            </a:endParaRPr>
          </a:p>
        </p:txBody>
      </p:sp>
      <p:sp>
        <p:nvSpPr>
          <p:cNvPr id="61" name="Rectangle 60"/>
          <p:cNvSpPr/>
          <p:nvPr/>
        </p:nvSpPr>
        <p:spPr>
          <a:xfrm>
            <a:off x="1534024" y="6079492"/>
            <a:ext cx="5342231"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latin typeface="ＭＳ Ｐゴシック" panose="020B0600070205080204" pitchFamily="50" charset="-128"/>
                <a:ea typeface="ＭＳ Ｐゴシック" panose="020B0600070205080204" pitchFamily="50" charset="-128"/>
              </a:rPr>
              <a:t>浄化槽の改修（</a:t>
            </a:r>
            <a:r>
              <a:rPr lang="en-US" altLang="ja-JP" sz="1000" dirty="0" smtClean="0">
                <a:solidFill>
                  <a:schemeClr val="tx1"/>
                </a:solidFill>
                <a:latin typeface="ＭＳ Ｐゴシック" panose="020B0600070205080204" pitchFamily="50" charset="-128"/>
                <a:ea typeface="ＭＳ Ｐゴシック" panose="020B0600070205080204" pitchFamily="50" charset="-128"/>
              </a:rPr>
              <a:t>#3</a:t>
            </a:r>
            <a:r>
              <a:rPr lang="ja-JP" altLang="en-US" sz="1000" dirty="0" smtClean="0">
                <a:solidFill>
                  <a:schemeClr val="tx1"/>
                </a:solidFill>
                <a:latin typeface="ＭＳ Ｐゴシック" panose="020B0600070205080204" pitchFamily="50" charset="-128"/>
                <a:ea typeface="ＭＳ Ｐゴシック" panose="020B0600070205080204" pitchFamily="50" charset="-128"/>
              </a:rPr>
              <a:t>）、汚泥の管理（</a:t>
            </a:r>
            <a:r>
              <a:rPr lang="en-US" altLang="ja-JP" sz="1000" dirty="0" smtClean="0">
                <a:solidFill>
                  <a:schemeClr val="tx1"/>
                </a:solidFill>
                <a:latin typeface="ＭＳ Ｐゴシック" panose="020B0600070205080204" pitchFamily="50" charset="-128"/>
                <a:ea typeface="ＭＳ Ｐゴシック" panose="020B0600070205080204" pitchFamily="50" charset="-128"/>
              </a:rPr>
              <a:t>#7</a:t>
            </a:r>
            <a:r>
              <a:rPr lang="ja-JP" altLang="en-US" sz="1000" dirty="0" smtClean="0">
                <a:solidFill>
                  <a:schemeClr val="tx1"/>
                </a:solidFill>
                <a:latin typeface="ＭＳ Ｐゴシック" panose="020B0600070205080204" pitchFamily="50" charset="-128"/>
                <a:ea typeface="ＭＳ Ｐゴシック" panose="020B0600070205080204" pitchFamily="50" charset="-128"/>
              </a:rPr>
              <a:t>）をはじめとする、総合的な前沈殿下水道と汚泥の管理計画 場の設置</a:t>
            </a:r>
            <a:r>
              <a:rPr lang="en-US" sz="1000" dirty="0" smtClean="0">
                <a:solidFill>
                  <a:schemeClr val="tx1"/>
                </a:solidFill>
                <a:latin typeface="ＭＳ Ｐゴシック" panose="020B0600070205080204" pitchFamily="50" charset="-128"/>
                <a:ea typeface="ＭＳ Ｐゴシック" panose="020B0600070205080204" pitchFamily="50" charset="-128"/>
              </a:rPr>
              <a:t> </a:t>
            </a:r>
            <a:r>
              <a:rPr lang="en-US" sz="1000" dirty="0">
                <a:solidFill>
                  <a:schemeClr val="tx1"/>
                </a:solidFill>
                <a:latin typeface="ＭＳ Ｐゴシック" panose="020B0600070205080204" pitchFamily="50" charset="-128"/>
                <a:ea typeface="ＭＳ Ｐゴシック" panose="020B0600070205080204" pitchFamily="50" charset="-128"/>
              </a:rPr>
              <a:t>(#10)</a:t>
            </a:r>
          </a:p>
        </p:txBody>
      </p:sp>
      <p:sp>
        <p:nvSpPr>
          <p:cNvPr id="62" name="Oval 61"/>
          <p:cNvSpPr/>
          <p:nvPr/>
        </p:nvSpPr>
        <p:spPr>
          <a:xfrm>
            <a:off x="1371717" y="5986680"/>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5</a:t>
            </a:r>
            <a:endParaRPr lang="en-US" sz="1000" dirty="0">
              <a:solidFill>
                <a:srgbClr val="FFFFFF"/>
              </a:solidFill>
            </a:endParaRPr>
          </a:p>
        </p:txBody>
      </p:sp>
      <p:sp>
        <p:nvSpPr>
          <p:cNvPr id="63" name="Rounded Rectangle 62"/>
          <p:cNvSpPr/>
          <p:nvPr/>
        </p:nvSpPr>
        <p:spPr>
          <a:xfrm>
            <a:off x="381001" y="3809602"/>
            <a:ext cx="961102" cy="98755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200" dirty="0">
                <a:solidFill>
                  <a:schemeClr val="tx2"/>
                </a:solidFill>
                <a:latin typeface="ＭＳ Ｐゴシック" panose="020B0600070205080204" pitchFamily="50" charset="-128"/>
                <a:ea typeface="ＭＳ Ｐゴシック" panose="020B0600070205080204" pitchFamily="50" charset="-128"/>
              </a:rPr>
              <a:t>維持管理</a:t>
            </a:r>
            <a:endParaRPr lang="en-IN" sz="1200" dirty="0">
              <a:solidFill>
                <a:schemeClr val="tx2"/>
              </a:solidFill>
              <a:latin typeface="ＭＳ Ｐゴシック" panose="020B0600070205080204" pitchFamily="50" charset="-128"/>
              <a:ea typeface="ＭＳ Ｐゴシック" panose="020B0600070205080204" pitchFamily="50" charset="-128"/>
            </a:endParaRPr>
          </a:p>
        </p:txBody>
      </p:sp>
      <p:sp>
        <p:nvSpPr>
          <p:cNvPr id="64" name="Rounded Rectangle 63"/>
          <p:cNvSpPr/>
          <p:nvPr/>
        </p:nvSpPr>
        <p:spPr>
          <a:xfrm>
            <a:off x="380648" y="4989696"/>
            <a:ext cx="961102" cy="152329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200" dirty="0">
                <a:solidFill>
                  <a:schemeClr val="tx2"/>
                </a:solidFill>
                <a:latin typeface="ＭＳ Ｐゴシック" panose="020B0600070205080204" pitchFamily="50" charset="-128"/>
                <a:ea typeface="ＭＳ Ｐゴシック" panose="020B0600070205080204" pitchFamily="50" charset="-128"/>
              </a:rPr>
              <a:t>総合的ビジネスチャンス</a:t>
            </a:r>
            <a:endParaRPr lang="en-IN" sz="1200" dirty="0">
              <a:solidFill>
                <a:schemeClr val="tx2"/>
              </a:solidFill>
              <a:latin typeface="ＭＳ Ｐゴシック" panose="020B0600070205080204" pitchFamily="50" charset="-128"/>
              <a:ea typeface="ＭＳ Ｐゴシック" panose="020B0600070205080204" pitchFamily="50" charset="-128"/>
            </a:endParaRPr>
          </a:p>
        </p:txBody>
      </p:sp>
      <p:sp>
        <p:nvSpPr>
          <p:cNvPr id="65" name="Rectangle 64"/>
          <p:cNvSpPr/>
          <p:nvPr/>
        </p:nvSpPr>
        <p:spPr>
          <a:xfrm>
            <a:off x="6948264" y="2608824"/>
            <a:ext cx="2016224" cy="448056"/>
          </a:xfrm>
          <a:prstGeom prst="rect">
            <a:avLst/>
          </a:prstGeom>
          <a:no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tIns="0" rIns="0" rtlCol="0" anchor="t" anchorCtr="0"/>
          <a:lstStyle/>
          <a:p>
            <a:r>
              <a:rPr 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JICA (2)</a:t>
            </a:r>
          </a:p>
        </p:txBody>
      </p:sp>
      <p:sp>
        <p:nvSpPr>
          <p:cNvPr id="66" name="Rectangle 65"/>
          <p:cNvSpPr/>
          <p:nvPr/>
        </p:nvSpPr>
        <p:spPr>
          <a:xfrm>
            <a:off x="6948264" y="3155088"/>
            <a:ext cx="2016224" cy="448056"/>
          </a:xfrm>
          <a:prstGeom prst="rect">
            <a:avLst/>
          </a:prstGeom>
          <a:no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tIns="0" rIns="0" rtlCol="0" anchor="t" anchorCtr="0"/>
          <a:lstStyle/>
          <a:p>
            <a:r>
              <a:rPr 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JICA 、 ADB (11)</a:t>
            </a:r>
          </a:p>
        </p:txBody>
      </p:sp>
      <p:sp>
        <p:nvSpPr>
          <p:cNvPr id="68" name="Rectangle 67"/>
          <p:cNvSpPr/>
          <p:nvPr/>
        </p:nvSpPr>
        <p:spPr>
          <a:xfrm>
            <a:off x="6948264" y="5533599"/>
            <a:ext cx="2016224" cy="448056"/>
          </a:xfrm>
          <a:prstGeom prst="rect">
            <a:avLst/>
          </a:prstGeom>
          <a:no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tIns="0" rIns="0" rtlCol="0" anchor="t" anchorCtr="0"/>
          <a:lstStyle/>
          <a:p>
            <a:r>
              <a:rPr 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JICA 、 ADB (14)</a:t>
            </a:r>
          </a:p>
        </p:txBody>
      </p:sp>
    </p:spTree>
    <p:extLst>
      <p:ext uri="{BB962C8B-B14F-4D97-AF65-F5344CB8AC3E}">
        <p14:creationId xmlns:p14="http://schemas.microsoft.com/office/powerpoint/2010/main" val="2372478762"/>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0842"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381000" y="134471"/>
            <a:ext cx="8347364" cy="609600"/>
          </a:xfrm>
        </p:spPr>
        <p:txBody>
          <a:bodyPr/>
          <a:lstStyle/>
          <a:p>
            <a:r>
              <a:rPr lang="ja-JP" altLang="ja-JP" dirty="0">
                <a:latin typeface="ＭＳ Ｐゴシック" panose="020B0600070205080204" pitchFamily="50" charset="-128"/>
                <a:ea typeface="ＭＳ Ｐゴシック" panose="020B0600070205080204" pitchFamily="50" charset="-128"/>
              </a:rPr>
              <a:t>世界の主な</a:t>
            </a:r>
            <a:r>
              <a:rPr lang="ja-JP" altLang="ja-JP" dirty="0" smtClean="0">
                <a:latin typeface="ＭＳ Ｐゴシック" panose="020B0600070205080204" pitchFamily="50" charset="-128"/>
                <a:ea typeface="ＭＳ Ｐゴシック" panose="020B0600070205080204" pitchFamily="50" charset="-128"/>
              </a:rPr>
              <a:t>基金</a:t>
            </a:r>
            <a:r>
              <a:rPr lang="ja-JP" altLang="en-US" dirty="0" smtClean="0">
                <a:latin typeface="ＭＳ Ｐゴシック" panose="020B0600070205080204" pitchFamily="50" charset="-128"/>
                <a:ea typeface="ＭＳ Ｐゴシック" panose="020B0600070205080204" pitchFamily="50" charset="-128"/>
              </a:rPr>
              <a:t>が</a:t>
            </a:r>
            <a:r>
              <a:rPr lang="ja-JP" altLang="ja-JP" dirty="0" smtClean="0">
                <a:latin typeface="ＭＳ Ｐゴシック" panose="020B0600070205080204" pitchFamily="50" charset="-128"/>
                <a:ea typeface="ＭＳ Ｐゴシック" panose="020B0600070205080204" pitchFamily="50" charset="-128"/>
              </a:rPr>
              <a:t>、</a:t>
            </a:r>
            <a:r>
              <a:rPr lang="ja-JP" altLang="ja-JP" dirty="0">
                <a:latin typeface="ＭＳ Ｐゴシック" panose="020B0600070205080204" pitchFamily="50" charset="-128"/>
                <a:ea typeface="ＭＳ Ｐゴシック" panose="020B0600070205080204" pitchFamily="50" charset="-128"/>
              </a:rPr>
              <a:t>下水設備の利用に関する</a:t>
            </a:r>
            <a:r>
              <a:rPr lang="ja-JP" altLang="ja-JP" dirty="0" smtClean="0">
                <a:latin typeface="ＭＳ Ｐゴシック" panose="020B0600070205080204" pitchFamily="50" charset="-128"/>
                <a:ea typeface="ＭＳ Ｐゴシック" panose="020B0600070205080204" pitchFamily="50" charset="-128"/>
              </a:rPr>
              <a:t>分散型ソリューション</a:t>
            </a:r>
            <a:r>
              <a:rPr lang="ja-JP" altLang="en-US" dirty="0" smtClean="0">
                <a:latin typeface="ＭＳ Ｐゴシック" panose="020B0600070205080204" pitchFamily="50" charset="-128"/>
                <a:ea typeface="ＭＳ Ｐゴシック" panose="020B0600070205080204" pitchFamily="50" charset="-128"/>
              </a:rPr>
              <a:t>提供</a:t>
            </a:r>
            <a:r>
              <a:rPr lang="ja-JP" altLang="ja-JP" dirty="0" smtClean="0">
                <a:latin typeface="ＭＳ Ｐゴシック" panose="020B0600070205080204" pitchFamily="50" charset="-128"/>
                <a:ea typeface="ＭＳ Ｐゴシック" panose="020B0600070205080204" pitchFamily="50" charset="-128"/>
              </a:rPr>
              <a:t>団体</a:t>
            </a:r>
            <a:r>
              <a:rPr lang="ja-JP" altLang="ja-JP" dirty="0">
                <a:latin typeface="ＭＳ Ｐゴシック" panose="020B0600070205080204" pitchFamily="50" charset="-128"/>
                <a:ea typeface="ＭＳ Ｐゴシック" panose="020B0600070205080204" pitchFamily="50" charset="-128"/>
              </a:rPr>
              <a:t>に</a:t>
            </a:r>
            <a:r>
              <a:rPr lang="ja-JP" altLang="ja-JP" dirty="0" smtClean="0">
                <a:latin typeface="ＭＳ Ｐゴシック" panose="020B0600070205080204" pitchFamily="50" charset="-128"/>
                <a:ea typeface="ＭＳ Ｐゴシック" panose="020B0600070205080204" pitchFamily="50" charset="-128"/>
              </a:rPr>
              <a:t>対して</a:t>
            </a:r>
            <a:r>
              <a:rPr lang="ja-JP" altLang="en-US" dirty="0" smtClean="0">
                <a:latin typeface="ＭＳ Ｐゴシック" panose="020B0600070205080204" pitchFamily="50" charset="-128"/>
                <a:ea typeface="ＭＳ Ｐゴシック" panose="020B0600070205080204" pitchFamily="50" charset="-128"/>
              </a:rPr>
              <a:t>財政的支援を行っている</a:t>
            </a:r>
            <a:endParaRPr lang="en-US" dirty="0">
              <a:latin typeface="ＭＳ Ｐゴシック" panose="020B0600070205080204" pitchFamily="50" charset="-128"/>
              <a:ea typeface="ＭＳ Ｐゴシック" panose="020B0600070205080204" pitchFamily="50" charset="-128"/>
            </a:endParaRPr>
          </a:p>
        </p:txBody>
      </p:sp>
      <p:sp>
        <p:nvSpPr>
          <p:cNvPr id="3" name="Text Placeholder 2"/>
          <p:cNvSpPr>
            <a:spLocks noGrp="1"/>
          </p:cNvSpPr>
          <p:nvPr>
            <p:ph type="body" sz="quarter" idx="37"/>
          </p:nvPr>
        </p:nvSpPr>
        <p:spPr/>
        <p:txBody>
          <a:bodyPr/>
          <a:lstStyle/>
          <a:p>
            <a:r>
              <a:rPr lang="ja-JP" altLang="en-US" dirty="0" smtClean="0">
                <a:latin typeface="Arial" panose="020B0604020202020204" pitchFamily="34" charset="0"/>
                <a:ea typeface="ＭＳ Ｐゴシック" panose="020B0600070205080204" pitchFamily="50" charset="-128"/>
                <a:cs typeface="Arial" panose="020B0604020202020204" pitchFamily="34" charset="0"/>
              </a:rPr>
              <a:t>出典：</a:t>
            </a:r>
            <a:r>
              <a:rPr lang="en-US" dirty="0" smtClean="0">
                <a:latin typeface="Arial" panose="020B0604020202020204" pitchFamily="34" charset="0"/>
                <a:ea typeface="ＭＳ Ｐゴシック" panose="020B0600070205080204" pitchFamily="50" charset="-128"/>
                <a:cs typeface="Arial" panose="020B0604020202020204" pitchFamily="34" charset="0"/>
              </a:rPr>
              <a:t>Dalberg analysis</a:t>
            </a:r>
            <a:endParaRPr 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TextBox 43"/>
          <p:cNvSpPr txBox="1"/>
          <p:nvPr/>
        </p:nvSpPr>
        <p:spPr>
          <a:xfrm>
            <a:off x="6876256" y="1124744"/>
            <a:ext cx="1620000" cy="198446"/>
          </a:xfrm>
          <a:prstGeom prst="rect">
            <a:avLst/>
          </a:prstGeom>
          <a:noFill/>
        </p:spPr>
        <p:txBody>
          <a:bodyPr wrap="square" lIns="0" tIns="0" rIns="0" bIns="0" rtlCol="0">
            <a:noAutofit/>
          </a:bodyPr>
          <a:lstStyle/>
          <a:p>
            <a:pPr marL="231775" indent="-231775"/>
            <a:r>
              <a:rPr lang="ja-JP" altLang="en-US" sz="1100" b="1" dirty="0" smtClean="0">
                <a:solidFill>
                  <a:srgbClr val="000000"/>
                </a:solidFill>
              </a:rPr>
              <a:t>投資の概要</a:t>
            </a:r>
            <a:endParaRPr lang="en-US" sz="1100" b="1" dirty="0" smtClean="0">
              <a:solidFill>
                <a:srgbClr val="000000"/>
              </a:solidFill>
            </a:endParaRPr>
          </a:p>
        </p:txBody>
      </p:sp>
      <p:sp>
        <p:nvSpPr>
          <p:cNvPr id="46" name="Rectangle 45"/>
          <p:cNvSpPr/>
          <p:nvPr/>
        </p:nvSpPr>
        <p:spPr>
          <a:xfrm>
            <a:off x="6948264" y="2029393"/>
            <a:ext cx="2016224" cy="448056"/>
          </a:xfrm>
          <a:prstGeom prst="rect">
            <a:avLst/>
          </a:prstGeom>
          <a:no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tIns="0" rIns="0" rtlCol="0" anchor="t" anchorCtr="0"/>
          <a:lstStyle/>
          <a:p>
            <a:r>
              <a:rPr lang="ja-JP" altLang="en-US" sz="1000" b="1" dirty="0" smtClean="0">
                <a:solidFill>
                  <a:srgbClr val="000000"/>
                </a:solidFill>
                <a:latin typeface="Arial" panose="020B0604020202020204" pitchFamily="34" charset="0"/>
                <a:ea typeface="ＭＳ Ｐゴシック" panose="020B0600070205080204" pitchFamily="50" charset="-128"/>
                <a:cs typeface="Arial" panose="020B0604020202020204" pitchFamily="34" charset="0"/>
              </a:rPr>
              <a:t>ペプシコ基金</a:t>
            </a:r>
            <a:r>
              <a:rPr lang="en-US" sz="1000" b="1" dirty="0" smtClean="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water.org  (1)</a:t>
            </a:r>
          </a:p>
          <a:p>
            <a:r>
              <a:rPr 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MSDF: </a:t>
            </a:r>
            <a:r>
              <a:rPr lang="en-US" sz="1000" b="1" dirty="0" smtClean="0">
                <a:solidFill>
                  <a:srgbClr val="000000"/>
                </a:solidFill>
                <a:latin typeface="Arial" panose="020B0604020202020204" pitchFamily="34" charset="0"/>
                <a:ea typeface="ＭＳ Ｐゴシック" panose="020B0600070205080204" pitchFamily="50" charset="-128"/>
                <a:cs typeface="Arial" panose="020B0604020202020204" pitchFamily="34" charset="0"/>
              </a:rPr>
              <a:t>MHST、 APMAS、 </a:t>
            </a:r>
            <a:r>
              <a:rPr 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BISWA </a:t>
            </a:r>
            <a:r>
              <a:rPr lang="ja-JP" altLang="en-US" sz="1000" b="1" dirty="0" smtClean="0">
                <a:solidFill>
                  <a:srgbClr val="000000"/>
                </a:solidFill>
                <a:latin typeface="Arial" panose="020B0604020202020204" pitchFamily="34" charset="0"/>
                <a:ea typeface="ＭＳ Ｐゴシック" panose="020B0600070205080204" pitchFamily="50" charset="-128"/>
                <a:cs typeface="Arial" panose="020B0604020202020204" pitchFamily="34" charset="0"/>
              </a:rPr>
              <a:t>（インド）</a:t>
            </a:r>
            <a:r>
              <a:rPr lang="en-US" sz="1000" b="1" dirty="0" smtClean="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p>
          <a:p>
            <a:endParaRPr lang="en-US" sz="1000" b="1" dirty="0">
              <a:solidFill>
                <a:srgbClr val="000000"/>
              </a:solidFill>
            </a:endParaRPr>
          </a:p>
        </p:txBody>
      </p:sp>
      <p:sp>
        <p:nvSpPr>
          <p:cNvPr id="50" name="TextBox 49"/>
          <p:cNvSpPr txBox="1"/>
          <p:nvPr/>
        </p:nvSpPr>
        <p:spPr>
          <a:xfrm>
            <a:off x="380648" y="1124744"/>
            <a:ext cx="6281795" cy="224028"/>
          </a:xfrm>
          <a:prstGeom prst="rect">
            <a:avLst/>
          </a:prstGeom>
          <a:noFill/>
        </p:spPr>
        <p:txBody>
          <a:bodyPr wrap="square" lIns="0" tIns="0" rIns="0" bIns="0" rtlCol="0">
            <a:noAutofit/>
          </a:bodyPr>
          <a:lstStyle/>
          <a:p>
            <a:pPr marL="231775" indent="-231775"/>
            <a:r>
              <a:rPr lang="ja-JP" altLang="en-US" sz="1100" b="1" dirty="0" smtClean="0">
                <a:solidFill>
                  <a:srgbClr val="000000"/>
                </a:solidFill>
              </a:rPr>
              <a:t>ビジネスチャンスの概要</a:t>
            </a:r>
            <a:endParaRPr lang="en-US" sz="1100" b="1" dirty="0" smtClean="0">
              <a:solidFill>
                <a:srgbClr val="000000"/>
              </a:solidFill>
            </a:endParaRPr>
          </a:p>
        </p:txBody>
      </p:sp>
      <p:cxnSp>
        <p:nvCxnSpPr>
          <p:cNvPr id="51" name="Straight Connector 50"/>
          <p:cNvCxnSpPr/>
          <p:nvPr/>
        </p:nvCxnSpPr>
        <p:spPr>
          <a:xfrm>
            <a:off x="380649" y="1353344"/>
            <a:ext cx="621792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5334000" y="899754"/>
            <a:ext cx="228600" cy="1524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000" dirty="0">
              <a:solidFill>
                <a:srgbClr val="FFFFFF"/>
              </a:solidFill>
            </a:endParaRPr>
          </a:p>
        </p:txBody>
      </p:sp>
      <p:sp>
        <p:nvSpPr>
          <p:cNvPr id="56" name="TextBox 55"/>
          <p:cNvSpPr txBox="1"/>
          <p:nvPr/>
        </p:nvSpPr>
        <p:spPr>
          <a:xfrm>
            <a:off x="5638800" y="883920"/>
            <a:ext cx="1686276" cy="182880"/>
          </a:xfrm>
          <a:prstGeom prst="rect">
            <a:avLst/>
          </a:prstGeom>
          <a:noFill/>
        </p:spPr>
        <p:txBody>
          <a:bodyPr wrap="square" lIns="0" tIns="0" rIns="0" bIns="0" rtlCol="0">
            <a:noAutofit/>
          </a:bodyPr>
          <a:lstStyle/>
          <a:p>
            <a:pPr marL="231775" indent="-231775"/>
            <a:r>
              <a:rPr lang="ja-JP" altLang="en-US" sz="1100" dirty="0" smtClean="0">
                <a:solidFill>
                  <a:srgbClr val="000000"/>
                </a:solidFill>
              </a:rPr>
              <a:t>現在の投資</a:t>
            </a:r>
            <a:endParaRPr lang="en-US" sz="1100" dirty="0" smtClean="0">
              <a:solidFill>
                <a:srgbClr val="000000"/>
              </a:solidFill>
            </a:endParaRPr>
          </a:p>
        </p:txBody>
      </p:sp>
      <p:sp>
        <p:nvSpPr>
          <p:cNvPr id="57" name="Rectangle 56"/>
          <p:cNvSpPr/>
          <p:nvPr/>
        </p:nvSpPr>
        <p:spPr>
          <a:xfrm>
            <a:off x="6984492" y="899754"/>
            <a:ext cx="228600" cy="1524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8" name="TextBox 57"/>
          <p:cNvSpPr txBox="1"/>
          <p:nvPr/>
        </p:nvSpPr>
        <p:spPr>
          <a:xfrm>
            <a:off x="7289292" y="883920"/>
            <a:ext cx="1686276" cy="182880"/>
          </a:xfrm>
          <a:prstGeom prst="rect">
            <a:avLst/>
          </a:prstGeom>
          <a:noFill/>
        </p:spPr>
        <p:txBody>
          <a:bodyPr wrap="square" lIns="0" tIns="0" rIns="0" bIns="0" rtlCol="0">
            <a:noAutofit/>
          </a:bodyPr>
          <a:lstStyle/>
          <a:p>
            <a:pPr marL="231775" indent="-231775"/>
            <a:r>
              <a:rPr lang="ja-JP" altLang="en-US" sz="1100" dirty="0" smtClean="0">
                <a:solidFill>
                  <a:srgbClr val="000000"/>
                </a:solidFill>
              </a:rPr>
              <a:t>見込まれる投資</a:t>
            </a:r>
            <a:endParaRPr lang="en-US" sz="1100" dirty="0" smtClean="0">
              <a:solidFill>
                <a:srgbClr val="000000"/>
              </a:solidFill>
            </a:endParaRPr>
          </a:p>
        </p:txBody>
      </p:sp>
      <p:cxnSp>
        <p:nvCxnSpPr>
          <p:cNvPr id="89" name="Straight Connector 88"/>
          <p:cNvCxnSpPr/>
          <p:nvPr/>
        </p:nvCxnSpPr>
        <p:spPr>
          <a:xfrm>
            <a:off x="6876256" y="1359940"/>
            <a:ext cx="15956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8" name="Rectangle 87"/>
          <p:cNvSpPr/>
          <p:nvPr/>
        </p:nvSpPr>
        <p:spPr>
          <a:xfrm>
            <a:off x="5256256" y="4989697"/>
            <a:ext cx="1620000" cy="433496"/>
          </a:xfrm>
          <a:prstGeom prst="rect">
            <a:avLst/>
          </a:prstGeom>
          <a:solidFill>
            <a:schemeClr val="accent3">
              <a:lumMod val="40000"/>
              <a:lumOff val="60000"/>
            </a:schemeClr>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下水道処理場の設置（</a:t>
            </a:r>
            <a:r>
              <a:rPr lang="en-US" altLang="ja-JP" sz="1000" dirty="0">
                <a:solidFill>
                  <a:schemeClr val="tx1"/>
                </a:solidFill>
                <a:latin typeface="ＭＳ Ｐゴシック" panose="020B0600070205080204" pitchFamily="50" charset="-128"/>
                <a:ea typeface="ＭＳ Ｐゴシック" panose="020B0600070205080204" pitchFamily="50" charset="-128"/>
              </a:rPr>
              <a:t>#11</a:t>
            </a:r>
            <a:r>
              <a:rPr lang="ja-JP" altLang="en-US" sz="1000" dirty="0">
                <a:solidFill>
                  <a:schemeClr val="tx1"/>
                </a:solidFill>
                <a:latin typeface="ＭＳ Ｐゴシック" panose="020B0600070205080204" pitchFamily="50" charset="-128"/>
                <a:ea typeface="ＭＳ Ｐゴシック" panose="020B0600070205080204" pitchFamily="50" charset="-128"/>
              </a:rPr>
              <a:t>）と運営（</a:t>
            </a:r>
            <a:r>
              <a:rPr lang="en-US" altLang="ja-JP" sz="1000" dirty="0">
                <a:solidFill>
                  <a:schemeClr val="tx1"/>
                </a:solidFill>
                <a:latin typeface="ＭＳ Ｐゴシック" panose="020B0600070205080204" pitchFamily="50" charset="-128"/>
                <a:ea typeface="ＭＳ Ｐゴシック" panose="020B0600070205080204" pitchFamily="50" charset="-128"/>
              </a:rPr>
              <a:t>#12</a:t>
            </a:r>
            <a:r>
              <a:rPr lang="ja-JP" altLang="en-US" sz="1000" dirty="0">
                <a:solidFill>
                  <a:schemeClr val="tx1"/>
                </a:solidFill>
                <a:latin typeface="ＭＳ Ｐゴシック" panose="020B0600070205080204" pitchFamily="50" charset="-128"/>
                <a:ea typeface="ＭＳ Ｐゴシック" panose="020B0600070205080204" pitchFamily="50" charset="-128"/>
              </a:rPr>
              <a:t>）</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90" name="Rectangle 89"/>
          <p:cNvSpPr/>
          <p:nvPr/>
        </p:nvSpPr>
        <p:spPr>
          <a:xfrm>
            <a:off x="1534024" y="5533599"/>
            <a:ext cx="5342231" cy="433496"/>
          </a:xfrm>
          <a:prstGeom prst="rect">
            <a:avLst/>
          </a:prstGeom>
          <a:solidFill>
            <a:schemeClr val="accent3">
              <a:lumMod val="40000"/>
              <a:lumOff val="60000"/>
            </a:schemeClr>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浄化槽の改修（</a:t>
            </a:r>
            <a:r>
              <a:rPr lang="en-US" altLang="ja-JP" sz="1000" dirty="0">
                <a:solidFill>
                  <a:schemeClr val="tx1"/>
                </a:solidFill>
                <a:latin typeface="ＭＳ Ｐゴシック" panose="020B0600070205080204" pitchFamily="50" charset="-128"/>
                <a:ea typeface="ＭＳ Ｐゴシック" panose="020B0600070205080204" pitchFamily="50" charset="-128"/>
              </a:rPr>
              <a:t>#3</a:t>
            </a:r>
            <a:r>
              <a:rPr lang="ja-JP" altLang="en-US" sz="1000" dirty="0">
                <a:solidFill>
                  <a:schemeClr val="tx1"/>
                </a:solidFill>
                <a:latin typeface="ＭＳ Ｐゴシック" panose="020B0600070205080204" pitchFamily="50" charset="-128"/>
                <a:ea typeface="ＭＳ Ｐゴシック" panose="020B0600070205080204" pitchFamily="50" charset="-128"/>
              </a:rPr>
              <a:t>）、汚泥管理（</a:t>
            </a:r>
            <a:r>
              <a:rPr lang="en-US" altLang="ja-JP" sz="1000" dirty="0">
                <a:solidFill>
                  <a:schemeClr val="tx1"/>
                </a:solidFill>
                <a:latin typeface="ＭＳ Ｐゴシック" panose="020B0600070205080204" pitchFamily="50" charset="-128"/>
                <a:ea typeface="ＭＳ Ｐゴシック" panose="020B0600070205080204" pitchFamily="50" charset="-128"/>
              </a:rPr>
              <a:t>#7</a:t>
            </a:r>
            <a:r>
              <a:rPr lang="ja-JP" altLang="en-US" sz="1000" dirty="0">
                <a:solidFill>
                  <a:schemeClr val="tx1"/>
                </a:solidFill>
                <a:latin typeface="ＭＳ Ｐゴシック" panose="020B0600070205080204" pitchFamily="50" charset="-128"/>
                <a:ea typeface="ＭＳ Ｐゴシック" panose="020B0600070205080204" pitchFamily="50" charset="-128"/>
              </a:rPr>
              <a:t>）、汚水処理場の設置（</a:t>
            </a:r>
            <a:r>
              <a:rPr lang="en-US" altLang="ja-JP" sz="1000" dirty="0">
                <a:solidFill>
                  <a:schemeClr val="tx1"/>
                </a:solidFill>
                <a:latin typeface="ＭＳ Ｐゴシック" panose="020B0600070205080204" pitchFamily="50" charset="-128"/>
                <a:ea typeface="ＭＳ Ｐゴシック" panose="020B0600070205080204" pitchFamily="50" charset="-128"/>
              </a:rPr>
              <a:t>#9</a:t>
            </a:r>
            <a:r>
              <a:rPr lang="ja-JP" altLang="en-US" sz="1000" dirty="0">
                <a:solidFill>
                  <a:schemeClr val="tx1"/>
                </a:solidFill>
                <a:latin typeface="ＭＳ Ｐゴシック" panose="020B0600070205080204" pitchFamily="50" charset="-128"/>
                <a:ea typeface="ＭＳ Ｐゴシック" panose="020B0600070205080204" pitchFamily="50" charset="-128"/>
              </a:rPr>
              <a:t>）をはじめとする、総合的な汚泥管理計画</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91" name="Rectangle 90"/>
          <p:cNvSpPr/>
          <p:nvPr/>
        </p:nvSpPr>
        <p:spPr>
          <a:xfrm>
            <a:off x="1534024" y="4989697"/>
            <a:ext cx="1620000" cy="433496"/>
          </a:xfrm>
          <a:prstGeom prst="rect">
            <a:avLst/>
          </a:prstGeom>
          <a:solidFill>
            <a:schemeClr val="tx2">
              <a:lumMod val="20000"/>
              <a:lumOff val="80000"/>
            </a:schemeClr>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コミュニティ・トイレの設置（</a:t>
            </a:r>
            <a:r>
              <a:rPr lang="en-US" altLang="ja-JP" sz="1000" dirty="0">
                <a:solidFill>
                  <a:schemeClr val="tx1"/>
                </a:solidFill>
                <a:latin typeface="ＭＳ Ｐゴシック" panose="020B0600070205080204" pitchFamily="50" charset="-128"/>
                <a:ea typeface="ＭＳ Ｐゴシック" panose="020B0600070205080204" pitchFamily="50" charset="-128"/>
              </a:rPr>
              <a:t>#2</a:t>
            </a:r>
            <a:r>
              <a:rPr lang="ja-JP" altLang="en-US" sz="1000" dirty="0">
                <a:solidFill>
                  <a:schemeClr val="tx1"/>
                </a:solidFill>
                <a:latin typeface="ＭＳ Ｐゴシック" panose="020B0600070205080204" pitchFamily="50" charset="-128"/>
                <a:ea typeface="ＭＳ Ｐゴシック" panose="020B0600070205080204" pitchFamily="50" charset="-128"/>
              </a:rPr>
              <a:t>）と維持管理（</a:t>
            </a:r>
            <a:r>
              <a:rPr lang="en-US" altLang="ja-JP" sz="1000" dirty="0">
                <a:solidFill>
                  <a:schemeClr val="tx1"/>
                </a:solidFill>
                <a:latin typeface="ＭＳ Ｐゴシック" panose="020B0600070205080204" pitchFamily="50" charset="-128"/>
                <a:ea typeface="ＭＳ Ｐゴシック" panose="020B0600070205080204" pitchFamily="50" charset="-128"/>
              </a:rPr>
              <a:t>#4</a:t>
            </a:r>
            <a:r>
              <a:rPr lang="ja-JP" altLang="en-US" sz="1000" dirty="0">
                <a:solidFill>
                  <a:schemeClr val="tx1"/>
                </a:solidFill>
                <a:latin typeface="ＭＳ Ｐゴシック" panose="020B0600070205080204" pitchFamily="50" charset="-128"/>
                <a:ea typeface="ＭＳ Ｐゴシック" panose="020B0600070205080204" pitchFamily="50" charset="-128"/>
              </a:rPr>
              <a:t>）</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cxnSp>
        <p:nvCxnSpPr>
          <p:cNvPr id="92" name="Straight Connector 91"/>
          <p:cNvCxnSpPr/>
          <p:nvPr/>
        </p:nvCxnSpPr>
        <p:spPr>
          <a:xfrm>
            <a:off x="441144" y="3703083"/>
            <a:ext cx="6255307" cy="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93" name="Rectangle 92"/>
          <p:cNvSpPr/>
          <p:nvPr/>
        </p:nvSpPr>
        <p:spPr>
          <a:xfrm>
            <a:off x="1534024" y="2608824"/>
            <a:ext cx="1620000" cy="433496"/>
          </a:xfrm>
          <a:prstGeom prst="rect">
            <a:avLst/>
          </a:prstGeom>
          <a:solidFill>
            <a:schemeClr val="accent3">
              <a:lumMod val="40000"/>
              <a:lumOff val="60000"/>
            </a:schemeClr>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900" dirty="0" smtClean="0">
                <a:solidFill>
                  <a:schemeClr val="tx1"/>
                </a:solidFill>
                <a:latin typeface="ＭＳ Ｐゴシック" panose="020B0600070205080204" pitchFamily="50" charset="-128"/>
                <a:ea typeface="ＭＳ Ｐゴシック" panose="020B0600070205080204" pitchFamily="50" charset="-128"/>
              </a:rPr>
              <a:t>浄化槽や下水道とつながった新しいコミュニティ・トイレ／公衆トイレの設置</a:t>
            </a:r>
            <a:endParaRPr lang="en-US" sz="900" dirty="0">
              <a:solidFill>
                <a:schemeClr val="tx1"/>
              </a:solidFill>
              <a:latin typeface="ＭＳ Ｐゴシック" panose="020B0600070205080204" pitchFamily="50" charset="-128"/>
              <a:ea typeface="ＭＳ Ｐゴシック" panose="020B0600070205080204" pitchFamily="50" charset="-128"/>
            </a:endParaRPr>
          </a:p>
        </p:txBody>
      </p:sp>
      <p:sp>
        <p:nvSpPr>
          <p:cNvPr id="94" name="Rectangle 93"/>
          <p:cNvSpPr/>
          <p:nvPr/>
        </p:nvSpPr>
        <p:spPr>
          <a:xfrm>
            <a:off x="5256256" y="2608824"/>
            <a:ext cx="1620000"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排水処理場の設置</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95" name="Rectangle 94"/>
          <p:cNvSpPr/>
          <p:nvPr/>
        </p:nvSpPr>
        <p:spPr>
          <a:xfrm>
            <a:off x="3395141" y="2608824"/>
            <a:ext cx="1620000"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排水穴と前沈殿下水道の設置</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96" name="Rectangle 95"/>
          <p:cNvSpPr/>
          <p:nvPr/>
        </p:nvSpPr>
        <p:spPr>
          <a:xfrm>
            <a:off x="1534024" y="2031336"/>
            <a:ext cx="1620000" cy="433496"/>
          </a:xfrm>
          <a:prstGeom prst="rect">
            <a:avLst/>
          </a:prstGeom>
          <a:solidFill>
            <a:schemeClr val="accent3">
              <a:lumMod val="40000"/>
              <a:lumOff val="60000"/>
            </a:schemeClr>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900" dirty="0" smtClean="0">
                <a:solidFill>
                  <a:schemeClr val="tx1"/>
                </a:solidFill>
                <a:latin typeface="ＭＳ Ｐゴシック" panose="020B0600070205080204" pitchFamily="50" charset="-128"/>
                <a:ea typeface="ＭＳ Ｐゴシック" panose="020B0600070205080204" pitchFamily="50" charset="-128"/>
              </a:rPr>
              <a:t>浄化槽や下水道とつながった新しい共同トイレ／個別トイレの設置</a:t>
            </a:r>
            <a:endParaRPr lang="en-US" sz="900" dirty="0">
              <a:solidFill>
                <a:schemeClr val="tx1"/>
              </a:solidFill>
              <a:latin typeface="ＭＳ Ｐゴシック" panose="020B0600070205080204" pitchFamily="50" charset="-128"/>
              <a:ea typeface="ＭＳ Ｐゴシック" panose="020B0600070205080204" pitchFamily="50" charset="-128"/>
            </a:endParaRPr>
          </a:p>
        </p:txBody>
      </p:sp>
      <p:sp>
        <p:nvSpPr>
          <p:cNvPr id="97" name="Rectangle 96"/>
          <p:cNvSpPr/>
          <p:nvPr/>
        </p:nvSpPr>
        <p:spPr>
          <a:xfrm>
            <a:off x="3395141" y="2031336"/>
            <a:ext cx="1620000"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下水道ネットワークの設置</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98" name="Rectangle 97"/>
          <p:cNvSpPr/>
          <p:nvPr/>
        </p:nvSpPr>
        <p:spPr>
          <a:xfrm>
            <a:off x="5256256" y="2031336"/>
            <a:ext cx="1620000" cy="433496"/>
          </a:xfrm>
          <a:prstGeom prst="rect">
            <a:avLst/>
          </a:prstGeom>
          <a:solidFill>
            <a:schemeClr val="bg1"/>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汚水処理場の設置</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100" name="Rectangle 99"/>
          <p:cNvSpPr/>
          <p:nvPr/>
        </p:nvSpPr>
        <p:spPr>
          <a:xfrm>
            <a:off x="3395141" y="4363656"/>
            <a:ext cx="1620000" cy="433496"/>
          </a:xfrm>
          <a:prstGeom prst="rect">
            <a:avLst/>
          </a:prstGeom>
          <a:solidFill>
            <a:schemeClr val="bg1"/>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下水道ネットワークの管理</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cxnSp>
        <p:nvCxnSpPr>
          <p:cNvPr id="102" name="Straight Connector 101"/>
          <p:cNvCxnSpPr/>
          <p:nvPr/>
        </p:nvCxnSpPr>
        <p:spPr>
          <a:xfrm>
            <a:off x="450293" y="4848437"/>
            <a:ext cx="6255307" cy="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03" name="Oval 102"/>
          <p:cNvSpPr/>
          <p:nvPr/>
        </p:nvSpPr>
        <p:spPr>
          <a:xfrm>
            <a:off x="1371717" y="1956322"/>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rgbClr val="FFFFFF"/>
                </a:solidFill>
              </a:rPr>
              <a:t>1</a:t>
            </a:r>
          </a:p>
        </p:txBody>
      </p:sp>
      <p:sp>
        <p:nvSpPr>
          <p:cNvPr id="104" name="Oval 103"/>
          <p:cNvSpPr/>
          <p:nvPr/>
        </p:nvSpPr>
        <p:spPr>
          <a:xfrm>
            <a:off x="1371717" y="2546064"/>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2</a:t>
            </a:r>
            <a:endParaRPr lang="en-US" sz="1000" dirty="0">
              <a:solidFill>
                <a:srgbClr val="FFFFFF"/>
              </a:solidFill>
            </a:endParaRPr>
          </a:p>
        </p:txBody>
      </p:sp>
      <p:sp>
        <p:nvSpPr>
          <p:cNvPr id="105" name="Rectangle 104"/>
          <p:cNvSpPr/>
          <p:nvPr/>
        </p:nvSpPr>
        <p:spPr>
          <a:xfrm>
            <a:off x="1534024" y="3809602"/>
            <a:ext cx="1620000" cy="433495"/>
          </a:xfrm>
          <a:prstGeom prst="rect">
            <a:avLst/>
          </a:prstGeom>
          <a:solidFill>
            <a:schemeClr val="bg1"/>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コミュニティ・トイレと公衆トイレの維持管理</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106" name="Oval 105"/>
          <p:cNvSpPr/>
          <p:nvPr/>
        </p:nvSpPr>
        <p:spPr>
          <a:xfrm>
            <a:off x="1371717" y="3713676"/>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rgbClr val="FFFFFF"/>
                </a:solidFill>
              </a:rPr>
              <a:t>4</a:t>
            </a:r>
          </a:p>
        </p:txBody>
      </p:sp>
      <p:sp>
        <p:nvSpPr>
          <p:cNvPr id="107" name="Oval 106"/>
          <p:cNvSpPr/>
          <p:nvPr/>
        </p:nvSpPr>
        <p:spPr>
          <a:xfrm>
            <a:off x="3246020" y="2546064"/>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rgbClr val="FFFFFF"/>
                </a:solidFill>
              </a:rPr>
              <a:t>6</a:t>
            </a:r>
          </a:p>
        </p:txBody>
      </p:sp>
      <p:sp>
        <p:nvSpPr>
          <p:cNvPr id="108" name="Rectangle 107"/>
          <p:cNvSpPr/>
          <p:nvPr/>
        </p:nvSpPr>
        <p:spPr>
          <a:xfrm>
            <a:off x="3395141" y="3809602"/>
            <a:ext cx="1620000"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汚泥の管理</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109" name="Oval 108"/>
          <p:cNvSpPr/>
          <p:nvPr/>
        </p:nvSpPr>
        <p:spPr>
          <a:xfrm>
            <a:off x="3246020" y="3713676"/>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7</a:t>
            </a:r>
            <a:endParaRPr lang="en-US" sz="1000" dirty="0">
              <a:solidFill>
                <a:srgbClr val="FFFFFF"/>
              </a:solidFill>
            </a:endParaRPr>
          </a:p>
        </p:txBody>
      </p:sp>
      <p:sp>
        <p:nvSpPr>
          <p:cNvPr id="110" name="Oval 109"/>
          <p:cNvSpPr/>
          <p:nvPr/>
        </p:nvSpPr>
        <p:spPr>
          <a:xfrm>
            <a:off x="3246020" y="4289746"/>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rgbClr val="FFFFFF"/>
                </a:solidFill>
              </a:rPr>
              <a:t>8</a:t>
            </a:r>
          </a:p>
        </p:txBody>
      </p:sp>
      <p:sp>
        <p:nvSpPr>
          <p:cNvPr id="111" name="Oval 110"/>
          <p:cNvSpPr/>
          <p:nvPr/>
        </p:nvSpPr>
        <p:spPr>
          <a:xfrm>
            <a:off x="3246020" y="1958685"/>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rgbClr val="FFFFFF"/>
                </a:solidFill>
              </a:rPr>
              <a:t>5</a:t>
            </a:r>
          </a:p>
        </p:txBody>
      </p:sp>
      <p:sp>
        <p:nvSpPr>
          <p:cNvPr id="112" name="Oval 111"/>
          <p:cNvSpPr/>
          <p:nvPr/>
        </p:nvSpPr>
        <p:spPr>
          <a:xfrm>
            <a:off x="5121432" y="1958685"/>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rgbClr val="FFFFFF"/>
                </a:solidFill>
              </a:rPr>
              <a:t>9</a:t>
            </a:r>
          </a:p>
        </p:txBody>
      </p:sp>
      <p:sp>
        <p:nvSpPr>
          <p:cNvPr id="114" name="Oval 113"/>
          <p:cNvSpPr/>
          <p:nvPr/>
        </p:nvSpPr>
        <p:spPr>
          <a:xfrm>
            <a:off x="5121432" y="2546064"/>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0</a:t>
            </a:r>
            <a:endParaRPr lang="en-US" sz="1000" dirty="0">
              <a:solidFill>
                <a:srgbClr val="FFFFFF"/>
              </a:solidFill>
            </a:endParaRPr>
          </a:p>
        </p:txBody>
      </p:sp>
      <p:sp>
        <p:nvSpPr>
          <p:cNvPr id="115" name="Rectangle 114"/>
          <p:cNvSpPr/>
          <p:nvPr/>
        </p:nvSpPr>
        <p:spPr>
          <a:xfrm>
            <a:off x="5256256" y="3809602"/>
            <a:ext cx="1620000" cy="433496"/>
          </a:xfrm>
          <a:prstGeom prst="rect">
            <a:avLst/>
          </a:prstGeom>
          <a:solidFill>
            <a:schemeClr val="bg1"/>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下水処理場の維持管理</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116" name="Oval 115"/>
          <p:cNvSpPr/>
          <p:nvPr/>
        </p:nvSpPr>
        <p:spPr>
          <a:xfrm>
            <a:off x="5121432" y="3713676"/>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2</a:t>
            </a:r>
            <a:endParaRPr lang="en-US" sz="1000" dirty="0">
              <a:solidFill>
                <a:srgbClr val="FFFFFF"/>
              </a:solidFill>
            </a:endParaRPr>
          </a:p>
        </p:txBody>
      </p:sp>
      <p:sp>
        <p:nvSpPr>
          <p:cNvPr id="117" name="Oval 116"/>
          <p:cNvSpPr/>
          <p:nvPr/>
        </p:nvSpPr>
        <p:spPr>
          <a:xfrm>
            <a:off x="1371717" y="5435728"/>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4</a:t>
            </a:r>
            <a:endParaRPr lang="en-US" sz="1000" dirty="0">
              <a:solidFill>
                <a:srgbClr val="FFFFFF"/>
              </a:solidFill>
            </a:endParaRPr>
          </a:p>
        </p:txBody>
      </p:sp>
      <p:sp>
        <p:nvSpPr>
          <p:cNvPr id="118" name="Oval 117"/>
          <p:cNvSpPr/>
          <p:nvPr/>
        </p:nvSpPr>
        <p:spPr>
          <a:xfrm>
            <a:off x="5121432" y="4919068"/>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6</a:t>
            </a:r>
            <a:endParaRPr lang="en-US" sz="1000" dirty="0">
              <a:solidFill>
                <a:srgbClr val="FFFFFF"/>
              </a:solidFill>
            </a:endParaRPr>
          </a:p>
        </p:txBody>
      </p:sp>
      <p:sp>
        <p:nvSpPr>
          <p:cNvPr id="119" name="Oval 118"/>
          <p:cNvSpPr/>
          <p:nvPr/>
        </p:nvSpPr>
        <p:spPr>
          <a:xfrm>
            <a:off x="1371717" y="4919068"/>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3</a:t>
            </a:r>
            <a:endParaRPr lang="en-US" sz="1000" dirty="0">
              <a:solidFill>
                <a:srgbClr val="FFFFFF"/>
              </a:solidFill>
            </a:endParaRPr>
          </a:p>
        </p:txBody>
      </p:sp>
      <p:sp>
        <p:nvSpPr>
          <p:cNvPr id="121" name="Chevron 120"/>
          <p:cNvSpPr/>
          <p:nvPr/>
        </p:nvSpPr>
        <p:spPr>
          <a:xfrm>
            <a:off x="1534025" y="1419326"/>
            <a:ext cx="1692000" cy="470866"/>
          </a:xfrm>
          <a:prstGeom prst="chevron">
            <a:avLst>
              <a:gd name="adj" fmla="val 20248"/>
            </a:avLst>
          </a:prstGeom>
          <a:solidFill>
            <a:srgbClr val="67103F"/>
          </a:solidFill>
          <a:ln w="9525">
            <a:noFill/>
          </a:ln>
        </p:spPr>
        <p:txBody>
          <a:bodyPr wrap="square" lIns="44450" tIns="131763" rIns="0" bIns="133350" anchor="ctr" anchorCtr="0">
            <a:noAutofit/>
          </a:bodyPr>
          <a:lstStyle/>
          <a:p>
            <a:pPr algn="ctr">
              <a:spcBef>
                <a:spcPct val="0"/>
              </a:spcBef>
              <a:spcAft>
                <a:spcPct val="0"/>
              </a:spcAft>
              <a:buFont typeface="Arial" pitchFamily="34" charset="0"/>
              <a:buNone/>
            </a:pPr>
            <a:r>
              <a:rPr lang="ja-JP" altLang="en-US" sz="1000" b="1" dirty="0" smtClean="0">
                <a:solidFill>
                  <a:srgbClr val="FFFFFF"/>
                </a:solidFill>
              </a:rPr>
              <a:t>アクセスと収集</a:t>
            </a:r>
            <a:endParaRPr lang="en-US" sz="1000" b="1" dirty="0">
              <a:solidFill>
                <a:srgbClr val="FFFFFF"/>
              </a:solidFill>
            </a:endParaRPr>
          </a:p>
        </p:txBody>
      </p:sp>
      <p:sp>
        <p:nvSpPr>
          <p:cNvPr id="122" name="Chevron 121"/>
          <p:cNvSpPr/>
          <p:nvPr/>
        </p:nvSpPr>
        <p:spPr>
          <a:xfrm>
            <a:off x="3395141" y="1419326"/>
            <a:ext cx="1692000" cy="470866"/>
          </a:xfrm>
          <a:prstGeom prst="chevron">
            <a:avLst>
              <a:gd name="adj" fmla="val 20248"/>
            </a:avLst>
          </a:prstGeom>
          <a:solidFill>
            <a:srgbClr val="67103F"/>
          </a:solidFill>
          <a:ln w="9525">
            <a:noFill/>
          </a:ln>
        </p:spPr>
        <p:txBody>
          <a:bodyPr wrap="square" lIns="44450" tIns="131763" rIns="0" bIns="133350" anchor="ctr" anchorCtr="0">
            <a:noAutofit/>
          </a:bodyPr>
          <a:lstStyle/>
          <a:p>
            <a:pPr algn="ctr">
              <a:spcBef>
                <a:spcPct val="0"/>
              </a:spcBef>
              <a:spcAft>
                <a:spcPct val="0"/>
              </a:spcAft>
              <a:buFont typeface="Arial" pitchFamily="34" charset="0"/>
              <a:buNone/>
            </a:pPr>
            <a:r>
              <a:rPr lang="ja-JP" altLang="en-US" sz="1000" b="1" dirty="0" smtClean="0">
                <a:solidFill>
                  <a:srgbClr val="FFFFFF"/>
                </a:solidFill>
              </a:rPr>
              <a:t>運搬</a:t>
            </a:r>
            <a:endParaRPr lang="en-US" sz="1000" b="1" dirty="0">
              <a:solidFill>
                <a:srgbClr val="FFFFFF"/>
              </a:solidFill>
            </a:endParaRPr>
          </a:p>
        </p:txBody>
      </p:sp>
      <p:sp>
        <p:nvSpPr>
          <p:cNvPr id="123" name="Chevron 122"/>
          <p:cNvSpPr/>
          <p:nvPr/>
        </p:nvSpPr>
        <p:spPr>
          <a:xfrm>
            <a:off x="5256256" y="1419326"/>
            <a:ext cx="1619999" cy="470866"/>
          </a:xfrm>
          <a:prstGeom prst="chevron">
            <a:avLst>
              <a:gd name="adj" fmla="val 20248"/>
            </a:avLst>
          </a:prstGeom>
          <a:solidFill>
            <a:srgbClr val="67103F"/>
          </a:solidFill>
          <a:ln w="9525">
            <a:noFill/>
          </a:ln>
        </p:spPr>
        <p:txBody>
          <a:bodyPr wrap="square" lIns="44450" tIns="131763" rIns="0" bIns="133350" anchor="ctr" anchorCtr="0">
            <a:noAutofit/>
          </a:bodyPr>
          <a:lstStyle/>
          <a:p>
            <a:pPr algn="ctr">
              <a:spcBef>
                <a:spcPct val="0"/>
              </a:spcBef>
              <a:spcAft>
                <a:spcPct val="0"/>
              </a:spcAft>
              <a:buFont typeface="Arial" pitchFamily="34" charset="0"/>
              <a:buNone/>
            </a:pPr>
            <a:r>
              <a:rPr lang="ja-JP" altLang="en-US" sz="1000" b="1" dirty="0" smtClean="0">
                <a:solidFill>
                  <a:srgbClr val="FFFFFF"/>
                </a:solidFill>
              </a:rPr>
              <a:t>処理と再利用</a:t>
            </a:r>
            <a:endParaRPr lang="en-US" sz="1000" b="1" dirty="0">
              <a:solidFill>
                <a:srgbClr val="FFFFFF"/>
              </a:solidFill>
            </a:endParaRPr>
          </a:p>
        </p:txBody>
      </p:sp>
      <p:sp>
        <p:nvSpPr>
          <p:cNvPr id="53" name="Rectangle 52"/>
          <p:cNvSpPr/>
          <p:nvPr/>
        </p:nvSpPr>
        <p:spPr>
          <a:xfrm>
            <a:off x="1534024" y="3155088"/>
            <a:ext cx="1620000"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latin typeface="ＭＳ Ｐゴシック" panose="020B0600070205080204" pitchFamily="50" charset="-128"/>
                <a:ea typeface="ＭＳ Ｐゴシック" panose="020B0600070205080204" pitchFamily="50" charset="-128"/>
              </a:rPr>
              <a:t>浄化槽の改修</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54" name="Oval 53"/>
          <p:cNvSpPr/>
          <p:nvPr/>
        </p:nvSpPr>
        <p:spPr>
          <a:xfrm>
            <a:off x="1371717" y="3079070"/>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3</a:t>
            </a:r>
            <a:endParaRPr lang="en-US" sz="1000" dirty="0">
              <a:solidFill>
                <a:srgbClr val="FFFFFF"/>
              </a:solidFill>
            </a:endParaRPr>
          </a:p>
        </p:txBody>
      </p:sp>
      <p:sp>
        <p:nvSpPr>
          <p:cNvPr id="55" name="Rounded Rectangle 54"/>
          <p:cNvSpPr/>
          <p:nvPr/>
        </p:nvSpPr>
        <p:spPr>
          <a:xfrm>
            <a:off x="381001" y="2031337"/>
            <a:ext cx="961102" cy="155724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200" dirty="0" smtClean="0">
                <a:solidFill>
                  <a:schemeClr val="tx2"/>
                </a:solidFill>
              </a:rPr>
              <a:t>設置</a:t>
            </a:r>
            <a:endParaRPr lang="en-IN" sz="1200" dirty="0">
              <a:solidFill>
                <a:schemeClr val="tx2"/>
              </a:solidFill>
            </a:endParaRPr>
          </a:p>
        </p:txBody>
      </p:sp>
      <p:sp>
        <p:nvSpPr>
          <p:cNvPr id="59" name="Rectangle 58"/>
          <p:cNvSpPr/>
          <p:nvPr/>
        </p:nvSpPr>
        <p:spPr>
          <a:xfrm>
            <a:off x="5256256" y="3155088"/>
            <a:ext cx="1620000"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下水処理場の設置 </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60" name="Oval 59"/>
          <p:cNvSpPr/>
          <p:nvPr/>
        </p:nvSpPr>
        <p:spPr>
          <a:xfrm>
            <a:off x="5121432" y="3079070"/>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1</a:t>
            </a:r>
            <a:endParaRPr lang="en-US" sz="1000" dirty="0">
              <a:solidFill>
                <a:srgbClr val="FFFFFF"/>
              </a:solidFill>
            </a:endParaRPr>
          </a:p>
        </p:txBody>
      </p:sp>
      <p:sp>
        <p:nvSpPr>
          <p:cNvPr id="61" name="Rectangle 60"/>
          <p:cNvSpPr/>
          <p:nvPr/>
        </p:nvSpPr>
        <p:spPr>
          <a:xfrm>
            <a:off x="1534024" y="6079492"/>
            <a:ext cx="5342231"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浄化槽の改修（</a:t>
            </a:r>
            <a:r>
              <a:rPr lang="en-US" altLang="ja-JP" sz="1000" dirty="0">
                <a:solidFill>
                  <a:schemeClr val="tx1"/>
                </a:solidFill>
                <a:latin typeface="ＭＳ Ｐゴシック" panose="020B0600070205080204" pitchFamily="50" charset="-128"/>
                <a:ea typeface="ＭＳ Ｐゴシック" panose="020B0600070205080204" pitchFamily="50" charset="-128"/>
              </a:rPr>
              <a:t>#3</a:t>
            </a:r>
            <a:r>
              <a:rPr lang="ja-JP" altLang="en-US" sz="1000" dirty="0">
                <a:solidFill>
                  <a:schemeClr val="tx1"/>
                </a:solidFill>
                <a:latin typeface="ＭＳ Ｐゴシック" panose="020B0600070205080204" pitchFamily="50" charset="-128"/>
                <a:ea typeface="ＭＳ Ｐゴシック" panose="020B0600070205080204" pitchFamily="50" charset="-128"/>
              </a:rPr>
              <a:t>）、汚泥の管理（</a:t>
            </a:r>
            <a:r>
              <a:rPr lang="en-US" altLang="ja-JP" sz="1000" dirty="0">
                <a:solidFill>
                  <a:schemeClr val="tx1"/>
                </a:solidFill>
                <a:latin typeface="ＭＳ Ｐゴシック" panose="020B0600070205080204" pitchFamily="50" charset="-128"/>
                <a:ea typeface="ＭＳ Ｐゴシック" panose="020B0600070205080204" pitchFamily="50" charset="-128"/>
              </a:rPr>
              <a:t>#7</a:t>
            </a:r>
            <a:r>
              <a:rPr lang="ja-JP" altLang="en-US" sz="1000" dirty="0">
                <a:solidFill>
                  <a:schemeClr val="tx1"/>
                </a:solidFill>
                <a:latin typeface="ＭＳ Ｐゴシック" panose="020B0600070205080204" pitchFamily="50" charset="-128"/>
                <a:ea typeface="ＭＳ Ｐゴシック" panose="020B0600070205080204" pitchFamily="50" charset="-128"/>
              </a:rPr>
              <a:t>）をはじめとする、総合的な前沈殿下水道と汚泥の管理計画 場の設置</a:t>
            </a:r>
            <a:r>
              <a:rPr lang="en-US" sz="1000" dirty="0">
                <a:solidFill>
                  <a:schemeClr val="tx1"/>
                </a:solidFill>
                <a:latin typeface="ＭＳ Ｐゴシック" panose="020B0600070205080204" pitchFamily="50" charset="-128"/>
                <a:ea typeface="ＭＳ Ｐゴシック" panose="020B0600070205080204" pitchFamily="50" charset="-128"/>
              </a:rPr>
              <a:t> (#10)</a:t>
            </a:r>
          </a:p>
        </p:txBody>
      </p:sp>
      <p:sp>
        <p:nvSpPr>
          <p:cNvPr id="62" name="Oval 61"/>
          <p:cNvSpPr/>
          <p:nvPr/>
        </p:nvSpPr>
        <p:spPr>
          <a:xfrm>
            <a:off x="1371717" y="5986680"/>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5</a:t>
            </a:r>
            <a:endParaRPr lang="en-US" sz="1000" dirty="0">
              <a:solidFill>
                <a:srgbClr val="FFFFFF"/>
              </a:solidFill>
            </a:endParaRPr>
          </a:p>
        </p:txBody>
      </p:sp>
      <p:sp>
        <p:nvSpPr>
          <p:cNvPr id="63" name="Rounded Rectangle 62"/>
          <p:cNvSpPr/>
          <p:nvPr/>
        </p:nvSpPr>
        <p:spPr>
          <a:xfrm>
            <a:off x="381001" y="3809602"/>
            <a:ext cx="961102" cy="98755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200" dirty="0" smtClean="0">
                <a:solidFill>
                  <a:schemeClr val="tx2"/>
                </a:solidFill>
              </a:rPr>
              <a:t>維持管理</a:t>
            </a:r>
            <a:endParaRPr lang="en-IN" sz="1200" dirty="0">
              <a:solidFill>
                <a:schemeClr val="tx2"/>
              </a:solidFill>
            </a:endParaRPr>
          </a:p>
        </p:txBody>
      </p:sp>
      <p:sp>
        <p:nvSpPr>
          <p:cNvPr id="64" name="Rounded Rectangle 63"/>
          <p:cNvSpPr/>
          <p:nvPr/>
        </p:nvSpPr>
        <p:spPr>
          <a:xfrm>
            <a:off x="380648" y="4989696"/>
            <a:ext cx="961102" cy="152329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200" dirty="0" smtClean="0">
                <a:solidFill>
                  <a:schemeClr val="tx2"/>
                </a:solidFill>
              </a:rPr>
              <a:t>総合的ビジネスチャンス</a:t>
            </a:r>
            <a:endParaRPr lang="en-IN" sz="1200" dirty="0">
              <a:solidFill>
                <a:schemeClr val="tx2"/>
              </a:solidFill>
            </a:endParaRPr>
          </a:p>
        </p:txBody>
      </p:sp>
      <p:sp>
        <p:nvSpPr>
          <p:cNvPr id="67" name="Rectangle 66"/>
          <p:cNvSpPr/>
          <p:nvPr/>
        </p:nvSpPr>
        <p:spPr>
          <a:xfrm>
            <a:off x="6948264" y="2606872"/>
            <a:ext cx="2016224" cy="448056"/>
          </a:xfrm>
          <a:prstGeom prst="rect">
            <a:avLst/>
          </a:prstGeom>
          <a:no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tIns="0" rIns="0" rtlCol="0" anchor="t" anchorCtr="0"/>
          <a:lstStyle/>
          <a:p>
            <a:r>
              <a:rPr 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BMGF: Samagra</a:t>
            </a:r>
            <a:r>
              <a:rPr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オフグリッド・ユーティリティー（インド）</a:t>
            </a:r>
            <a:r>
              <a:rPr 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2)</a:t>
            </a:r>
          </a:p>
        </p:txBody>
      </p:sp>
      <p:sp>
        <p:nvSpPr>
          <p:cNvPr id="69" name="Rectangle 68"/>
          <p:cNvSpPr/>
          <p:nvPr/>
        </p:nvSpPr>
        <p:spPr>
          <a:xfrm>
            <a:off x="6948264" y="4989697"/>
            <a:ext cx="2016224" cy="317137"/>
          </a:xfrm>
          <a:prstGeom prst="rect">
            <a:avLst/>
          </a:prstGeom>
          <a:no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tIns="0" rIns="0" rtlCol="0" anchor="t" anchorCtr="0"/>
          <a:lstStyle/>
          <a:p>
            <a:r>
              <a:rPr 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MSDF (13)</a:t>
            </a:r>
          </a:p>
          <a:p>
            <a:r>
              <a:rPr 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BMGF (13) (16)</a:t>
            </a:r>
          </a:p>
        </p:txBody>
      </p:sp>
      <p:sp>
        <p:nvSpPr>
          <p:cNvPr id="70" name="Rectangle 69"/>
          <p:cNvSpPr/>
          <p:nvPr/>
        </p:nvSpPr>
        <p:spPr>
          <a:xfrm>
            <a:off x="6948264" y="5533599"/>
            <a:ext cx="2016224" cy="317137"/>
          </a:xfrm>
          <a:prstGeom prst="rect">
            <a:avLst/>
          </a:prstGeom>
          <a:no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tIns="0" rIns="0" rtlCol="0" anchor="t" anchorCtr="0"/>
          <a:lstStyle/>
          <a:p>
            <a:r>
              <a:rPr 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BMGF: Loowatt</a:t>
            </a:r>
            <a:r>
              <a:rPr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マダガスカル）</a:t>
            </a:r>
            <a:r>
              <a:rPr 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Tiger toilet </a:t>
            </a:r>
            <a:r>
              <a:rPr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タンザニア）</a:t>
            </a:r>
            <a:r>
              <a:rPr 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14)</a:t>
            </a:r>
          </a:p>
        </p:txBody>
      </p:sp>
    </p:spTree>
    <p:extLst>
      <p:ext uri="{BB962C8B-B14F-4D97-AF65-F5344CB8AC3E}">
        <p14:creationId xmlns:p14="http://schemas.microsoft.com/office/powerpoint/2010/main" val="2016176653"/>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1866"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381000" y="134471"/>
            <a:ext cx="8347364" cy="609600"/>
          </a:xfrm>
        </p:spPr>
        <p:txBody>
          <a:bodyPr/>
          <a:lstStyle/>
          <a:p>
            <a:r>
              <a:rPr lang="ja-JP" altLang="ja-JP" dirty="0">
                <a:latin typeface="ＭＳ Ｐゴシック" panose="020B0600070205080204" pitchFamily="50" charset="-128"/>
                <a:ea typeface="ＭＳ Ｐゴシック" panose="020B0600070205080204" pitchFamily="50" charset="-128"/>
              </a:rPr>
              <a:t>大手各社の</a:t>
            </a:r>
            <a:r>
              <a:rPr lang="en-US" altLang="ja-JP" dirty="0" smtClean="0">
                <a:latin typeface="ＭＳ Ｐゴシック" panose="020B0600070205080204" pitchFamily="50" charset="-128"/>
                <a:ea typeface="ＭＳ Ｐゴシック" panose="020B0600070205080204" pitchFamily="50" charset="-128"/>
              </a:rPr>
              <a:t>CSR</a:t>
            </a:r>
            <a:r>
              <a:rPr lang="ja-JP" altLang="ja-JP" dirty="0" smtClean="0">
                <a:latin typeface="ＭＳ Ｐゴシック" panose="020B0600070205080204" pitchFamily="50" charset="-128"/>
                <a:ea typeface="ＭＳ Ｐゴシック" panose="020B0600070205080204" pitchFamily="50" charset="-128"/>
              </a:rPr>
              <a:t>の取組みは</a:t>
            </a:r>
            <a:r>
              <a:rPr lang="ja-JP" altLang="en-US" dirty="0" smtClean="0">
                <a:latin typeface="ＭＳ Ｐゴシック" panose="020B0600070205080204" pitchFamily="50" charset="-128"/>
                <a:ea typeface="ＭＳ Ｐゴシック" panose="020B0600070205080204" pitchFamily="50" charset="-128"/>
              </a:rPr>
              <a:t>、</a:t>
            </a:r>
            <a:r>
              <a:rPr lang="ja-JP" altLang="ja-JP" dirty="0" smtClean="0">
                <a:latin typeface="ＭＳ Ｐゴシック" panose="020B0600070205080204" pitchFamily="50" charset="-128"/>
                <a:ea typeface="ＭＳ Ｐゴシック" panose="020B0600070205080204" pitchFamily="50" charset="-128"/>
              </a:rPr>
              <a:t>進出地域</a:t>
            </a:r>
            <a:r>
              <a:rPr lang="ja-JP" altLang="en-US" dirty="0" smtClean="0">
                <a:latin typeface="ＭＳ Ｐゴシック" panose="020B0600070205080204" pitchFamily="50" charset="-128"/>
                <a:ea typeface="ＭＳ Ｐゴシック" panose="020B0600070205080204" pitchFamily="50" charset="-128"/>
              </a:rPr>
              <a:t>での</a:t>
            </a:r>
            <a:r>
              <a:rPr lang="ja-JP" altLang="ja-JP" dirty="0" smtClean="0">
                <a:latin typeface="ＭＳ Ｐゴシック" panose="020B0600070205080204" pitchFamily="50" charset="-128"/>
                <a:ea typeface="ＭＳ Ｐゴシック" panose="020B0600070205080204" pitchFamily="50" charset="-128"/>
              </a:rPr>
              <a:t>下水</a:t>
            </a:r>
            <a:r>
              <a:rPr lang="ja-JP" altLang="ja-JP" dirty="0">
                <a:latin typeface="ＭＳ Ｐゴシック" panose="020B0600070205080204" pitchFamily="50" charset="-128"/>
                <a:ea typeface="ＭＳ Ｐゴシック" panose="020B0600070205080204" pitchFamily="50" charset="-128"/>
              </a:rPr>
              <a:t>設備へのアクセス提供に向けられている</a:t>
            </a:r>
            <a:endParaRPr lang="en-US" dirty="0">
              <a:latin typeface="ＭＳ Ｐゴシック" panose="020B0600070205080204" pitchFamily="50" charset="-128"/>
              <a:ea typeface="ＭＳ Ｐゴシック" panose="020B0600070205080204" pitchFamily="50" charset="-128"/>
            </a:endParaRPr>
          </a:p>
        </p:txBody>
      </p:sp>
      <p:sp>
        <p:nvSpPr>
          <p:cNvPr id="3" name="Text Placeholder 2"/>
          <p:cNvSpPr>
            <a:spLocks noGrp="1"/>
          </p:cNvSpPr>
          <p:nvPr>
            <p:ph type="body" sz="quarter" idx="37"/>
          </p:nvPr>
        </p:nvSpPr>
        <p:spPr/>
        <p:txBody>
          <a:bodyPr/>
          <a:lstStyle/>
          <a:p>
            <a:r>
              <a:rPr lang="ja-JP" altLang="en-US" dirty="0" smtClean="0">
                <a:latin typeface="Arial" panose="020B0604020202020204" pitchFamily="34" charset="0"/>
                <a:ea typeface="ＭＳ Ｐゴシック" panose="020B0600070205080204" pitchFamily="50" charset="-128"/>
                <a:cs typeface="Arial" panose="020B0604020202020204" pitchFamily="34" charset="0"/>
              </a:rPr>
              <a:t>出典：</a:t>
            </a:r>
            <a:r>
              <a:rPr lang="en-US" dirty="0" smtClean="0">
                <a:latin typeface="Arial" panose="020B0604020202020204" pitchFamily="34" charset="0"/>
                <a:ea typeface="ＭＳ Ｐゴシック" panose="020B0600070205080204" pitchFamily="50" charset="-128"/>
                <a:cs typeface="Arial" panose="020B0604020202020204" pitchFamily="34" charset="0"/>
              </a:rPr>
              <a:t>Dalberg analysis</a:t>
            </a:r>
            <a:endParaRPr 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TextBox 43"/>
          <p:cNvSpPr txBox="1"/>
          <p:nvPr/>
        </p:nvSpPr>
        <p:spPr>
          <a:xfrm>
            <a:off x="6876256" y="1124744"/>
            <a:ext cx="1620000" cy="198446"/>
          </a:xfrm>
          <a:prstGeom prst="rect">
            <a:avLst/>
          </a:prstGeom>
          <a:noFill/>
        </p:spPr>
        <p:txBody>
          <a:bodyPr wrap="square" lIns="0" tIns="0" rIns="0" bIns="0" rtlCol="0">
            <a:noAutofit/>
          </a:bodyPr>
          <a:lstStyle/>
          <a:p>
            <a:pPr marL="231775" indent="-231775"/>
            <a:r>
              <a:rPr lang="ja-JP" altLang="en-US" sz="1100" b="1" dirty="0" smtClean="0">
                <a:solidFill>
                  <a:srgbClr val="000000"/>
                </a:solidFill>
                <a:latin typeface="ＭＳ Ｐゴシック" panose="020B0600070205080204" pitchFamily="50" charset="-128"/>
                <a:ea typeface="ＭＳ Ｐゴシック" panose="020B0600070205080204" pitchFamily="50" charset="-128"/>
              </a:rPr>
              <a:t>投資の概要</a:t>
            </a:r>
            <a:endParaRPr lang="en-US" sz="1100" b="1" dirty="0" smtClean="0">
              <a:solidFill>
                <a:srgbClr val="000000"/>
              </a:solidFill>
              <a:latin typeface="ＭＳ Ｐゴシック" panose="020B0600070205080204" pitchFamily="50" charset="-128"/>
              <a:ea typeface="ＭＳ Ｐゴシック" panose="020B0600070205080204" pitchFamily="50" charset="-128"/>
            </a:endParaRPr>
          </a:p>
        </p:txBody>
      </p:sp>
      <p:sp>
        <p:nvSpPr>
          <p:cNvPr id="46" name="Rectangle 45"/>
          <p:cNvSpPr/>
          <p:nvPr/>
        </p:nvSpPr>
        <p:spPr>
          <a:xfrm>
            <a:off x="6948264" y="2029393"/>
            <a:ext cx="2016224" cy="448056"/>
          </a:xfrm>
          <a:prstGeom prst="rect">
            <a:avLst/>
          </a:prstGeom>
          <a:no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tIns="0" rIns="0" rtlCol="0" anchor="t" anchorCtr="0"/>
          <a:lstStyle/>
          <a:p>
            <a:r>
              <a:rPr lang="en-US" sz="1000" b="1" dirty="0" smtClean="0">
                <a:solidFill>
                  <a:srgbClr val="000000"/>
                </a:solidFill>
                <a:latin typeface="Arial" panose="020B0604020202020204" pitchFamily="34" charset="0"/>
                <a:ea typeface="ＭＳ Ｐゴシック" panose="020B0600070205080204" pitchFamily="50" charset="-128"/>
                <a:cs typeface="Arial" panose="020B0604020202020204" pitchFamily="34" charset="0"/>
              </a:rPr>
              <a:t>Amul、 ACC </a:t>
            </a:r>
            <a:r>
              <a:rPr lang="ja-JP" altLang="en-US" sz="1000" b="1" dirty="0" smtClean="0">
                <a:solidFill>
                  <a:srgbClr val="000000"/>
                </a:solidFill>
                <a:latin typeface="Arial" panose="020B0604020202020204" pitchFamily="34" charset="0"/>
                <a:ea typeface="ＭＳ Ｐゴシック" panose="020B0600070205080204" pitchFamily="50" charset="-128"/>
                <a:cs typeface="Arial" panose="020B0604020202020204" pitchFamily="34" charset="0"/>
              </a:rPr>
              <a:t>セメント</a:t>
            </a:r>
            <a:r>
              <a:rPr lang="en-US" sz="1000" b="1" dirty="0" smtClean="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p>
          <a:p>
            <a:r>
              <a:rPr lang="en-US" sz="1000" b="1" dirty="0" smtClean="0">
                <a:solidFill>
                  <a:srgbClr val="000000"/>
                </a:solidFill>
                <a:latin typeface="Arial" panose="020B0604020202020204" pitchFamily="34" charset="0"/>
                <a:ea typeface="ＭＳ Ｐゴシック" panose="020B0600070205080204" pitchFamily="50" charset="-128"/>
                <a:cs typeface="Arial" panose="020B0604020202020204" pitchFamily="34" charset="0"/>
              </a:rPr>
              <a:t>GAIL (5)</a:t>
            </a:r>
            <a:endParaRPr 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TextBox 49"/>
          <p:cNvSpPr txBox="1"/>
          <p:nvPr/>
        </p:nvSpPr>
        <p:spPr>
          <a:xfrm>
            <a:off x="380648" y="1124744"/>
            <a:ext cx="6281795" cy="224028"/>
          </a:xfrm>
          <a:prstGeom prst="rect">
            <a:avLst/>
          </a:prstGeom>
          <a:noFill/>
        </p:spPr>
        <p:txBody>
          <a:bodyPr wrap="square" lIns="0" tIns="0" rIns="0" bIns="0" rtlCol="0">
            <a:noAutofit/>
          </a:bodyPr>
          <a:lstStyle/>
          <a:p>
            <a:pPr marL="231775" indent="-231775"/>
            <a:r>
              <a:rPr lang="ja-JP" altLang="en-US" sz="1100" b="1" dirty="0" smtClean="0">
                <a:solidFill>
                  <a:srgbClr val="000000"/>
                </a:solidFill>
                <a:latin typeface="ＭＳ Ｐゴシック" panose="020B0600070205080204" pitchFamily="50" charset="-128"/>
                <a:ea typeface="ＭＳ Ｐゴシック" panose="020B0600070205080204" pitchFamily="50" charset="-128"/>
              </a:rPr>
              <a:t>ビジネスチャンスの概要</a:t>
            </a:r>
            <a:endParaRPr lang="en-US" sz="1100" b="1" dirty="0" smtClean="0">
              <a:solidFill>
                <a:srgbClr val="000000"/>
              </a:solidFill>
              <a:latin typeface="ＭＳ Ｐゴシック" panose="020B0600070205080204" pitchFamily="50" charset="-128"/>
              <a:ea typeface="ＭＳ Ｐゴシック" panose="020B0600070205080204" pitchFamily="50" charset="-128"/>
            </a:endParaRPr>
          </a:p>
        </p:txBody>
      </p:sp>
      <p:cxnSp>
        <p:nvCxnSpPr>
          <p:cNvPr id="51" name="Straight Connector 50"/>
          <p:cNvCxnSpPr/>
          <p:nvPr/>
        </p:nvCxnSpPr>
        <p:spPr>
          <a:xfrm>
            <a:off x="380649" y="1353344"/>
            <a:ext cx="621792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5334000" y="899754"/>
            <a:ext cx="228600" cy="1524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000" dirty="0">
              <a:solidFill>
                <a:srgbClr val="FFFFFF"/>
              </a:solidFill>
            </a:endParaRPr>
          </a:p>
        </p:txBody>
      </p:sp>
      <p:sp>
        <p:nvSpPr>
          <p:cNvPr id="56" name="TextBox 55"/>
          <p:cNvSpPr txBox="1"/>
          <p:nvPr/>
        </p:nvSpPr>
        <p:spPr>
          <a:xfrm>
            <a:off x="5638800" y="883920"/>
            <a:ext cx="1686276" cy="182880"/>
          </a:xfrm>
          <a:prstGeom prst="rect">
            <a:avLst/>
          </a:prstGeom>
          <a:noFill/>
        </p:spPr>
        <p:txBody>
          <a:bodyPr wrap="square" lIns="0" tIns="0" rIns="0" bIns="0" rtlCol="0">
            <a:noAutofit/>
          </a:bodyPr>
          <a:lstStyle/>
          <a:p>
            <a:pPr marL="231775" indent="-231775"/>
            <a:r>
              <a:rPr lang="ja-JP" altLang="en-US" sz="1100" dirty="0" smtClean="0">
                <a:solidFill>
                  <a:srgbClr val="000000"/>
                </a:solidFill>
                <a:latin typeface="ＭＳ Ｐゴシック" panose="020B0600070205080204" pitchFamily="50" charset="-128"/>
                <a:ea typeface="ＭＳ Ｐゴシック" panose="020B0600070205080204" pitchFamily="50" charset="-128"/>
              </a:rPr>
              <a:t>現在の投資</a:t>
            </a:r>
            <a:endParaRPr lang="en-US" sz="1100" dirty="0" smtClean="0">
              <a:solidFill>
                <a:srgbClr val="000000"/>
              </a:solidFill>
              <a:latin typeface="ＭＳ Ｐゴシック" panose="020B0600070205080204" pitchFamily="50" charset="-128"/>
              <a:ea typeface="ＭＳ Ｐゴシック" panose="020B0600070205080204" pitchFamily="50" charset="-128"/>
            </a:endParaRPr>
          </a:p>
        </p:txBody>
      </p:sp>
      <p:sp>
        <p:nvSpPr>
          <p:cNvPr id="57" name="Rectangle 56"/>
          <p:cNvSpPr/>
          <p:nvPr/>
        </p:nvSpPr>
        <p:spPr>
          <a:xfrm>
            <a:off x="6984492" y="899754"/>
            <a:ext cx="228600" cy="1524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8" name="TextBox 57"/>
          <p:cNvSpPr txBox="1"/>
          <p:nvPr/>
        </p:nvSpPr>
        <p:spPr>
          <a:xfrm>
            <a:off x="7289292" y="883920"/>
            <a:ext cx="1686276" cy="182880"/>
          </a:xfrm>
          <a:prstGeom prst="rect">
            <a:avLst/>
          </a:prstGeom>
          <a:noFill/>
        </p:spPr>
        <p:txBody>
          <a:bodyPr wrap="square" lIns="0" tIns="0" rIns="0" bIns="0" rtlCol="0">
            <a:noAutofit/>
          </a:bodyPr>
          <a:lstStyle/>
          <a:p>
            <a:pPr marL="231775" indent="-231775"/>
            <a:r>
              <a:rPr lang="ja-JP" altLang="en-US" sz="1100" dirty="0" smtClean="0">
                <a:solidFill>
                  <a:srgbClr val="000000"/>
                </a:solidFill>
                <a:latin typeface="ＭＳ Ｐゴシック" panose="020B0600070205080204" pitchFamily="50" charset="-128"/>
                <a:ea typeface="ＭＳ Ｐゴシック" panose="020B0600070205080204" pitchFamily="50" charset="-128"/>
              </a:rPr>
              <a:t>見込まれる投資</a:t>
            </a:r>
            <a:endParaRPr lang="en-US" sz="1100" dirty="0" smtClean="0">
              <a:solidFill>
                <a:srgbClr val="000000"/>
              </a:solidFill>
              <a:latin typeface="ＭＳ Ｐゴシック" panose="020B0600070205080204" pitchFamily="50" charset="-128"/>
              <a:ea typeface="ＭＳ Ｐゴシック" panose="020B0600070205080204" pitchFamily="50" charset="-128"/>
            </a:endParaRPr>
          </a:p>
        </p:txBody>
      </p:sp>
      <p:cxnSp>
        <p:nvCxnSpPr>
          <p:cNvPr id="89" name="Straight Connector 88"/>
          <p:cNvCxnSpPr/>
          <p:nvPr/>
        </p:nvCxnSpPr>
        <p:spPr>
          <a:xfrm>
            <a:off x="6876256" y="1359940"/>
            <a:ext cx="15956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8" name="Rectangle 87"/>
          <p:cNvSpPr/>
          <p:nvPr/>
        </p:nvSpPr>
        <p:spPr>
          <a:xfrm>
            <a:off x="5256256" y="4989697"/>
            <a:ext cx="1620000"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下水道処理場の設置（</a:t>
            </a:r>
            <a:r>
              <a:rPr lang="en-US" altLang="ja-JP" sz="1000" dirty="0">
                <a:solidFill>
                  <a:schemeClr val="tx1"/>
                </a:solidFill>
                <a:latin typeface="ＭＳ Ｐゴシック" panose="020B0600070205080204" pitchFamily="50" charset="-128"/>
                <a:ea typeface="ＭＳ Ｐゴシック" panose="020B0600070205080204" pitchFamily="50" charset="-128"/>
              </a:rPr>
              <a:t>#11</a:t>
            </a:r>
            <a:r>
              <a:rPr lang="ja-JP" altLang="en-US" sz="1000" dirty="0">
                <a:solidFill>
                  <a:schemeClr val="tx1"/>
                </a:solidFill>
                <a:latin typeface="ＭＳ Ｐゴシック" panose="020B0600070205080204" pitchFamily="50" charset="-128"/>
                <a:ea typeface="ＭＳ Ｐゴシック" panose="020B0600070205080204" pitchFamily="50" charset="-128"/>
              </a:rPr>
              <a:t>）と運営（</a:t>
            </a:r>
            <a:r>
              <a:rPr lang="en-US" altLang="ja-JP" sz="1000" dirty="0">
                <a:solidFill>
                  <a:schemeClr val="tx1"/>
                </a:solidFill>
                <a:latin typeface="ＭＳ Ｐゴシック" panose="020B0600070205080204" pitchFamily="50" charset="-128"/>
                <a:ea typeface="ＭＳ Ｐゴシック" panose="020B0600070205080204" pitchFamily="50" charset="-128"/>
              </a:rPr>
              <a:t>#12</a:t>
            </a:r>
            <a:r>
              <a:rPr lang="ja-JP" altLang="en-US" sz="1000" dirty="0">
                <a:solidFill>
                  <a:schemeClr val="tx1"/>
                </a:solidFill>
                <a:latin typeface="ＭＳ Ｐゴシック" panose="020B0600070205080204" pitchFamily="50" charset="-128"/>
                <a:ea typeface="ＭＳ Ｐゴシック" panose="020B0600070205080204" pitchFamily="50" charset="-128"/>
              </a:rPr>
              <a:t>）</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90" name="Rectangle 89"/>
          <p:cNvSpPr/>
          <p:nvPr/>
        </p:nvSpPr>
        <p:spPr>
          <a:xfrm>
            <a:off x="1534024" y="5533599"/>
            <a:ext cx="5342231"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浄化槽の改修（</a:t>
            </a:r>
            <a:r>
              <a:rPr lang="en-US" altLang="ja-JP" sz="1000" dirty="0">
                <a:solidFill>
                  <a:schemeClr val="tx1"/>
                </a:solidFill>
                <a:latin typeface="ＭＳ Ｐゴシック" panose="020B0600070205080204" pitchFamily="50" charset="-128"/>
                <a:ea typeface="ＭＳ Ｐゴシック" panose="020B0600070205080204" pitchFamily="50" charset="-128"/>
              </a:rPr>
              <a:t>#3</a:t>
            </a:r>
            <a:r>
              <a:rPr lang="ja-JP" altLang="en-US" sz="1000" dirty="0">
                <a:solidFill>
                  <a:schemeClr val="tx1"/>
                </a:solidFill>
                <a:latin typeface="ＭＳ Ｐゴシック" panose="020B0600070205080204" pitchFamily="50" charset="-128"/>
                <a:ea typeface="ＭＳ Ｐゴシック" panose="020B0600070205080204" pitchFamily="50" charset="-128"/>
              </a:rPr>
              <a:t>）、汚泥管理（</a:t>
            </a:r>
            <a:r>
              <a:rPr lang="en-US" altLang="ja-JP" sz="1000" dirty="0">
                <a:solidFill>
                  <a:schemeClr val="tx1"/>
                </a:solidFill>
                <a:latin typeface="ＭＳ Ｐゴシック" panose="020B0600070205080204" pitchFamily="50" charset="-128"/>
                <a:ea typeface="ＭＳ Ｐゴシック" panose="020B0600070205080204" pitchFamily="50" charset="-128"/>
              </a:rPr>
              <a:t>#7</a:t>
            </a:r>
            <a:r>
              <a:rPr lang="ja-JP" altLang="en-US" sz="1000" dirty="0">
                <a:solidFill>
                  <a:schemeClr val="tx1"/>
                </a:solidFill>
                <a:latin typeface="ＭＳ Ｐゴシック" panose="020B0600070205080204" pitchFamily="50" charset="-128"/>
                <a:ea typeface="ＭＳ Ｐゴシック" panose="020B0600070205080204" pitchFamily="50" charset="-128"/>
              </a:rPr>
              <a:t>）、汚水処理場の設置（</a:t>
            </a:r>
            <a:r>
              <a:rPr lang="en-US" altLang="ja-JP" sz="1000" dirty="0">
                <a:solidFill>
                  <a:schemeClr val="tx1"/>
                </a:solidFill>
                <a:latin typeface="ＭＳ Ｐゴシック" panose="020B0600070205080204" pitchFamily="50" charset="-128"/>
                <a:ea typeface="ＭＳ Ｐゴシック" panose="020B0600070205080204" pitchFamily="50" charset="-128"/>
              </a:rPr>
              <a:t>#9</a:t>
            </a:r>
            <a:r>
              <a:rPr lang="ja-JP" altLang="en-US" sz="1000" dirty="0">
                <a:solidFill>
                  <a:schemeClr val="tx1"/>
                </a:solidFill>
                <a:latin typeface="ＭＳ Ｐゴシック" panose="020B0600070205080204" pitchFamily="50" charset="-128"/>
                <a:ea typeface="ＭＳ Ｐゴシック" panose="020B0600070205080204" pitchFamily="50" charset="-128"/>
              </a:rPr>
              <a:t>）をはじめとする、総合的な汚泥管理計画</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91" name="Rectangle 90"/>
          <p:cNvSpPr/>
          <p:nvPr/>
        </p:nvSpPr>
        <p:spPr>
          <a:xfrm>
            <a:off x="1534024" y="4989697"/>
            <a:ext cx="1620000" cy="433496"/>
          </a:xfrm>
          <a:prstGeom prst="rect">
            <a:avLst/>
          </a:prstGeom>
          <a:solidFill>
            <a:schemeClr val="tx2">
              <a:lumMod val="20000"/>
              <a:lumOff val="80000"/>
            </a:schemeClr>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コミュニティ・トイレの設置（</a:t>
            </a:r>
            <a:r>
              <a:rPr lang="en-US" altLang="ja-JP" sz="1000" dirty="0">
                <a:solidFill>
                  <a:schemeClr val="tx1"/>
                </a:solidFill>
                <a:latin typeface="ＭＳ Ｐゴシック" panose="020B0600070205080204" pitchFamily="50" charset="-128"/>
                <a:ea typeface="ＭＳ Ｐゴシック" panose="020B0600070205080204" pitchFamily="50" charset="-128"/>
              </a:rPr>
              <a:t>#2</a:t>
            </a:r>
            <a:r>
              <a:rPr lang="ja-JP" altLang="en-US" sz="1000" dirty="0">
                <a:solidFill>
                  <a:schemeClr val="tx1"/>
                </a:solidFill>
                <a:latin typeface="ＭＳ Ｐゴシック" panose="020B0600070205080204" pitchFamily="50" charset="-128"/>
                <a:ea typeface="ＭＳ Ｐゴシック" panose="020B0600070205080204" pitchFamily="50" charset="-128"/>
              </a:rPr>
              <a:t>）と維持管理（</a:t>
            </a:r>
            <a:r>
              <a:rPr lang="en-US" altLang="ja-JP" sz="1000" dirty="0">
                <a:solidFill>
                  <a:schemeClr val="tx1"/>
                </a:solidFill>
                <a:latin typeface="ＭＳ Ｐゴシック" panose="020B0600070205080204" pitchFamily="50" charset="-128"/>
                <a:ea typeface="ＭＳ Ｐゴシック" panose="020B0600070205080204" pitchFamily="50" charset="-128"/>
              </a:rPr>
              <a:t>#4</a:t>
            </a:r>
            <a:r>
              <a:rPr lang="ja-JP" altLang="en-US" sz="1000" dirty="0">
                <a:solidFill>
                  <a:schemeClr val="tx1"/>
                </a:solidFill>
                <a:latin typeface="ＭＳ Ｐゴシック" panose="020B0600070205080204" pitchFamily="50" charset="-128"/>
                <a:ea typeface="ＭＳ Ｐゴシック" panose="020B0600070205080204" pitchFamily="50" charset="-128"/>
              </a:rPr>
              <a:t>）</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cxnSp>
        <p:nvCxnSpPr>
          <p:cNvPr id="92" name="Straight Connector 91"/>
          <p:cNvCxnSpPr/>
          <p:nvPr/>
        </p:nvCxnSpPr>
        <p:spPr>
          <a:xfrm>
            <a:off x="441144" y="3703083"/>
            <a:ext cx="6255307" cy="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93" name="Rectangle 92"/>
          <p:cNvSpPr/>
          <p:nvPr/>
        </p:nvSpPr>
        <p:spPr>
          <a:xfrm>
            <a:off x="1534024" y="2608824"/>
            <a:ext cx="1620000" cy="433496"/>
          </a:xfrm>
          <a:prstGeom prst="rect">
            <a:avLst/>
          </a:prstGeom>
          <a:solidFill>
            <a:schemeClr val="accent3">
              <a:lumMod val="40000"/>
              <a:lumOff val="60000"/>
            </a:schemeClr>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900" dirty="0" smtClean="0">
                <a:solidFill>
                  <a:schemeClr val="tx1"/>
                </a:solidFill>
                <a:latin typeface="ＭＳ Ｐゴシック" panose="020B0600070205080204" pitchFamily="50" charset="-128"/>
                <a:ea typeface="ＭＳ Ｐゴシック" panose="020B0600070205080204" pitchFamily="50" charset="-128"/>
              </a:rPr>
              <a:t>浄化槽や下水道とつながった新しいコミュニティ・トイレ／公衆トイレの設置</a:t>
            </a:r>
            <a:endParaRPr lang="en-US" sz="900" dirty="0">
              <a:solidFill>
                <a:schemeClr val="tx1"/>
              </a:solidFill>
              <a:latin typeface="ＭＳ Ｐゴシック" panose="020B0600070205080204" pitchFamily="50" charset="-128"/>
              <a:ea typeface="ＭＳ Ｐゴシック" panose="020B0600070205080204" pitchFamily="50" charset="-128"/>
            </a:endParaRPr>
          </a:p>
        </p:txBody>
      </p:sp>
      <p:sp>
        <p:nvSpPr>
          <p:cNvPr id="94" name="Rectangle 93"/>
          <p:cNvSpPr/>
          <p:nvPr/>
        </p:nvSpPr>
        <p:spPr>
          <a:xfrm>
            <a:off x="5256256" y="2608824"/>
            <a:ext cx="1620000"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排水処理場の設置</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95" name="Rectangle 94"/>
          <p:cNvSpPr/>
          <p:nvPr/>
        </p:nvSpPr>
        <p:spPr>
          <a:xfrm>
            <a:off x="3395141" y="2608824"/>
            <a:ext cx="1620000" cy="433496"/>
          </a:xfrm>
          <a:prstGeom prst="rect">
            <a:avLst/>
          </a:prstGeom>
          <a:solidFill>
            <a:schemeClr val="accent3">
              <a:lumMod val="40000"/>
              <a:lumOff val="60000"/>
            </a:schemeClr>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排水穴と前沈殿下水道の設置</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96" name="Rectangle 95"/>
          <p:cNvSpPr/>
          <p:nvPr/>
        </p:nvSpPr>
        <p:spPr>
          <a:xfrm>
            <a:off x="1534024" y="2031336"/>
            <a:ext cx="1620000" cy="433496"/>
          </a:xfrm>
          <a:prstGeom prst="rect">
            <a:avLst/>
          </a:prstGeom>
          <a:solidFill>
            <a:schemeClr val="accent3">
              <a:lumMod val="40000"/>
              <a:lumOff val="60000"/>
            </a:schemeClr>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900" dirty="0" smtClean="0">
                <a:solidFill>
                  <a:schemeClr val="tx1"/>
                </a:solidFill>
                <a:latin typeface="ＭＳ Ｐゴシック" panose="020B0600070205080204" pitchFamily="50" charset="-128"/>
                <a:ea typeface="ＭＳ Ｐゴシック" panose="020B0600070205080204" pitchFamily="50" charset="-128"/>
              </a:rPr>
              <a:t>浄化槽や下水道とつながった新しい共同トイレ／個別トイレの設置</a:t>
            </a:r>
            <a:endParaRPr lang="en-US" sz="900" dirty="0">
              <a:solidFill>
                <a:schemeClr val="tx1"/>
              </a:solidFill>
              <a:latin typeface="ＭＳ Ｐゴシック" panose="020B0600070205080204" pitchFamily="50" charset="-128"/>
              <a:ea typeface="ＭＳ Ｐゴシック" panose="020B0600070205080204" pitchFamily="50" charset="-128"/>
            </a:endParaRPr>
          </a:p>
        </p:txBody>
      </p:sp>
      <p:sp>
        <p:nvSpPr>
          <p:cNvPr id="97" name="Rectangle 96"/>
          <p:cNvSpPr/>
          <p:nvPr/>
        </p:nvSpPr>
        <p:spPr>
          <a:xfrm>
            <a:off x="3395141" y="2031336"/>
            <a:ext cx="1620000" cy="433496"/>
          </a:xfrm>
          <a:prstGeom prst="rect">
            <a:avLst/>
          </a:prstGeom>
          <a:solidFill>
            <a:schemeClr val="accent3">
              <a:lumMod val="40000"/>
              <a:lumOff val="60000"/>
            </a:schemeClr>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下水道ネットワークの設置</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98" name="Rectangle 97"/>
          <p:cNvSpPr/>
          <p:nvPr/>
        </p:nvSpPr>
        <p:spPr>
          <a:xfrm>
            <a:off x="5256256" y="2031336"/>
            <a:ext cx="1620000" cy="433496"/>
          </a:xfrm>
          <a:prstGeom prst="rect">
            <a:avLst/>
          </a:prstGeom>
          <a:solidFill>
            <a:schemeClr val="bg1"/>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汚水処理場の設置</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100" name="Rectangle 99"/>
          <p:cNvSpPr/>
          <p:nvPr/>
        </p:nvSpPr>
        <p:spPr>
          <a:xfrm>
            <a:off x="3395141" y="4363656"/>
            <a:ext cx="1620000" cy="433496"/>
          </a:xfrm>
          <a:prstGeom prst="rect">
            <a:avLst/>
          </a:prstGeom>
          <a:solidFill>
            <a:schemeClr val="bg1"/>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下水道ネットワークの管理</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cxnSp>
        <p:nvCxnSpPr>
          <p:cNvPr id="102" name="Straight Connector 101"/>
          <p:cNvCxnSpPr/>
          <p:nvPr/>
        </p:nvCxnSpPr>
        <p:spPr>
          <a:xfrm>
            <a:off x="450293" y="4848437"/>
            <a:ext cx="6255307" cy="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03" name="Oval 102"/>
          <p:cNvSpPr/>
          <p:nvPr/>
        </p:nvSpPr>
        <p:spPr>
          <a:xfrm>
            <a:off x="1371717" y="1956322"/>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rgbClr val="FFFFFF"/>
                </a:solidFill>
              </a:rPr>
              <a:t>1</a:t>
            </a:r>
          </a:p>
        </p:txBody>
      </p:sp>
      <p:sp>
        <p:nvSpPr>
          <p:cNvPr id="104" name="Oval 103"/>
          <p:cNvSpPr/>
          <p:nvPr/>
        </p:nvSpPr>
        <p:spPr>
          <a:xfrm>
            <a:off x="1371717" y="2546064"/>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2</a:t>
            </a:r>
            <a:endParaRPr lang="en-US" sz="1000" dirty="0">
              <a:solidFill>
                <a:srgbClr val="FFFFFF"/>
              </a:solidFill>
            </a:endParaRPr>
          </a:p>
        </p:txBody>
      </p:sp>
      <p:sp>
        <p:nvSpPr>
          <p:cNvPr id="105" name="Rectangle 104"/>
          <p:cNvSpPr/>
          <p:nvPr/>
        </p:nvSpPr>
        <p:spPr>
          <a:xfrm>
            <a:off x="1534024" y="3809602"/>
            <a:ext cx="1620000" cy="433495"/>
          </a:xfrm>
          <a:prstGeom prst="rect">
            <a:avLst/>
          </a:prstGeom>
          <a:solidFill>
            <a:schemeClr val="bg1"/>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コミュニティ・トイレと公衆トイレの維持管理</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106" name="Oval 105"/>
          <p:cNvSpPr/>
          <p:nvPr/>
        </p:nvSpPr>
        <p:spPr>
          <a:xfrm>
            <a:off x="1371717" y="3713676"/>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rgbClr val="FFFFFF"/>
                </a:solidFill>
              </a:rPr>
              <a:t>4</a:t>
            </a:r>
          </a:p>
        </p:txBody>
      </p:sp>
      <p:sp>
        <p:nvSpPr>
          <p:cNvPr id="107" name="Oval 106"/>
          <p:cNvSpPr/>
          <p:nvPr/>
        </p:nvSpPr>
        <p:spPr>
          <a:xfrm>
            <a:off x="3246020" y="2546064"/>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rgbClr val="FFFFFF"/>
                </a:solidFill>
              </a:rPr>
              <a:t>6</a:t>
            </a:r>
          </a:p>
        </p:txBody>
      </p:sp>
      <p:sp>
        <p:nvSpPr>
          <p:cNvPr id="108" name="Rectangle 107"/>
          <p:cNvSpPr/>
          <p:nvPr/>
        </p:nvSpPr>
        <p:spPr>
          <a:xfrm>
            <a:off x="3395141" y="3809602"/>
            <a:ext cx="1620000"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汚泥の管理</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109" name="Oval 108"/>
          <p:cNvSpPr/>
          <p:nvPr/>
        </p:nvSpPr>
        <p:spPr>
          <a:xfrm>
            <a:off x="3246020" y="3713676"/>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7</a:t>
            </a:r>
            <a:endParaRPr lang="en-US" sz="1000" dirty="0">
              <a:solidFill>
                <a:srgbClr val="FFFFFF"/>
              </a:solidFill>
            </a:endParaRPr>
          </a:p>
        </p:txBody>
      </p:sp>
      <p:sp>
        <p:nvSpPr>
          <p:cNvPr id="110" name="Oval 109"/>
          <p:cNvSpPr/>
          <p:nvPr/>
        </p:nvSpPr>
        <p:spPr>
          <a:xfrm>
            <a:off x="3246020" y="4289746"/>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rgbClr val="FFFFFF"/>
                </a:solidFill>
              </a:rPr>
              <a:t>8</a:t>
            </a:r>
          </a:p>
        </p:txBody>
      </p:sp>
      <p:sp>
        <p:nvSpPr>
          <p:cNvPr id="111" name="Oval 110"/>
          <p:cNvSpPr/>
          <p:nvPr/>
        </p:nvSpPr>
        <p:spPr>
          <a:xfrm>
            <a:off x="3246020" y="1958685"/>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rgbClr val="FFFFFF"/>
                </a:solidFill>
              </a:rPr>
              <a:t>5</a:t>
            </a:r>
          </a:p>
        </p:txBody>
      </p:sp>
      <p:sp>
        <p:nvSpPr>
          <p:cNvPr id="112" name="Oval 111"/>
          <p:cNvSpPr/>
          <p:nvPr/>
        </p:nvSpPr>
        <p:spPr>
          <a:xfrm>
            <a:off x="5121432" y="1958685"/>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rgbClr val="FFFFFF"/>
                </a:solidFill>
              </a:rPr>
              <a:t>9</a:t>
            </a:r>
          </a:p>
        </p:txBody>
      </p:sp>
      <p:sp>
        <p:nvSpPr>
          <p:cNvPr id="114" name="Oval 113"/>
          <p:cNvSpPr/>
          <p:nvPr/>
        </p:nvSpPr>
        <p:spPr>
          <a:xfrm>
            <a:off x="5121432" y="2546064"/>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0</a:t>
            </a:r>
            <a:endParaRPr lang="en-US" sz="1000" dirty="0">
              <a:solidFill>
                <a:srgbClr val="FFFFFF"/>
              </a:solidFill>
            </a:endParaRPr>
          </a:p>
        </p:txBody>
      </p:sp>
      <p:sp>
        <p:nvSpPr>
          <p:cNvPr id="115" name="Rectangle 114"/>
          <p:cNvSpPr/>
          <p:nvPr/>
        </p:nvSpPr>
        <p:spPr>
          <a:xfrm>
            <a:off x="5256256" y="3809602"/>
            <a:ext cx="1620000" cy="433496"/>
          </a:xfrm>
          <a:prstGeom prst="rect">
            <a:avLst/>
          </a:prstGeom>
          <a:solidFill>
            <a:schemeClr val="bg1"/>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下水処理場の維持管理</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116" name="Oval 115"/>
          <p:cNvSpPr/>
          <p:nvPr/>
        </p:nvSpPr>
        <p:spPr>
          <a:xfrm>
            <a:off x="5121432" y="3713676"/>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2</a:t>
            </a:r>
            <a:endParaRPr lang="en-US" sz="1000" dirty="0">
              <a:solidFill>
                <a:srgbClr val="FFFFFF"/>
              </a:solidFill>
            </a:endParaRPr>
          </a:p>
        </p:txBody>
      </p:sp>
      <p:sp>
        <p:nvSpPr>
          <p:cNvPr id="117" name="Oval 116"/>
          <p:cNvSpPr/>
          <p:nvPr/>
        </p:nvSpPr>
        <p:spPr>
          <a:xfrm>
            <a:off x="1371717" y="5435728"/>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4</a:t>
            </a:r>
            <a:endParaRPr lang="en-US" sz="1000" dirty="0">
              <a:solidFill>
                <a:srgbClr val="FFFFFF"/>
              </a:solidFill>
            </a:endParaRPr>
          </a:p>
        </p:txBody>
      </p:sp>
      <p:sp>
        <p:nvSpPr>
          <p:cNvPr id="118" name="Oval 117"/>
          <p:cNvSpPr/>
          <p:nvPr/>
        </p:nvSpPr>
        <p:spPr>
          <a:xfrm>
            <a:off x="5121432" y="4919068"/>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6</a:t>
            </a:r>
            <a:endParaRPr lang="en-US" sz="1000" dirty="0">
              <a:solidFill>
                <a:srgbClr val="FFFFFF"/>
              </a:solidFill>
            </a:endParaRPr>
          </a:p>
        </p:txBody>
      </p:sp>
      <p:sp>
        <p:nvSpPr>
          <p:cNvPr id="119" name="Oval 118"/>
          <p:cNvSpPr/>
          <p:nvPr/>
        </p:nvSpPr>
        <p:spPr>
          <a:xfrm>
            <a:off x="1371717" y="4919068"/>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3</a:t>
            </a:r>
            <a:endParaRPr lang="en-US" sz="1000" dirty="0">
              <a:solidFill>
                <a:srgbClr val="FFFFFF"/>
              </a:solidFill>
            </a:endParaRPr>
          </a:p>
        </p:txBody>
      </p:sp>
      <p:sp>
        <p:nvSpPr>
          <p:cNvPr id="121" name="Chevron 120"/>
          <p:cNvSpPr/>
          <p:nvPr/>
        </p:nvSpPr>
        <p:spPr>
          <a:xfrm>
            <a:off x="1534025" y="1419326"/>
            <a:ext cx="1692000" cy="470866"/>
          </a:xfrm>
          <a:prstGeom prst="chevron">
            <a:avLst>
              <a:gd name="adj" fmla="val 20248"/>
            </a:avLst>
          </a:prstGeom>
          <a:solidFill>
            <a:srgbClr val="67103F"/>
          </a:solidFill>
          <a:ln w="9525">
            <a:noFill/>
          </a:ln>
        </p:spPr>
        <p:txBody>
          <a:bodyPr wrap="square" lIns="44450" tIns="131763" rIns="0" bIns="133350" anchor="ctr" anchorCtr="0">
            <a:noAutofit/>
          </a:bodyPr>
          <a:lstStyle/>
          <a:p>
            <a:pPr algn="ctr">
              <a:spcBef>
                <a:spcPct val="0"/>
              </a:spcBef>
              <a:spcAft>
                <a:spcPct val="0"/>
              </a:spcAft>
              <a:buFont typeface="Arial" pitchFamily="34" charset="0"/>
              <a:buNone/>
            </a:pPr>
            <a:r>
              <a:rPr lang="ja-JP" altLang="en-US" sz="1000" b="1" dirty="0" smtClean="0">
                <a:solidFill>
                  <a:srgbClr val="FFFFFF"/>
                </a:solidFill>
                <a:latin typeface="ＭＳ Ｐゴシック" panose="020B0600070205080204" pitchFamily="50" charset="-128"/>
                <a:ea typeface="ＭＳ Ｐゴシック" panose="020B0600070205080204" pitchFamily="50" charset="-128"/>
              </a:rPr>
              <a:t>アクセスと収集</a:t>
            </a:r>
            <a:endParaRPr lang="en-US" sz="1000" b="1" dirty="0">
              <a:solidFill>
                <a:srgbClr val="FFFFFF"/>
              </a:solidFill>
              <a:latin typeface="ＭＳ Ｐゴシック" panose="020B0600070205080204" pitchFamily="50" charset="-128"/>
              <a:ea typeface="ＭＳ Ｐゴシック" panose="020B0600070205080204" pitchFamily="50" charset="-128"/>
            </a:endParaRPr>
          </a:p>
        </p:txBody>
      </p:sp>
      <p:sp>
        <p:nvSpPr>
          <p:cNvPr id="122" name="Chevron 121"/>
          <p:cNvSpPr/>
          <p:nvPr/>
        </p:nvSpPr>
        <p:spPr>
          <a:xfrm>
            <a:off x="3395141" y="1419326"/>
            <a:ext cx="1692000" cy="470866"/>
          </a:xfrm>
          <a:prstGeom prst="chevron">
            <a:avLst>
              <a:gd name="adj" fmla="val 20248"/>
            </a:avLst>
          </a:prstGeom>
          <a:solidFill>
            <a:srgbClr val="67103F"/>
          </a:solidFill>
          <a:ln w="9525">
            <a:noFill/>
          </a:ln>
        </p:spPr>
        <p:txBody>
          <a:bodyPr wrap="square" lIns="44450" tIns="131763" rIns="0" bIns="133350" anchor="ctr" anchorCtr="0">
            <a:noAutofit/>
          </a:bodyPr>
          <a:lstStyle/>
          <a:p>
            <a:pPr algn="ctr">
              <a:spcBef>
                <a:spcPct val="0"/>
              </a:spcBef>
              <a:spcAft>
                <a:spcPct val="0"/>
              </a:spcAft>
              <a:buFont typeface="Arial" pitchFamily="34" charset="0"/>
              <a:buNone/>
            </a:pPr>
            <a:r>
              <a:rPr lang="ja-JP" altLang="en-US" sz="1000" b="1" dirty="0" smtClean="0">
                <a:solidFill>
                  <a:srgbClr val="FFFFFF"/>
                </a:solidFill>
                <a:latin typeface="ＭＳ Ｐゴシック" panose="020B0600070205080204" pitchFamily="50" charset="-128"/>
                <a:ea typeface="ＭＳ Ｐゴシック" panose="020B0600070205080204" pitchFamily="50" charset="-128"/>
              </a:rPr>
              <a:t>運搬</a:t>
            </a:r>
            <a:endParaRPr lang="en-US" sz="1000" b="1" dirty="0">
              <a:solidFill>
                <a:srgbClr val="FFFFFF"/>
              </a:solidFill>
              <a:latin typeface="ＭＳ Ｐゴシック" panose="020B0600070205080204" pitchFamily="50" charset="-128"/>
              <a:ea typeface="ＭＳ Ｐゴシック" panose="020B0600070205080204" pitchFamily="50" charset="-128"/>
            </a:endParaRPr>
          </a:p>
        </p:txBody>
      </p:sp>
      <p:sp>
        <p:nvSpPr>
          <p:cNvPr id="123" name="Chevron 122"/>
          <p:cNvSpPr/>
          <p:nvPr/>
        </p:nvSpPr>
        <p:spPr>
          <a:xfrm>
            <a:off x="5256256" y="1419326"/>
            <a:ext cx="1619999" cy="470866"/>
          </a:xfrm>
          <a:prstGeom prst="chevron">
            <a:avLst>
              <a:gd name="adj" fmla="val 20248"/>
            </a:avLst>
          </a:prstGeom>
          <a:solidFill>
            <a:srgbClr val="67103F"/>
          </a:solidFill>
          <a:ln w="9525">
            <a:noFill/>
          </a:ln>
        </p:spPr>
        <p:txBody>
          <a:bodyPr wrap="square" lIns="44450" tIns="131763" rIns="0" bIns="133350" anchor="ctr" anchorCtr="0">
            <a:noAutofit/>
          </a:bodyPr>
          <a:lstStyle/>
          <a:p>
            <a:pPr algn="ctr">
              <a:spcBef>
                <a:spcPct val="0"/>
              </a:spcBef>
              <a:spcAft>
                <a:spcPct val="0"/>
              </a:spcAft>
              <a:buFont typeface="Arial" pitchFamily="34" charset="0"/>
              <a:buNone/>
            </a:pPr>
            <a:r>
              <a:rPr lang="ja-JP" altLang="en-US" sz="1000" b="1" dirty="0" smtClean="0">
                <a:solidFill>
                  <a:srgbClr val="FFFFFF"/>
                </a:solidFill>
                <a:latin typeface="ＭＳ Ｐゴシック" panose="020B0600070205080204" pitchFamily="50" charset="-128"/>
                <a:ea typeface="ＭＳ Ｐゴシック" panose="020B0600070205080204" pitchFamily="50" charset="-128"/>
              </a:rPr>
              <a:t>処理と再利用</a:t>
            </a:r>
            <a:endParaRPr lang="en-US" sz="1000" b="1" dirty="0">
              <a:solidFill>
                <a:srgbClr val="FFFFFF"/>
              </a:solidFill>
              <a:latin typeface="ＭＳ Ｐゴシック" panose="020B0600070205080204" pitchFamily="50" charset="-128"/>
              <a:ea typeface="ＭＳ Ｐゴシック" panose="020B0600070205080204" pitchFamily="50" charset="-128"/>
            </a:endParaRPr>
          </a:p>
        </p:txBody>
      </p:sp>
      <p:sp>
        <p:nvSpPr>
          <p:cNvPr id="53" name="Rectangle 52"/>
          <p:cNvSpPr/>
          <p:nvPr/>
        </p:nvSpPr>
        <p:spPr>
          <a:xfrm>
            <a:off x="1534024" y="3155088"/>
            <a:ext cx="1620000"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latin typeface="ＭＳ Ｐゴシック" panose="020B0600070205080204" pitchFamily="50" charset="-128"/>
                <a:ea typeface="ＭＳ Ｐゴシック" panose="020B0600070205080204" pitchFamily="50" charset="-128"/>
              </a:rPr>
              <a:t>浄化槽の改修</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54" name="Oval 53"/>
          <p:cNvSpPr/>
          <p:nvPr/>
        </p:nvSpPr>
        <p:spPr>
          <a:xfrm>
            <a:off x="1371717" y="3079070"/>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3</a:t>
            </a:r>
            <a:endParaRPr lang="en-US" sz="1000" dirty="0">
              <a:solidFill>
                <a:srgbClr val="FFFFFF"/>
              </a:solidFill>
            </a:endParaRPr>
          </a:p>
        </p:txBody>
      </p:sp>
      <p:sp>
        <p:nvSpPr>
          <p:cNvPr id="55" name="Rounded Rectangle 54"/>
          <p:cNvSpPr/>
          <p:nvPr/>
        </p:nvSpPr>
        <p:spPr>
          <a:xfrm>
            <a:off x="381001" y="2031337"/>
            <a:ext cx="961102" cy="155724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200" dirty="0" smtClean="0">
                <a:solidFill>
                  <a:schemeClr val="tx2"/>
                </a:solidFill>
                <a:latin typeface="ＭＳ Ｐゴシック" panose="020B0600070205080204" pitchFamily="50" charset="-128"/>
                <a:ea typeface="ＭＳ Ｐゴシック" panose="020B0600070205080204" pitchFamily="50" charset="-128"/>
              </a:rPr>
              <a:t>設置</a:t>
            </a:r>
            <a:endParaRPr lang="en-IN" sz="1200" dirty="0">
              <a:solidFill>
                <a:schemeClr val="tx2"/>
              </a:solidFill>
              <a:latin typeface="ＭＳ Ｐゴシック" panose="020B0600070205080204" pitchFamily="50" charset="-128"/>
              <a:ea typeface="ＭＳ Ｐゴシック" panose="020B0600070205080204" pitchFamily="50" charset="-128"/>
            </a:endParaRPr>
          </a:p>
        </p:txBody>
      </p:sp>
      <p:sp>
        <p:nvSpPr>
          <p:cNvPr id="59" name="Rectangle 58"/>
          <p:cNvSpPr/>
          <p:nvPr/>
        </p:nvSpPr>
        <p:spPr>
          <a:xfrm>
            <a:off x="5256256" y="3155088"/>
            <a:ext cx="1620000"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下水処理場の設置 </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60" name="Oval 59"/>
          <p:cNvSpPr/>
          <p:nvPr/>
        </p:nvSpPr>
        <p:spPr>
          <a:xfrm>
            <a:off x="5121432" y="3079070"/>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1</a:t>
            </a:r>
            <a:endParaRPr lang="en-US" sz="1000" dirty="0">
              <a:solidFill>
                <a:srgbClr val="FFFFFF"/>
              </a:solidFill>
            </a:endParaRPr>
          </a:p>
        </p:txBody>
      </p:sp>
      <p:sp>
        <p:nvSpPr>
          <p:cNvPr id="61" name="Rectangle 60"/>
          <p:cNvSpPr/>
          <p:nvPr/>
        </p:nvSpPr>
        <p:spPr>
          <a:xfrm>
            <a:off x="1534024" y="6079492"/>
            <a:ext cx="5342231"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浄化槽の改修（</a:t>
            </a:r>
            <a:r>
              <a:rPr lang="en-US" altLang="ja-JP" sz="1000" dirty="0">
                <a:solidFill>
                  <a:schemeClr val="tx1"/>
                </a:solidFill>
                <a:latin typeface="ＭＳ Ｐゴシック" panose="020B0600070205080204" pitchFamily="50" charset="-128"/>
                <a:ea typeface="ＭＳ Ｐゴシック" panose="020B0600070205080204" pitchFamily="50" charset="-128"/>
              </a:rPr>
              <a:t>#3</a:t>
            </a:r>
            <a:r>
              <a:rPr lang="ja-JP" altLang="en-US" sz="1000" dirty="0">
                <a:solidFill>
                  <a:schemeClr val="tx1"/>
                </a:solidFill>
                <a:latin typeface="ＭＳ Ｐゴシック" panose="020B0600070205080204" pitchFamily="50" charset="-128"/>
                <a:ea typeface="ＭＳ Ｐゴシック" panose="020B0600070205080204" pitchFamily="50" charset="-128"/>
              </a:rPr>
              <a:t>）、汚泥の管理（</a:t>
            </a:r>
            <a:r>
              <a:rPr lang="en-US" altLang="ja-JP" sz="1000" dirty="0">
                <a:solidFill>
                  <a:schemeClr val="tx1"/>
                </a:solidFill>
                <a:latin typeface="ＭＳ Ｐゴシック" panose="020B0600070205080204" pitchFamily="50" charset="-128"/>
                <a:ea typeface="ＭＳ Ｐゴシック" panose="020B0600070205080204" pitchFamily="50" charset="-128"/>
              </a:rPr>
              <a:t>#7</a:t>
            </a:r>
            <a:r>
              <a:rPr lang="ja-JP" altLang="en-US" sz="1000" dirty="0">
                <a:solidFill>
                  <a:schemeClr val="tx1"/>
                </a:solidFill>
                <a:latin typeface="ＭＳ Ｐゴシック" panose="020B0600070205080204" pitchFamily="50" charset="-128"/>
                <a:ea typeface="ＭＳ Ｐゴシック" panose="020B0600070205080204" pitchFamily="50" charset="-128"/>
              </a:rPr>
              <a:t>）をはじめとする、総合的な前沈殿下水道と汚泥の管理計画 場の設置</a:t>
            </a:r>
            <a:r>
              <a:rPr lang="en-US" sz="1000" dirty="0">
                <a:solidFill>
                  <a:schemeClr val="tx1"/>
                </a:solidFill>
                <a:latin typeface="ＭＳ Ｐゴシック" panose="020B0600070205080204" pitchFamily="50" charset="-128"/>
                <a:ea typeface="ＭＳ Ｐゴシック" panose="020B0600070205080204" pitchFamily="50" charset="-128"/>
              </a:rPr>
              <a:t> (#10)</a:t>
            </a:r>
          </a:p>
        </p:txBody>
      </p:sp>
      <p:sp>
        <p:nvSpPr>
          <p:cNvPr id="62" name="Oval 61"/>
          <p:cNvSpPr/>
          <p:nvPr/>
        </p:nvSpPr>
        <p:spPr>
          <a:xfrm>
            <a:off x="1371717" y="5986680"/>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5</a:t>
            </a:r>
            <a:endParaRPr lang="en-US" sz="1000" dirty="0">
              <a:solidFill>
                <a:srgbClr val="FFFFFF"/>
              </a:solidFill>
            </a:endParaRPr>
          </a:p>
        </p:txBody>
      </p:sp>
      <p:sp>
        <p:nvSpPr>
          <p:cNvPr id="63" name="Rounded Rectangle 62"/>
          <p:cNvSpPr/>
          <p:nvPr/>
        </p:nvSpPr>
        <p:spPr>
          <a:xfrm>
            <a:off x="381001" y="3809602"/>
            <a:ext cx="961102" cy="98755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200" dirty="0">
                <a:solidFill>
                  <a:schemeClr val="tx2"/>
                </a:solidFill>
                <a:latin typeface="ＭＳ Ｐゴシック" panose="020B0600070205080204" pitchFamily="50" charset="-128"/>
                <a:ea typeface="ＭＳ Ｐゴシック" panose="020B0600070205080204" pitchFamily="50" charset="-128"/>
              </a:rPr>
              <a:t>維持管理</a:t>
            </a:r>
            <a:endParaRPr lang="en-IN" sz="1200" dirty="0">
              <a:solidFill>
                <a:schemeClr val="tx2"/>
              </a:solidFill>
              <a:latin typeface="ＭＳ Ｐゴシック" panose="020B0600070205080204" pitchFamily="50" charset="-128"/>
              <a:ea typeface="ＭＳ Ｐゴシック" panose="020B0600070205080204" pitchFamily="50" charset="-128"/>
            </a:endParaRPr>
          </a:p>
        </p:txBody>
      </p:sp>
      <p:sp>
        <p:nvSpPr>
          <p:cNvPr id="64" name="Rounded Rectangle 63"/>
          <p:cNvSpPr/>
          <p:nvPr/>
        </p:nvSpPr>
        <p:spPr>
          <a:xfrm>
            <a:off x="380648" y="4989696"/>
            <a:ext cx="961102" cy="152329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200" dirty="0">
                <a:solidFill>
                  <a:schemeClr val="tx2"/>
                </a:solidFill>
                <a:latin typeface="ＭＳ Ｐゴシック" panose="020B0600070205080204" pitchFamily="50" charset="-128"/>
                <a:ea typeface="ＭＳ Ｐゴシック" panose="020B0600070205080204" pitchFamily="50" charset="-128"/>
              </a:rPr>
              <a:t>総合的ビジネスチャンス</a:t>
            </a:r>
            <a:endParaRPr lang="en-IN" sz="1200" dirty="0">
              <a:solidFill>
                <a:schemeClr val="tx2"/>
              </a:solidFill>
              <a:latin typeface="ＭＳ Ｐゴシック" panose="020B0600070205080204" pitchFamily="50" charset="-128"/>
              <a:ea typeface="ＭＳ Ｐゴシック" panose="020B0600070205080204" pitchFamily="50" charset="-128"/>
            </a:endParaRPr>
          </a:p>
        </p:txBody>
      </p:sp>
      <p:sp>
        <p:nvSpPr>
          <p:cNvPr id="65" name="Rectangle 64"/>
          <p:cNvSpPr/>
          <p:nvPr/>
        </p:nvSpPr>
        <p:spPr>
          <a:xfrm>
            <a:off x="6948264" y="2606154"/>
            <a:ext cx="2016224" cy="448056"/>
          </a:xfrm>
          <a:prstGeom prst="rect">
            <a:avLst/>
          </a:prstGeom>
          <a:no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tIns="0" rIns="0" rtlCol="0" anchor="t" anchorCtr="0"/>
          <a:lstStyle/>
          <a:p>
            <a:r>
              <a:rPr 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Nestle、 ACC Cement、 NTPC (2)</a:t>
            </a:r>
          </a:p>
          <a:p>
            <a:r>
              <a:rPr 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mbuja </a:t>
            </a:r>
            <a:r>
              <a:rPr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セメント</a:t>
            </a:r>
            <a:r>
              <a:rPr 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 (6)</a:t>
            </a:r>
          </a:p>
        </p:txBody>
      </p:sp>
      <p:sp>
        <p:nvSpPr>
          <p:cNvPr id="66" name="Rectangle 65"/>
          <p:cNvSpPr/>
          <p:nvPr/>
        </p:nvSpPr>
        <p:spPr>
          <a:xfrm>
            <a:off x="6948264" y="4989697"/>
            <a:ext cx="2016224" cy="448056"/>
          </a:xfrm>
          <a:prstGeom prst="rect">
            <a:avLst/>
          </a:prstGeom>
          <a:no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tIns="0" rIns="0" rtlCol="0" anchor="t" anchorCtr="0"/>
          <a:lstStyle/>
          <a:p>
            <a:r>
              <a:rPr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ネスレ</a:t>
            </a:r>
            <a:r>
              <a:rPr 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mbuja </a:t>
            </a:r>
            <a:r>
              <a:rPr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セメント</a:t>
            </a:r>
            <a:r>
              <a:rPr 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CC </a:t>
            </a:r>
            <a:r>
              <a:rPr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セメント</a:t>
            </a:r>
            <a:r>
              <a:rPr 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3)</a:t>
            </a:r>
          </a:p>
        </p:txBody>
      </p:sp>
    </p:spTree>
    <p:extLst>
      <p:ext uri="{BB962C8B-B14F-4D97-AF65-F5344CB8AC3E}">
        <p14:creationId xmlns:p14="http://schemas.microsoft.com/office/powerpoint/2010/main" val="783304516"/>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289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381000" y="134471"/>
            <a:ext cx="8347364" cy="609600"/>
          </a:xfrm>
        </p:spPr>
        <p:txBody>
          <a:bodyPr/>
          <a:lstStyle/>
          <a:p>
            <a:r>
              <a:rPr lang="ja-JP" altLang="ja-JP" dirty="0" smtClean="0">
                <a:latin typeface="ＭＳ Ｐゴシック" panose="020B0600070205080204" pitchFamily="50" charset="-128"/>
                <a:ea typeface="ＭＳ Ｐゴシック" panose="020B0600070205080204" pitchFamily="50" charset="-128"/>
              </a:rPr>
              <a:t>実行可能</a:t>
            </a:r>
            <a:r>
              <a:rPr lang="ja-JP" altLang="ja-JP" dirty="0">
                <a:latin typeface="ＭＳ Ｐゴシック" panose="020B0600070205080204" pitchFamily="50" charset="-128"/>
                <a:ea typeface="ＭＳ Ｐゴシック" panose="020B0600070205080204" pitchFamily="50" charset="-128"/>
              </a:rPr>
              <a:t>な中規模の分散型下水処理</a:t>
            </a:r>
            <a:r>
              <a:rPr lang="ja-JP" altLang="ja-JP" dirty="0" smtClean="0">
                <a:latin typeface="ＭＳ Ｐゴシック" panose="020B0600070205080204" pitchFamily="50" charset="-128"/>
                <a:ea typeface="ＭＳ Ｐゴシック" panose="020B0600070205080204" pitchFamily="50" charset="-128"/>
              </a:rPr>
              <a:t>事業に</a:t>
            </a:r>
            <a:r>
              <a:rPr lang="ja-JP" altLang="en-US" dirty="0" smtClean="0">
                <a:latin typeface="ＭＳ Ｐゴシック" panose="020B0600070205080204" pitchFamily="50" charset="-128"/>
                <a:ea typeface="ＭＳ Ｐゴシック" panose="020B0600070205080204" pitchFamily="50" charset="-128"/>
              </a:rPr>
              <a:t>は</a:t>
            </a:r>
            <a:r>
              <a:rPr lang="ja-JP" altLang="ja-JP" dirty="0" smtClean="0">
                <a:latin typeface="ＭＳ Ｐゴシック" panose="020B0600070205080204" pitchFamily="50" charset="-128"/>
                <a:ea typeface="ＭＳ Ｐゴシック" panose="020B0600070205080204" pitchFamily="50" charset="-128"/>
              </a:rPr>
              <a:t>銀行</a:t>
            </a:r>
            <a:r>
              <a:rPr lang="ja-JP" altLang="en-US" dirty="0" smtClean="0">
                <a:latin typeface="ＭＳ Ｐゴシック" panose="020B0600070205080204" pitchFamily="50" charset="-128"/>
                <a:ea typeface="ＭＳ Ｐゴシック" panose="020B0600070205080204" pitchFamily="50" charset="-128"/>
              </a:rPr>
              <a:t>が</a:t>
            </a:r>
            <a:r>
              <a:rPr lang="ja-JP" altLang="ja-JP" dirty="0" smtClean="0">
                <a:latin typeface="ＭＳ Ｐゴシック" panose="020B0600070205080204" pitchFamily="50" charset="-128"/>
                <a:ea typeface="ＭＳ Ｐゴシック" panose="020B0600070205080204" pitchFamily="50" charset="-128"/>
              </a:rPr>
              <a:t>融資</a:t>
            </a:r>
            <a:r>
              <a:rPr lang="ja-JP" altLang="en-US" dirty="0" smtClean="0">
                <a:latin typeface="ＭＳ Ｐゴシック" panose="020B0600070205080204" pitchFamily="50" charset="-128"/>
                <a:ea typeface="ＭＳ Ｐゴシック" panose="020B0600070205080204" pitchFamily="50" charset="-128"/>
              </a:rPr>
              <a:t>を行う</a:t>
            </a:r>
            <a:r>
              <a:rPr lang="ja-JP" altLang="ja-JP" dirty="0" smtClean="0">
                <a:latin typeface="ＭＳ Ｐゴシック" panose="020B0600070205080204" pitchFamily="50" charset="-128"/>
                <a:ea typeface="ＭＳ Ｐゴシック" panose="020B0600070205080204" pitchFamily="50" charset="-128"/>
              </a:rPr>
              <a:t>可能性</a:t>
            </a:r>
            <a:r>
              <a:rPr lang="ja-JP" altLang="ja-JP" dirty="0">
                <a:latin typeface="ＭＳ Ｐゴシック" panose="020B0600070205080204" pitchFamily="50" charset="-128"/>
                <a:ea typeface="ＭＳ Ｐゴシック" panose="020B0600070205080204" pitchFamily="50" charset="-128"/>
              </a:rPr>
              <a:t>がある</a:t>
            </a:r>
            <a:endParaRPr lang="en-US" dirty="0">
              <a:latin typeface="ＭＳ Ｐゴシック" panose="020B0600070205080204" pitchFamily="50" charset="-128"/>
              <a:ea typeface="ＭＳ Ｐゴシック" panose="020B0600070205080204" pitchFamily="50" charset="-128"/>
            </a:endParaRPr>
          </a:p>
        </p:txBody>
      </p:sp>
      <p:sp>
        <p:nvSpPr>
          <p:cNvPr id="3" name="Text Placeholder 2"/>
          <p:cNvSpPr>
            <a:spLocks noGrp="1"/>
          </p:cNvSpPr>
          <p:nvPr>
            <p:ph type="body" sz="quarter" idx="37"/>
          </p:nvPr>
        </p:nvSpPr>
        <p:spPr/>
        <p:txBody>
          <a:bodyPr/>
          <a:lstStyle/>
          <a:p>
            <a:r>
              <a:rPr lang="ja-JP" altLang="en-US" dirty="0" smtClean="0">
                <a:latin typeface="Arial" panose="020B0604020202020204" pitchFamily="34" charset="0"/>
                <a:ea typeface="ＭＳ Ｐゴシック" panose="020B0600070205080204" pitchFamily="50" charset="-128"/>
                <a:cs typeface="Arial" panose="020B0604020202020204" pitchFamily="34" charset="0"/>
              </a:rPr>
              <a:t>出典：</a:t>
            </a:r>
            <a:r>
              <a:rPr lang="en-US" dirty="0" smtClean="0">
                <a:latin typeface="Arial" panose="020B0604020202020204" pitchFamily="34" charset="0"/>
                <a:ea typeface="ＭＳ Ｐゴシック" panose="020B0600070205080204" pitchFamily="50" charset="-128"/>
                <a:cs typeface="Arial" panose="020B0604020202020204" pitchFamily="34" charset="0"/>
              </a:rPr>
              <a:t>Dalberg analysis</a:t>
            </a:r>
            <a:endParaRPr 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TextBox 43"/>
          <p:cNvSpPr txBox="1"/>
          <p:nvPr/>
        </p:nvSpPr>
        <p:spPr>
          <a:xfrm>
            <a:off x="6876256" y="1124744"/>
            <a:ext cx="1620000" cy="198446"/>
          </a:xfrm>
          <a:prstGeom prst="rect">
            <a:avLst/>
          </a:prstGeom>
          <a:noFill/>
        </p:spPr>
        <p:txBody>
          <a:bodyPr wrap="square" lIns="0" tIns="0" rIns="0" bIns="0" rtlCol="0">
            <a:noAutofit/>
          </a:bodyPr>
          <a:lstStyle/>
          <a:p>
            <a:pPr marL="231775" indent="-231775"/>
            <a:r>
              <a:rPr lang="ja-JP" altLang="en-US" sz="1100" b="1" dirty="0" smtClean="0">
                <a:solidFill>
                  <a:srgbClr val="000000"/>
                </a:solidFill>
                <a:latin typeface="ＭＳ Ｐゴシック" panose="020B0600070205080204" pitchFamily="50" charset="-128"/>
                <a:ea typeface="ＭＳ Ｐゴシック" panose="020B0600070205080204" pitchFamily="50" charset="-128"/>
              </a:rPr>
              <a:t>投資の概要</a:t>
            </a:r>
            <a:endParaRPr lang="en-US" sz="1100" b="1" dirty="0" smtClean="0">
              <a:solidFill>
                <a:srgbClr val="000000"/>
              </a:solidFill>
              <a:latin typeface="ＭＳ Ｐゴシック" panose="020B0600070205080204" pitchFamily="50" charset="-128"/>
              <a:ea typeface="ＭＳ Ｐゴシック" panose="020B0600070205080204" pitchFamily="50" charset="-128"/>
            </a:endParaRPr>
          </a:p>
        </p:txBody>
      </p:sp>
      <p:sp>
        <p:nvSpPr>
          <p:cNvPr id="50" name="TextBox 49"/>
          <p:cNvSpPr txBox="1"/>
          <p:nvPr/>
        </p:nvSpPr>
        <p:spPr>
          <a:xfrm>
            <a:off x="380648" y="1124744"/>
            <a:ext cx="6281795" cy="224028"/>
          </a:xfrm>
          <a:prstGeom prst="rect">
            <a:avLst/>
          </a:prstGeom>
          <a:noFill/>
        </p:spPr>
        <p:txBody>
          <a:bodyPr wrap="square" lIns="0" tIns="0" rIns="0" bIns="0" rtlCol="0">
            <a:noAutofit/>
          </a:bodyPr>
          <a:lstStyle/>
          <a:p>
            <a:pPr marL="231775" indent="-231775"/>
            <a:r>
              <a:rPr lang="ja-JP" altLang="en-US" sz="1100" b="1" dirty="0" smtClean="0">
                <a:solidFill>
                  <a:srgbClr val="000000"/>
                </a:solidFill>
                <a:latin typeface="ＭＳ Ｐゴシック" panose="020B0600070205080204" pitchFamily="50" charset="-128"/>
                <a:ea typeface="ＭＳ Ｐゴシック" panose="020B0600070205080204" pitchFamily="50" charset="-128"/>
              </a:rPr>
              <a:t>ビジネスチャンスの概要</a:t>
            </a:r>
            <a:endParaRPr lang="en-US" sz="1100" b="1" dirty="0" smtClean="0">
              <a:solidFill>
                <a:srgbClr val="000000"/>
              </a:solidFill>
              <a:latin typeface="ＭＳ Ｐゴシック" panose="020B0600070205080204" pitchFamily="50" charset="-128"/>
              <a:ea typeface="ＭＳ Ｐゴシック" panose="020B0600070205080204" pitchFamily="50" charset="-128"/>
            </a:endParaRPr>
          </a:p>
        </p:txBody>
      </p:sp>
      <p:cxnSp>
        <p:nvCxnSpPr>
          <p:cNvPr id="51" name="Straight Connector 50"/>
          <p:cNvCxnSpPr/>
          <p:nvPr/>
        </p:nvCxnSpPr>
        <p:spPr>
          <a:xfrm>
            <a:off x="380649" y="1353344"/>
            <a:ext cx="621792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5334000" y="899754"/>
            <a:ext cx="228600" cy="1524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000" dirty="0">
              <a:solidFill>
                <a:srgbClr val="FFFFFF"/>
              </a:solidFill>
            </a:endParaRPr>
          </a:p>
        </p:txBody>
      </p:sp>
      <p:sp>
        <p:nvSpPr>
          <p:cNvPr id="56" name="TextBox 55"/>
          <p:cNvSpPr txBox="1"/>
          <p:nvPr/>
        </p:nvSpPr>
        <p:spPr>
          <a:xfrm>
            <a:off x="5638800" y="883920"/>
            <a:ext cx="1686276" cy="182880"/>
          </a:xfrm>
          <a:prstGeom prst="rect">
            <a:avLst/>
          </a:prstGeom>
          <a:noFill/>
        </p:spPr>
        <p:txBody>
          <a:bodyPr wrap="square" lIns="0" tIns="0" rIns="0" bIns="0" rtlCol="0">
            <a:noAutofit/>
          </a:bodyPr>
          <a:lstStyle/>
          <a:p>
            <a:pPr marL="231775" indent="-231775"/>
            <a:r>
              <a:rPr lang="ja-JP" altLang="en-US" sz="1100" dirty="0" smtClean="0">
                <a:solidFill>
                  <a:srgbClr val="000000"/>
                </a:solidFill>
                <a:latin typeface="Arial" panose="020B0604020202020204" pitchFamily="34" charset="0"/>
                <a:cs typeface="Arial" panose="020B0604020202020204" pitchFamily="34" charset="0"/>
              </a:rPr>
              <a:t>現在の投資</a:t>
            </a:r>
            <a:endParaRPr lang="en-US" sz="1100" dirty="0" smtClean="0">
              <a:solidFill>
                <a:srgbClr val="000000"/>
              </a:solidFill>
              <a:latin typeface="Arial" panose="020B0604020202020204" pitchFamily="34" charset="0"/>
              <a:cs typeface="Arial" panose="020B0604020202020204" pitchFamily="34" charset="0"/>
            </a:endParaRPr>
          </a:p>
        </p:txBody>
      </p:sp>
      <p:sp>
        <p:nvSpPr>
          <p:cNvPr id="57" name="Rectangle 56"/>
          <p:cNvSpPr/>
          <p:nvPr/>
        </p:nvSpPr>
        <p:spPr>
          <a:xfrm>
            <a:off x="6984492" y="899754"/>
            <a:ext cx="228600" cy="1524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8" name="TextBox 57"/>
          <p:cNvSpPr txBox="1"/>
          <p:nvPr/>
        </p:nvSpPr>
        <p:spPr>
          <a:xfrm>
            <a:off x="7289292" y="883920"/>
            <a:ext cx="1686276" cy="182880"/>
          </a:xfrm>
          <a:prstGeom prst="rect">
            <a:avLst/>
          </a:prstGeom>
          <a:noFill/>
        </p:spPr>
        <p:txBody>
          <a:bodyPr wrap="square" lIns="0" tIns="0" rIns="0" bIns="0" rtlCol="0">
            <a:noAutofit/>
          </a:bodyPr>
          <a:lstStyle/>
          <a:p>
            <a:pPr marL="231775" indent="-231775"/>
            <a:r>
              <a:rPr lang="ja-JP" altLang="en-US" sz="1100" dirty="0" smtClean="0">
                <a:solidFill>
                  <a:srgbClr val="000000"/>
                </a:solidFill>
                <a:latin typeface="Arial" panose="020B0604020202020204" pitchFamily="34" charset="0"/>
                <a:cs typeface="Arial" panose="020B0604020202020204" pitchFamily="34" charset="0"/>
              </a:rPr>
              <a:t>見込まれる投資</a:t>
            </a:r>
            <a:endParaRPr lang="en-US" sz="1100" dirty="0" smtClean="0">
              <a:solidFill>
                <a:srgbClr val="000000"/>
              </a:solidFill>
              <a:latin typeface="Arial" panose="020B0604020202020204" pitchFamily="34" charset="0"/>
              <a:cs typeface="Arial" panose="020B0604020202020204" pitchFamily="34" charset="0"/>
            </a:endParaRPr>
          </a:p>
        </p:txBody>
      </p:sp>
      <p:cxnSp>
        <p:nvCxnSpPr>
          <p:cNvPr id="89" name="Straight Connector 88"/>
          <p:cNvCxnSpPr/>
          <p:nvPr/>
        </p:nvCxnSpPr>
        <p:spPr>
          <a:xfrm>
            <a:off x="6876256" y="1359940"/>
            <a:ext cx="15956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8" name="Rectangle 87"/>
          <p:cNvSpPr/>
          <p:nvPr/>
        </p:nvSpPr>
        <p:spPr>
          <a:xfrm>
            <a:off x="5256256" y="4989697"/>
            <a:ext cx="1620000" cy="433496"/>
          </a:xfrm>
          <a:prstGeom prst="rect">
            <a:avLst/>
          </a:prstGeom>
          <a:solidFill>
            <a:schemeClr val="tx2">
              <a:lumMod val="20000"/>
              <a:lumOff val="80000"/>
            </a:schemeClr>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下水道処理場の設置（</a:t>
            </a:r>
            <a:r>
              <a:rPr lang="en-US" altLang="ja-JP" sz="1000" dirty="0">
                <a:solidFill>
                  <a:schemeClr val="tx1"/>
                </a:solidFill>
                <a:latin typeface="ＭＳ Ｐゴシック" panose="020B0600070205080204" pitchFamily="50" charset="-128"/>
                <a:ea typeface="ＭＳ Ｐゴシック" panose="020B0600070205080204" pitchFamily="50" charset="-128"/>
              </a:rPr>
              <a:t>#11</a:t>
            </a:r>
            <a:r>
              <a:rPr lang="ja-JP" altLang="en-US" sz="1000" dirty="0">
                <a:solidFill>
                  <a:schemeClr val="tx1"/>
                </a:solidFill>
                <a:latin typeface="ＭＳ Ｐゴシック" panose="020B0600070205080204" pitchFamily="50" charset="-128"/>
                <a:ea typeface="ＭＳ Ｐゴシック" panose="020B0600070205080204" pitchFamily="50" charset="-128"/>
              </a:rPr>
              <a:t>）と運営（</a:t>
            </a:r>
            <a:r>
              <a:rPr lang="en-US" altLang="ja-JP" sz="1000" dirty="0">
                <a:solidFill>
                  <a:schemeClr val="tx1"/>
                </a:solidFill>
                <a:latin typeface="ＭＳ Ｐゴシック" panose="020B0600070205080204" pitchFamily="50" charset="-128"/>
                <a:ea typeface="ＭＳ Ｐゴシック" panose="020B0600070205080204" pitchFamily="50" charset="-128"/>
              </a:rPr>
              <a:t>#12</a:t>
            </a:r>
            <a:r>
              <a:rPr lang="ja-JP" altLang="en-US" sz="1000" dirty="0">
                <a:solidFill>
                  <a:schemeClr val="tx1"/>
                </a:solidFill>
                <a:latin typeface="ＭＳ Ｐゴシック" panose="020B0600070205080204" pitchFamily="50" charset="-128"/>
                <a:ea typeface="ＭＳ Ｐゴシック" panose="020B0600070205080204" pitchFamily="50" charset="-128"/>
              </a:rPr>
              <a:t>）</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90" name="Rectangle 89"/>
          <p:cNvSpPr/>
          <p:nvPr/>
        </p:nvSpPr>
        <p:spPr>
          <a:xfrm>
            <a:off x="1534024" y="5533599"/>
            <a:ext cx="5342231" cy="433496"/>
          </a:xfrm>
          <a:prstGeom prst="rect">
            <a:avLst/>
          </a:prstGeom>
          <a:solidFill>
            <a:schemeClr val="tx2">
              <a:lumMod val="20000"/>
              <a:lumOff val="80000"/>
            </a:schemeClr>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浄化槽の改修（</a:t>
            </a:r>
            <a:r>
              <a:rPr lang="en-US" altLang="ja-JP" sz="1000" dirty="0">
                <a:solidFill>
                  <a:schemeClr val="tx1"/>
                </a:solidFill>
                <a:latin typeface="ＭＳ Ｐゴシック" panose="020B0600070205080204" pitchFamily="50" charset="-128"/>
                <a:ea typeface="ＭＳ Ｐゴシック" panose="020B0600070205080204" pitchFamily="50" charset="-128"/>
              </a:rPr>
              <a:t>#3</a:t>
            </a:r>
            <a:r>
              <a:rPr lang="ja-JP" altLang="en-US" sz="1000" dirty="0">
                <a:solidFill>
                  <a:schemeClr val="tx1"/>
                </a:solidFill>
                <a:latin typeface="ＭＳ Ｐゴシック" panose="020B0600070205080204" pitchFamily="50" charset="-128"/>
                <a:ea typeface="ＭＳ Ｐゴシック" panose="020B0600070205080204" pitchFamily="50" charset="-128"/>
              </a:rPr>
              <a:t>）、汚泥管理（</a:t>
            </a:r>
            <a:r>
              <a:rPr lang="en-US" altLang="ja-JP" sz="1000" dirty="0">
                <a:solidFill>
                  <a:schemeClr val="tx1"/>
                </a:solidFill>
                <a:latin typeface="ＭＳ Ｐゴシック" panose="020B0600070205080204" pitchFamily="50" charset="-128"/>
                <a:ea typeface="ＭＳ Ｐゴシック" panose="020B0600070205080204" pitchFamily="50" charset="-128"/>
              </a:rPr>
              <a:t>#7</a:t>
            </a:r>
            <a:r>
              <a:rPr lang="ja-JP" altLang="en-US" sz="1000" dirty="0">
                <a:solidFill>
                  <a:schemeClr val="tx1"/>
                </a:solidFill>
                <a:latin typeface="ＭＳ Ｐゴシック" panose="020B0600070205080204" pitchFamily="50" charset="-128"/>
                <a:ea typeface="ＭＳ Ｐゴシック" panose="020B0600070205080204" pitchFamily="50" charset="-128"/>
              </a:rPr>
              <a:t>）、汚水処理場の設置（</a:t>
            </a:r>
            <a:r>
              <a:rPr lang="en-US" altLang="ja-JP" sz="1000" dirty="0">
                <a:solidFill>
                  <a:schemeClr val="tx1"/>
                </a:solidFill>
                <a:latin typeface="ＭＳ Ｐゴシック" panose="020B0600070205080204" pitchFamily="50" charset="-128"/>
                <a:ea typeface="ＭＳ Ｐゴシック" panose="020B0600070205080204" pitchFamily="50" charset="-128"/>
              </a:rPr>
              <a:t>#9</a:t>
            </a:r>
            <a:r>
              <a:rPr lang="ja-JP" altLang="en-US" sz="1000" dirty="0">
                <a:solidFill>
                  <a:schemeClr val="tx1"/>
                </a:solidFill>
                <a:latin typeface="ＭＳ Ｐゴシック" panose="020B0600070205080204" pitchFamily="50" charset="-128"/>
                <a:ea typeface="ＭＳ Ｐゴシック" panose="020B0600070205080204" pitchFamily="50" charset="-128"/>
              </a:rPr>
              <a:t>）をはじめとする、総合的な汚泥管理計画</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91" name="Rectangle 90"/>
          <p:cNvSpPr/>
          <p:nvPr/>
        </p:nvSpPr>
        <p:spPr>
          <a:xfrm>
            <a:off x="1534024" y="4989697"/>
            <a:ext cx="1620000" cy="433496"/>
          </a:xfrm>
          <a:prstGeom prst="rect">
            <a:avLst/>
          </a:prstGeom>
          <a:solidFill>
            <a:schemeClr val="tx2">
              <a:lumMod val="20000"/>
              <a:lumOff val="80000"/>
            </a:schemeClr>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コミュニティ・トイレの設置（</a:t>
            </a:r>
            <a:r>
              <a:rPr lang="en-US" altLang="ja-JP" sz="1000" dirty="0">
                <a:solidFill>
                  <a:schemeClr val="tx1"/>
                </a:solidFill>
                <a:latin typeface="ＭＳ Ｐゴシック" panose="020B0600070205080204" pitchFamily="50" charset="-128"/>
                <a:ea typeface="ＭＳ Ｐゴシック" panose="020B0600070205080204" pitchFamily="50" charset="-128"/>
              </a:rPr>
              <a:t>#2</a:t>
            </a:r>
            <a:r>
              <a:rPr lang="ja-JP" altLang="en-US" sz="1000" dirty="0">
                <a:solidFill>
                  <a:schemeClr val="tx1"/>
                </a:solidFill>
                <a:latin typeface="ＭＳ Ｐゴシック" panose="020B0600070205080204" pitchFamily="50" charset="-128"/>
                <a:ea typeface="ＭＳ Ｐゴシック" panose="020B0600070205080204" pitchFamily="50" charset="-128"/>
              </a:rPr>
              <a:t>）と維持管理（</a:t>
            </a:r>
            <a:r>
              <a:rPr lang="en-US" altLang="ja-JP" sz="1000" dirty="0">
                <a:solidFill>
                  <a:schemeClr val="tx1"/>
                </a:solidFill>
                <a:latin typeface="ＭＳ Ｐゴシック" panose="020B0600070205080204" pitchFamily="50" charset="-128"/>
                <a:ea typeface="ＭＳ Ｐゴシック" panose="020B0600070205080204" pitchFamily="50" charset="-128"/>
              </a:rPr>
              <a:t>#4</a:t>
            </a:r>
            <a:r>
              <a:rPr lang="ja-JP" altLang="en-US" sz="1000" dirty="0">
                <a:solidFill>
                  <a:schemeClr val="tx1"/>
                </a:solidFill>
                <a:latin typeface="ＭＳ Ｐゴシック" panose="020B0600070205080204" pitchFamily="50" charset="-128"/>
                <a:ea typeface="ＭＳ Ｐゴシック" panose="020B0600070205080204" pitchFamily="50" charset="-128"/>
              </a:rPr>
              <a:t>）</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cxnSp>
        <p:nvCxnSpPr>
          <p:cNvPr id="92" name="Straight Connector 91"/>
          <p:cNvCxnSpPr/>
          <p:nvPr/>
        </p:nvCxnSpPr>
        <p:spPr>
          <a:xfrm>
            <a:off x="441144" y="3703083"/>
            <a:ext cx="6255307" cy="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93" name="Rectangle 92"/>
          <p:cNvSpPr/>
          <p:nvPr/>
        </p:nvSpPr>
        <p:spPr>
          <a:xfrm>
            <a:off x="1534024" y="2608824"/>
            <a:ext cx="1620000" cy="433496"/>
          </a:xfrm>
          <a:prstGeom prst="rect">
            <a:avLst/>
          </a:prstGeom>
          <a:solidFill>
            <a:schemeClr val="tx2">
              <a:lumMod val="20000"/>
              <a:lumOff val="80000"/>
            </a:schemeClr>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900" dirty="0" smtClean="0">
                <a:solidFill>
                  <a:schemeClr val="tx1"/>
                </a:solidFill>
                <a:latin typeface="ＭＳ Ｐゴシック" panose="020B0600070205080204" pitchFamily="50" charset="-128"/>
                <a:ea typeface="ＭＳ Ｐゴシック" panose="020B0600070205080204" pitchFamily="50" charset="-128"/>
              </a:rPr>
              <a:t>浄化槽や下水道とつながった新しいコミュニティ・トイレ／公衆トイレの設置</a:t>
            </a:r>
            <a:endParaRPr lang="en-US" sz="900" dirty="0">
              <a:solidFill>
                <a:schemeClr val="tx1"/>
              </a:solidFill>
              <a:latin typeface="ＭＳ Ｐゴシック" panose="020B0600070205080204" pitchFamily="50" charset="-128"/>
              <a:ea typeface="ＭＳ Ｐゴシック" panose="020B0600070205080204" pitchFamily="50" charset="-128"/>
            </a:endParaRPr>
          </a:p>
        </p:txBody>
      </p:sp>
      <p:sp>
        <p:nvSpPr>
          <p:cNvPr id="94" name="Rectangle 93"/>
          <p:cNvSpPr/>
          <p:nvPr/>
        </p:nvSpPr>
        <p:spPr>
          <a:xfrm>
            <a:off x="5256256" y="2608824"/>
            <a:ext cx="1620000" cy="433496"/>
          </a:xfrm>
          <a:prstGeom prst="rect">
            <a:avLst/>
          </a:prstGeom>
          <a:solidFill>
            <a:schemeClr val="tx2">
              <a:lumMod val="20000"/>
              <a:lumOff val="80000"/>
            </a:schemeClr>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排水処理場の設置</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95" name="Rectangle 94"/>
          <p:cNvSpPr/>
          <p:nvPr/>
        </p:nvSpPr>
        <p:spPr>
          <a:xfrm>
            <a:off x="3395141" y="2608824"/>
            <a:ext cx="1620000"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排水穴と前沈殿下水道の設置</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96" name="Rectangle 95"/>
          <p:cNvSpPr/>
          <p:nvPr/>
        </p:nvSpPr>
        <p:spPr>
          <a:xfrm>
            <a:off x="1534024" y="2031336"/>
            <a:ext cx="1620000"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900" dirty="0" smtClean="0">
                <a:solidFill>
                  <a:schemeClr val="tx1"/>
                </a:solidFill>
                <a:latin typeface="ＭＳ Ｐゴシック" panose="020B0600070205080204" pitchFamily="50" charset="-128"/>
                <a:ea typeface="ＭＳ Ｐゴシック" panose="020B0600070205080204" pitchFamily="50" charset="-128"/>
              </a:rPr>
              <a:t>浄化槽や下水道とつながった新しい共同トイレ／個別トイレの設置</a:t>
            </a:r>
            <a:endParaRPr lang="en-US" sz="900" dirty="0">
              <a:solidFill>
                <a:schemeClr val="tx1"/>
              </a:solidFill>
              <a:latin typeface="ＭＳ Ｐゴシック" panose="020B0600070205080204" pitchFamily="50" charset="-128"/>
              <a:ea typeface="ＭＳ Ｐゴシック" panose="020B0600070205080204" pitchFamily="50" charset="-128"/>
            </a:endParaRPr>
          </a:p>
        </p:txBody>
      </p:sp>
      <p:sp>
        <p:nvSpPr>
          <p:cNvPr id="97" name="Rectangle 96"/>
          <p:cNvSpPr/>
          <p:nvPr/>
        </p:nvSpPr>
        <p:spPr>
          <a:xfrm>
            <a:off x="3395141" y="2031336"/>
            <a:ext cx="1620000"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下水道ネットワークの設置</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98" name="Rectangle 97"/>
          <p:cNvSpPr/>
          <p:nvPr/>
        </p:nvSpPr>
        <p:spPr>
          <a:xfrm>
            <a:off x="5256256" y="2031336"/>
            <a:ext cx="1620000" cy="433496"/>
          </a:xfrm>
          <a:prstGeom prst="rect">
            <a:avLst/>
          </a:prstGeom>
          <a:solidFill>
            <a:schemeClr val="tx2">
              <a:lumMod val="20000"/>
              <a:lumOff val="80000"/>
            </a:schemeClr>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汚水処理場の設置</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100" name="Rectangle 99"/>
          <p:cNvSpPr/>
          <p:nvPr/>
        </p:nvSpPr>
        <p:spPr>
          <a:xfrm>
            <a:off x="3395141" y="4363656"/>
            <a:ext cx="1620000" cy="433496"/>
          </a:xfrm>
          <a:prstGeom prst="rect">
            <a:avLst/>
          </a:prstGeom>
          <a:solidFill>
            <a:schemeClr val="bg1"/>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下水道ネットワークの管理</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cxnSp>
        <p:nvCxnSpPr>
          <p:cNvPr id="102" name="Straight Connector 101"/>
          <p:cNvCxnSpPr/>
          <p:nvPr/>
        </p:nvCxnSpPr>
        <p:spPr>
          <a:xfrm>
            <a:off x="450293" y="4848437"/>
            <a:ext cx="6255307" cy="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03" name="Oval 102"/>
          <p:cNvSpPr/>
          <p:nvPr/>
        </p:nvSpPr>
        <p:spPr>
          <a:xfrm>
            <a:off x="1371717" y="1956322"/>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rgbClr val="FFFFFF"/>
                </a:solidFill>
              </a:rPr>
              <a:t>1</a:t>
            </a:r>
          </a:p>
        </p:txBody>
      </p:sp>
      <p:sp>
        <p:nvSpPr>
          <p:cNvPr id="104" name="Oval 103"/>
          <p:cNvSpPr/>
          <p:nvPr/>
        </p:nvSpPr>
        <p:spPr>
          <a:xfrm>
            <a:off x="1371717" y="2546064"/>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2</a:t>
            </a:r>
            <a:endParaRPr lang="en-US" sz="1000" dirty="0">
              <a:solidFill>
                <a:srgbClr val="FFFFFF"/>
              </a:solidFill>
            </a:endParaRPr>
          </a:p>
        </p:txBody>
      </p:sp>
      <p:sp>
        <p:nvSpPr>
          <p:cNvPr id="105" name="Rectangle 104"/>
          <p:cNvSpPr/>
          <p:nvPr/>
        </p:nvSpPr>
        <p:spPr>
          <a:xfrm>
            <a:off x="1534024" y="3809602"/>
            <a:ext cx="1620000" cy="433495"/>
          </a:xfrm>
          <a:prstGeom prst="rect">
            <a:avLst/>
          </a:prstGeom>
          <a:solidFill>
            <a:schemeClr val="bg1"/>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コミュニティ・トイレと公衆トイレの維持管理</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106" name="Oval 105"/>
          <p:cNvSpPr/>
          <p:nvPr/>
        </p:nvSpPr>
        <p:spPr>
          <a:xfrm>
            <a:off x="1371717" y="3713676"/>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rgbClr val="FFFFFF"/>
                </a:solidFill>
              </a:rPr>
              <a:t>4</a:t>
            </a:r>
          </a:p>
        </p:txBody>
      </p:sp>
      <p:sp>
        <p:nvSpPr>
          <p:cNvPr id="107" name="Oval 106"/>
          <p:cNvSpPr/>
          <p:nvPr/>
        </p:nvSpPr>
        <p:spPr>
          <a:xfrm>
            <a:off x="3246020" y="2546064"/>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rgbClr val="FFFFFF"/>
                </a:solidFill>
              </a:rPr>
              <a:t>6</a:t>
            </a:r>
          </a:p>
        </p:txBody>
      </p:sp>
      <p:sp>
        <p:nvSpPr>
          <p:cNvPr id="108" name="Rectangle 107"/>
          <p:cNvSpPr/>
          <p:nvPr/>
        </p:nvSpPr>
        <p:spPr>
          <a:xfrm>
            <a:off x="3395141" y="3809602"/>
            <a:ext cx="1620000" cy="433496"/>
          </a:xfrm>
          <a:prstGeom prst="rect">
            <a:avLst/>
          </a:prstGeom>
          <a:solidFill>
            <a:schemeClr val="tx2">
              <a:lumMod val="20000"/>
              <a:lumOff val="80000"/>
            </a:schemeClr>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汚泥の管理</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109" name="Oval 108"/>
          <p:cNvSpPr/>
          <p:nvPr/>
        </p:nvSpPr>
        <p:spPr>
          <a:xfrm>
            <a:off x="3246020" y="3713676"/>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7</a:t>
            </a:r>
            <a:endParaRPr lang="en-US" sz="1000" dirty="0">
              <a:solidFill>
                <a:srgbClr val="FFFFFF"/>
              </a:solidFill>
            </a:endParaRPr>
          </a:p>
        </p:txBody>
      </p:sp>
      <p:sp>
        <p:nvSpPr>
          <p:cNvPr id="110" name="Oval 109"/>
          <p:cNvSpPr/>
          <p:nvPr/>
        </p:nvSpPr>
        <p:spPr>
          <a:xfrm>
            <a:off x="3246020" y="4289746"/>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rgbClr val="FFFFFF"/>
                </a:solidFill>
              </a:rPr>
              <a:t>8</a:t>
            </a:r>
          </a:p>
        </p:txBody>
      </p:sp>
      <p:sp>
        <p:nvSpPr>
          <p:cNvPr id="111" name="Oval 110"/>
          <p:cNvSpPr/>
          <p:nvPr/>
        </p:nvSpPr>
        <p:spPr>
          <a:xfrm>
            <a:off x="3246020" y="1958685"/>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rgbClr val="FFFFFF"/>
                </a:solidFill>
              </a:rPr>
              <a:t>5</a:t>
            </a:r>
          </a:p>
        </p:txBody>
      </p:sp>
      <p:sp>
        <p:nvSpPr>
          <p:cNvPr id="112" name="Oval 111"/>
          <p:cNvSpPr/>
          <p:nvPr/>
        </p:nvSpPr>
        <p:spPr>
          <a:xfrm>
            <a:off x="5121432" y="1958685"/>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rgbClr val="FFFFFF"/>
                </a:solidFill>
              </a:rPr>
              <a:t>9</a:t>
            </a:r>
          </a:p>
        </p:txBody>
      </p:sp>
      <p:sp>
        <p:nvSpPr>
          <p:cNvPr id="114" name="Oval 113"/>
          <p:cNvSpPr/>
          <p:nvPr/>
        </p:nvSpPr>
        <p:spPr>
          <a:xfrm>
            <a:off x="5121432" y="2546064"/>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0</a:t>
            </a:r>
            <a:endParaRPr lang="en-US" sz="1000" dirty="0">
              <a:solidFill>
                <a:srgbClr val="FFFFFF"/>
              </a:solidFill>
            </a:endParaRPr>
          </a:p>
        </p:txBody>
      </p:sp>
      <p:sp>
        <p:nvSpPr>
          <p:cNvPr id="115" name="Rectangle 114"/>
          <p:cNvSpPr/>
          <p:nvPr/>
        </p:nvSpPr>
        <p:spPr>
          <a:xfrm>
            <a:off x="5256256" y="3809602"/>
            <a:ext cx="1620000" cy="433496"/>
          </a:xfrm>
          <a:prstGeom prst="rect">
            <a:avLst/>
          </a:prstGeom>
          <a:solidFill>
            <a:schemeClr val="bg1"/>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下水処理場の維持管理</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116" name="Oval 115"/>
          <p:cNvSpPr/>
          <p:nvPr/>
        </p:nvSpPr>
        <p:spPr>
          <a:xfrm>
            <a:off x="5121432" y="3713676"/>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2</a:t>
            </a:r>
            <a:endParaRPr lang="en-US" sz="1000" dirty="0">
              <a:solidFill>
                <a:srgbClr val="FFFFFF"/>
              </a:solidFill>
            </a:endParaRPr>
          </a:p>
        </p:txBody>
      </p:sp>
      <p:sp>
        <p:nvSpPr>
          <p:cNvPr id="117" name="Oval 116"/>
          <p:cNvSpPr/>
          <p:nvPr/>
        </p:nvSpPr>
        <p:spPr>
          <a:xfrm>
            <a:off x="1371717" y="5435728"/>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4</a:t>
            </a:r>
            <a:endParaRPr lang="en-US" sz="1000" dirty="0">
              <a:solidFill>
                <a:srgbClr val="FFFFFF"/>
              </a:solidFill>
            </a:endParaRPr>
          </a:p>
        </p:txBody>
      </p:sp>
      <p:sp>
        <p:nvSpPr>
          <p:cNvPr id="118" name="Oval 117"/>
          <p:cNvSpPr/>
          <p:nvPr/>
        </p:nvSpPr>
        <p:spPr>
          <a:xfrm>
            <a:off x="5121432" y="4919068"/>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6</a:t>
            </a:r>
            <a:endParaRPr lang="en-US" sz="1000" dirty="0">
              <a:solidFill>
                <a:srgbClr val="FFFFFF"/>
              </a:solidFill>
            </a:endParaRPr>
          </a:p>
        </p:txBody>
      </p:sp>
      <p:sp>
        <p:nvSpPr>
          <p:cNvPr id="119" name="Oval 118"/>
          <p:cNvSpPr/>
          <p:nvPr/>
        </p:nvSpPr>
        <p:spPr>
          <a:xfrm>
            <a:off x="1371717" y="4919068"/>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3</a:t>
            </a:r>
            <a:endParaRPr lang="en-US" sz="1000" dirty="0">
              <a:solidFill>
                <a:srgbClr val="FFFFFF"/>
              </a:solidFill>
            </a:endParaRPr>
          </a:p>
        </p:txBody>
      </p:sp>
      <p:sp>
        <p:nvSpPr>
          <p:cNvPr id="121" name="Chevron 120"/>
          <p:cNvSpPr/>
          <p:nvPr/>
        </p:nvSpPr>
        <p:spPr>
          <a:xfrm>
            <a:off x="1534025" y="1419326"/>
            <a:ext cx="1692000" cy="470866"/>
          </a:xfrm>
          <a:prstGeom prst="chevron">
            <a:avLst>
              <a:gd name="adj" fmla="val 20248"/>
            </a:avLst>
          </a:prstGeom>
          <a:solidFill>
            <a:srgbClr val="67103F"/>
          </a:solidFill>
          <a:ln w="9525">
            <a:noFill/>
          </a:ln>
        </p:spPr>
        <p:txBody>
          <a:bodyPr wrap="square" lIns="44450" tIns="131763" rIns="0" bIns="133350" anchor="ctr" anchorCtr="0">
            <a:noAutofit/>
          </a:bodyPr>
          <a:lstStyle/>
          <a:p>
            <a:pPr algn="ctr">
              <a:spcBef>
                <a:spcPct val="0"/>
              </a:spcBef>
              <a:spcAft>
                <a:spcPct val="0"/>
              </a:spcAft>
              <a:buFont typeface="Arial" pitchFamily="34" charset="0"/>
              <a:buNone/>
            </a:pPr>
            <a:r>
              <a:rPr lang="ja-JP" altLang="en-US" sz="1000" b="1" dirty="0" smtClean="0">
                <a:solidFill>
                  <a:srgbClr val="FFFFFF"/>
                </a:solidFill>
                <a:latin typeface="ＭＳ Ｐゴシック" panose="020B0600070205080204" pitchFamily="50" charset="-128"/>
                <a:ea typeface="ＭＳ Ｐゴシック" panose="020B0600070205080204" pitchFamily="50" charset="-128"/>
              </a:rPr>
              <a:t>アクセスと収集</a:t>
            </a:r>
            <a:endParaRPr lang="en-US" sz="1000" b="1" dirty="0">
              <a:solidFill>
                <a:srgbClr val="FFFFFF"/>
              </a:solidFill>
              <a:latin typeface="ＭＳ Ｐゴシック" panose="020B0600070205080204" pitchFamily="50" charset="-128"/>
              <a:ea typeface="ＭＳ Ｐゴシック" panose="020B0600070205080204" pitchFamily="50" charset="-128"/>
            </a:endParaRPr>
          </a:p>
        </p:txBody>
      </p:sp>
      <p:sp>
        <p:nvSpPr>
          <p:cNvPr id="122" name="Chevron 121"/>
          <p:cNvSpPr/>
          <p:nvPr/>
        </p:nvSpPr>
        <p:spPr>
          <a:xfrm>
            <a:off x="3395141" y="1419326"/>
            <a:ext cx="1692000" cy="470866"/>
          </a:xfrm>
          <a:prstGeom prst="chevron">
            <a:avLst>
              <a:gd name="adj" fmla="val 20248"/>
            </a:avLst>
          </a:prstGeom>
          <a:solidFill>
            <a:srgbClr val="67103F"/>
          </a:solidFill>
          <a:ln w="9525">
            <a:noFill/>
          </a:ln>
        </p:spPr>
        <p:txBody>
          <a:bodyPr wrap="square" lIns="44450" tIns="131763" rIns="0" bIns="133350" anchor="ctr" anchorCtr="0">
            <a:noAutofit/>
          </a:bodyPr>
          <a:lstStyle/>
          <a:p>
            <a:pPr algn="ctr">
              <a:spcBef>
                <a:spcPct val="0"/>
              </a:spcBef>
              <a:spcAft>
                <a:spcPct val="0"/>
              </a:spcAft>
              <a:buFont typeface="Arial" pitchFamily="34" charset="0"/>
              <a:buNone/>
            </a:pPr>
            <a:r>
              <a:rPr lang="ja-JP" altLang="en-US" sz="1000" b="1" dirty="0" smtClean="0">
                <a:solidFill>
                  <a:srgbClr val="FFFFFF"/>
                </a:solidFill>
                <a:latin typeface="ＭＳ Ｐゴシック" panose="020B0600070205080204" pitchFamily="50" charset="-128"/>
                <a:ea typeface="ＭＳ Ｐゴシック" panose="020B0600070205080204" pitchFamily="50" charset="-128"/>
              </a:rPr>
              <a:t>運搬</a:t>
            </a:r>
            <a:endParaRPr lang="en-US" sz="1000" b="1" dirty="0">
              <a:solidFill>
                <a:srgbClr val="FFFFFF"/>
              </a:solidFill>
              <a:latin typeface="ＭＳ Ｐゴシック" panose="020B0600070205080204" pitchFamily="50" charset="-128"/>
              <a:ea typeface="ＭＳ Ｐゴシック" panose="020B0600070205080204" pitchFamily="50" charset="-128"/>
            </a:endParaRPr>
          </a:p>
        </p:txBody>
      </p:sp>
      <p:sp>
        <p:nvSpPr>
          <p:cNvPr id="123" name="Chevron 122"/>
          <p:cNvSpPr/>
          <p:nvPr/>
        </p:nvSpPr>
        <p:spPr>
          <a:xfrm>
            <a:off x="5256256" y="1419326"/>
            <a:ext cx="1619999" cy="470866"/>
          </a:xfrm>
          <a:prstGeom prst="chevron">
            <a:avLst>
              <a:gd name="adj" fmla="val 20248"/>
            </a:avLst>
          </a:prstGeom>
          <a:solidFill>
            <a:srgbClr val="67103F"/>
          </a:solidFill>
          <a:ln w="9525">
            <a:noFill/>
          </a:ln>
        </p:spPr>
        <p:txBody>
          <a:bodyPr wrap="square" lIns="44450" tIns="131763" rIns="0" bIns="133350" anchor="ctr" anchorCtr="0">
            <a:noAutofit/>
          </a:bodyPr>
          <a:lstStyle/>
          <a:p>
            <a:pPr algn="ctr">
              <a:spcBef>
                <a:spcPct val="0"/>
              </a:spcBef>
              <a:spcAft>
                <a:spcPct val="0"/>
              </a:spcAft>
              <a:buFont typeface="Arial" pitchFamily="34" charset="0"/>
              <a:buNone/>
            </a:pPr>
            <a:r>
              <a:rPr lang="ja-JP" altLang="en-US" sz="1000" b="1" dirty="0" smtClean="0">
                <a:solidFill>
                  <a:srgbClr val="FFFFFF"/>
                </a:solidFill>
                <a:latin typeface="ＭＳ Ｐゴシック" panose="020B0600070205080204" pitchFamily="50" charset="-128"/>
                <a:ea typeface="ＭＳ Ｐゴシック" panose="020B0600070205080204" pitchFamily="50" charset="-128"/>
              </a:rPr>
              <a:t>処理と再利用</a:t>
            </a:r>
            <a:endParaRPr lang="en-US" sz="1000" b="1" dirty="0">
              <a:solidFill>
                <a:srgbClr val="FFFFFF"/>
              </a:solidFill>
              <a:latin typeface="ＭＳ Ｐゴシック" panose="020B0600070205080204" pitchFamily="50" charset="-128"/>
              <a:ea typeface="ＭＳ Ｐゴシック" panose="020B0600070205080204" pitchFamily="50" charset="-128"/>
            </a:endParaRPr>
          </a:p>
        </p:txBody>
      </p:sp>
      <p:sp>
        <p:nvSpPr>
          <p:cNvPr id="53" name="Rectangle 52"/>
          <p:cNvSpPr/>
          <p:nvPr/>
        </p:nvSpPr>
        <p:spPr>
          <a:xfrm>
            <a:off x="1534024" y="3155088"/>
            <a:ext cx="1620000"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latin typeface="ＭＳ Ｐゴシック" panose="020B0600070205080204" pitchFamily="50" charset="-128"/>
                <a:ea typeface="ＭＳ Ｐゴシック" panose="020B0600070205080204" pitchFamily="50" charset="-128"/>
              </a:rPr>
              <a:t>浄化槽の改修</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54" name="Oval 53"/>
          <p:cNvSpPr/>
          <p:nvPr/>
        </p:nvSpPr>
        <p:spPr>
          <a:xfrm>
            <a:off x="1371717" y="3079070"/>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3</a:t>
            </a:r>
            <a:endParaRPr lang="en-US" sz="1000" dirty="0">
              <a:solidFill>
                <a:srgbClr val="FFFFFF"/>
              </a:solidFill>
            </a:endParaRPr>
          </a:p>
        </p:txBody>
      </p:sp>
      <p:sp>
        <p:nvSpPr>
          <p:cNvPr id="55" name="Rounded Rectangle 54"/>
          <p:cNvSpPr/>
          <p:nvPr/>
        </p:nvSpPr>
        <p:spPr>
          <a:xfrm>
            <a:off x="381001" y="2031337"/>
            <a:ext cx="961102" cy="155724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200" dirty="0" smtClean="0">
                <a:solidFill>
                  <a:schemeClr val="tx2"/>
                </a:solidFill>
                <a:latin typeface="ＭＳ Ｐゴシック" panose="020B0600070205080204" pitchFamily="50" charset="-128"/>
                <a:ea typeface="ＭＳ Ｐゴシック" panose="020B0600070205080204" pitchFamily="50" charset="-128"/>
              </a:rPr>
              <a:t>設置</a:t>
            </a:r>
            <a:endParaRPr lang="en-IN" sz="1200" dirty="0">
              <a:solidFill>
                <a:schemeClr val="tx2"/>
              </a:solidFill>
              <a:latin typeface="ＭＳ Ｐゴシック" panose="020B0600070205080204" pitchFamily="50" charset="-128"/>
              <a:ea typeface="ＭＳ Ｐゴシック" panose="020B0600070205080204" pitchFamily="50" charset="-128"/>
            </a:endParaRPr>
          </a:p>
        </p:txBody>
      </p:sp>
      <p:sp>
        <p:nvSpPr>
          <p:cNvPr id="59" name="Rectangle 58"/>
          <p:cNvSpPr/>
          <p:nvPr/>
        </p:nvSpPr>
        <p:spPr>
          <a:xfrm>
            <a:off x="5256256" y="3155088"/>
            <a:ext cx="1620000"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下水処理場の設置 </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60" name="Oval 59"/>
          <p:cNvSpPr/>
          <p:nvPr/>
        </p:nvSpPr>
        <p:spPr>
          <a:xfrm>
            <a:off x="5121432" y="3079070"/>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1</a:t>
            </a:r>
            <a:endParaRPr lang="en-US" sz="1000" dirty="0">
              <a:solidFill>
                <a:srgbClr val="FFFFFF"/>
              </a:solidFill>
            </a:endParaRPr>
          </a:p>
        </p:txBody>
      </p:sp>
      <p:sp>
        <p:nvSpPr>
          <p:cNvPr id="61" name="Rectangle 60"/>
          <p:cNvSpPr/>
          <p:nvPr/>
        </p:nvSpPr>
        <p:spPr>
          <a:xfrm>
            <a:off x="1534024" y="6079492"/>
            <a:ext cx="5342231"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浄化槽の改修（</a:t>
            </a:r>
            <a:r>
              <a:rPr lang="en-US" altLang="ja-JP" sz="1000" dirty="0">
                <a:solidFill>
                  <a:schemeClr val="tx1"/>
                </a:solidFill>
                <a:latin typeface="ＭＳ Ｐゴシック" panose="020B0600070205080204" pitchFamily="50" charset="-128"/>
                <a:ea typeface="ＭＳ Ｐゴシック" panose="020B0600070205080204" pitchFamily="50" charset="-128"/>
              </a:rPr>
              <a:t>#3</a:t>
            </a:r>
            <a:r>
              <a:rPr lang="ja-JP" altLang="en-US" sz="1000" dirty="0">
                <a:solidFill>
                  <a:schemeClr val="tx1"/>
                </a:solidFill>
                <a:latin typeface="ＭＳ Ｐゴシック" panose="020B0600070205080204" pitchFamily="50" charset="-128"/>
                <a:ea typeface="ＭＳ Ｐゴシック" panose="020B0600070205080204" pitchFamily="50" charset="-128"/>
              </a:rPr>
              <a:t>）、汚泥の管理（</a:t>
            </a:r>
            <a:r>
              <a:rPr lang="en-US" altLang="ja-JP" sz="1000" dirty="0">
                <a:solidFill>
                  <a:schemeClr val="tx1"/>
                </a:solidFill>
                <a:latin typeface="ＭＳ Ｐゴシック" panose="020B0600070205080204" pitchFamily="50" charset="-128"/>
                <a:ea typeface="ＭＳ Ｐゴシック" panose="020B0600070205080204" pitchFamily="50" charset="-128"/>
              </a:rPr>
              <a:t>#7</a:t>
            </a:r>
            <a:r>
              <a:rPr lang="ja-JP" altLang="en-US" sz="1000" dirty="0">
                <a:solidFill>
                  <a:schemeClr val="tx1"/>
                </a:solidFill>
                <a:latin typeface="ＭＳ Ｐゴシック" panose="020B0600070205080204" pitchFamily="50" charset="-128"/>
                <a:ea typeface="ＭＳ Ｐゴシック" panose="020B0600070205080204" pitchFamily="50" charset="-128"/>
              </a:rPr>
              <a:t>）をはじめとする、総合的な前沈殿下水道と汚泥の管理計画 場の設置</a:t>
            </a:r>
            <a:r>
              <a:rPr lang="en-US" sz="1000" dirty="0">
                <a:solidFill>
                  <a:schemeClr val="tx1"/>
                </a:solidFill>
                <a:latin typeface="ＭＳ Ｐゴシック" panose="020B0600070205080204" pitchFamily="50" charset="-128"/>
                <a:ea typeface="ＭＳ Ｐゴシック" panose="020B0600070205080204" pitchFamily="50" charset="-128"/>
              </a:rPr>
              <a:t> (#10)</a:t>
            </a:r>
          </a:p>
        </p:txBody>
      </p:sp>
      <p:sp>
        <p:nvSpPr>
          <p:cNvPr id="62" name="Oval 61"/>
          <p:cNvSpPr/>
          <p:nvPr/>
        </p:nvSpPr>
        <p:spPr>
          <a:xfrm>
            <a:off x="1371717" y="5986680"/>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5</a:t>
            </a:r>
            <a:endParaRPr lang="en-US" sz="1000" dirty="0">
              <a:solidFill>
                <a:srgbClr val="FFFFFF"/>
              </a:solidFill>
            </a:endParaRPr>
          </a:p>
        </p:txBody>
      </p:sp>
      <p:sp>
        <p:nvSpPr>
          <p:cNvPr id="63" name="Rounded Rectangle 62"/>
          <p:cNvSpPr/>
          <p:nvPr/>
        </p:nvSpPr>
        <p:spPr>
          <a:xfrm>
            <a:off x="381001" y="3809602"/>
            <a:ext cx="961102" cy="98755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200" dirty="0" smtClean="0">
                <a:solidFill>
                  <a:schemeClr val="tx2"/>
                </a:solidFill>
                <a:latin typeface="ＭＳ Ｐゴシック" panose="020B0600070205080204" pitchFamily="50" charset="-128"/>
                <a:ea typeface="ＭＳ Ｐゴシック" panose="020B0600070205080204" pitchFamily="50" charset="-128"/>
              </a:rPr>
              <a:t>維持管理</a:t>
            </a:r>
            <a:endParaRPr lang="en-IN" sz="1200" dirty="0">
              <a:solidFill>
                <a:schemeClr val="tx2"/>
              </a:solidFill>
              <a:latin typeface="ＭＳ Ｐゴシック" panose="020B0600070205080204" pitchFamily="50" charset="-128"/>
              <a:ea typeface="ＭＳ Ｐゴシック" panose="020B0600070205080204" pitchFamily="50" charset="-128"/>
            </a:endParaRPr>
          </a:p>
        </p:txBody>
      </p:sp>
      <p:sp>
        <p:nvSpPr>
          <p:cNvPr id="64" name="Rounded Rectangle 63"/>
          <p:cNvSpPr/>
          <p:nvPr/>
        </p:nvSpPr>
        <p:spPr>
          <a:xfrm>
            <a:off x="380648" y="4989696"/>
            <a:ext cx="961102" cy="152329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200" dirty="0" smtClean="0">
                <a:solidFill>
                  <a:schemeClr val="tx2"/>
                </a:solidFill>
                <a:latin typeface="ＭＳ Ｐゴシック" panose="020B0600070205080204" pitchFamily="50" charset="-128"/>
                <a:ea typeface="ＭＳ Ｐゴシック" panose="020B0600070205080204" pitchFamily="50" charset="-128"/>
              </a:rPr>
              <a:t>総合的ビジネスチャンス</a:t>
            </a:r>
            <a:endParaRPr lang="en-IN" sz="1200" dirty="0">
              <a:solidFill>
                <a:schemeClr val="tx2"/>
              </a:solidFill>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213801409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391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381000" y="134471"/>
            <a:ext cx="8347364" cy="609600"/>
          </a:xfrm>
        </p:spPr>
        <p:txBody>
          <a:bodyPr/>
          <a:lstStyle/>
          <a:p>
            <a:r>
              <a:rPr lang="ja-JP" altLang="en-US" dirty="0" smtClean="0">
                <a:latin typeface="ＭＳ Ｐゴシック" panose="020B0600070205080204" pitchFamily="50" charset="-128"/>
                <a:ea typeface="ＭＳ Ｐゴシック" panose="020B0600070205080204" pitchFamily="50" charset="-128"/>
              </a:rPr>
              <a:t>汚物の運搬と処理・再利用に焦点を当てた大規模</a:t>
            </a:r>
            <a:r>
              <a:rPr lang="ja-JP" altLang="en-US" dirty="0">
                <a:latin typeface="ＭＳ Ｐゴシック" panose="020B0600070205080204" pitchFamily="50" charset="-128"/>
                <a:ea typeface="ＭＳ Ｐゴシック" panose="020B0600070205080204" pitchFamily="50" charset="-128"/>
              </a:rPr>
              <a:t>事業</a:t>
            </a:r>
            <a:r>
              <a:rPr lang="ja-JP" altLang="en-US" dirty="0" smtClean="0">
                <a:latin typeface="ＭＳ Ｐゴシック" panose="020B0600070205080204" pitchFamily="50" charset="-128"/>
                <a:ea typeface="ＭＳ Ｐゴシック" panose="020B0600070205080204" pitchFamily="50" charset="-128"/>
              </a:rPr>
              <a:t>にはインフラ</a:t>
            </a:r>
            <a:r>
              <a:rPr lang="ja-JP" altLang="en-US" dirty="0">
                <a:latin typeface="ＭＳ Ｐゴシック" panose="020B0600070205080204" pitchFamily="50" charset="-128"/>
                <a:ea typeface="ＭＳ Ｐゴシック" panose="020B0600070205080204" pitchFamily="50" charset="-128"/>
              </a:rPr>
              <a:t>金融</a:t>
            </a:r>
            <a:r>
              <a:rPr lang="ja-JP" altLang="en-US" dirty="0" smtClean="0">
                <a:latin typeface="ＭＳ Ｐゴシック" panose="020B0600070205080204" pitchFamily="50" charset="-128"/>
                <a:ea typeface="ＭＳ Ｐゴシック" panose="020B0600070205080204" pitchFamily="50" charset="-128"/>
              </a:rPr>
              <a:t>会社が融資を行う可能性がある</a:t>
            </a:r>
            <a:endParaRPr lang="en-US" dirty="0">
              <a:latin typeface="ＭＳ Ｐゴシック" panose="020B0600070205080204" pitchFamily="50" charset="-128"/>
              <a:ea typeface="ＭＳ Ｐゴシック" panose="020B0600070205080204" pitchFamily="50" charset="-128"/>
            </a:endParaRPr>
          </a:p>
        </p:txBody>
      </p:sp>
      <p:sp>
        <p:nvSpPr>
          <p:cNvPr id="3" name="Text Placeholder 2"/>
          <p:cNvSpPr>
            <a:spLocks noGrp="1"/>
          </p:cNvSpPr>
          <p:nvPr>
            <p:ph type="body" sz="quarter" idx="37"/>
          </p:nvPr>
        </p:nvSpPr>
        <p:spPr/>
        <p:txBody>
          <a:bodyPr/>
          <a:lstStyle/>
          <a:p>
            <a:r>
              <a:rPr lang="ja-JP" altLang="en-US"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出典：</a:t>
            </a:r>
            <a:r>
              <a:rPr lang="en-US"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Dalberg analysis</a:t>
            </a:r>
          </a:p>
        </p:txBody>
      </p:sp>
      <p:sp>
        <p:nvSpPr>
          <p:cNvPr id="44" name="TextBox 43"/>
          <p:cNvSpPr txBox="1"/>
          <p:nvPr/>
        </p:nvSpPr>
        <p:spPr>
          <a:xfrm>
            <a:off x="6876256" y="1124744"/>
            <a:ext cx="1620000" cy="198446"/>
          </a:xfrm>
          <a:prstGeom prst="rect">
            <a:avLst/>
          </a:prstGeom>
          <a:noFill/>
        </p:spPr>
        <p:txBody>
          <a:bodyPr wrap="square" lIns="0" tIns="0" rIns="0" bIns="0" rtlCol="0">
            <a:noAutofit/>
          </a:bodyPr>
          <a:lstStyle/>
          <a:p>
            <a:pPr marL="231775" indent="-231775"/>
            <a:r>
              <a:rPr lang="ja-JP" altLang="en-US" sz="1100" b="1" dirty="0" smtClean="0">
                <a:solidFill>
                  <a:srgbClr val="000000"/>
                </a:solidFill>
                <a:latin typeface="ＭＳ Ｐゴシック" panose="020B0600070205080204" pitchFamily="50" charset="-128"/>
                <a:ea typeface="ＭＳ Ｐゴシック" panose="020B0600070205080204" pitchFamily="50" charset="-128"/>
              </a:rPr>
              <a:t>投資の概要</a:t>
            </a:r>
            <a:endParaRPr lang="en-US" sz="1100" b="1" dirty="0" smtClean="0">
              <a:solidFill>
                <a:srgbClr val="000000"/>
              </a:solidFill>
              <a:latin typeface="ＭＳ Ｐゴシック" panose="020B0600070205080204" pitchFamily="50" charset="-128"/>
              <a:ea typeface="ＭＳ Ｐゴシック" panose="020B0600070205080204" pitchFamily="50" charset="-128"/>
            </a:endParaRPr>
          </a:p>
        </p:txBody>
      </p:sp>
      <p:sp>
        <p:nvSpPr>
          <p:cNvPr id="50" name="TextBox 49"/>
          <p:cNvSpPr txBox="1"/>
          <p:nvPr/>
        </p:nvSpPr>
        <p:spPr>
          <a:xfrm>
            <a:off x="380648" y="1124744"/>
            <a:ext cx="6281795" cy="224028"/>
          </a:xfrm>
          <a:prstGeom prst="rect">
            <a:avLst/>
          </a:prstGeom>
          <a:noFill/>
        </p:spPr>
        <p:txBody>
          <a:bodyPr wrap="square" lIns="0" tIns="0" rIns="0" bIns="0" rtlCol="0">
            <a:noAutofit/>
          </a:bodyPr>
          <a:lstStyle/>
          <a:p>
            <a:pPr marL="231775" indent="-231775"/>
            <a:r>
              <a:rPr lang="ja-JP" altLang="en-US" sz="1100" b="1" dirty="0" smtClean="0">
                <a:solidFill>
                  <a:srgbClr val="000000"/>
                </a:solidFill>
                <a:latin typeface="ＭＳ Ｐゴシック" panose="020B0600070205080204" pitchFamily="50" charset="-128"/>
                <a:ea typeface="ＭＳ Ｐゴシック" panose="020B0600070205080204" pitchFamily="50" charset="-128"/>
              </a:rPr>
              <a:t>ビジネスチャンスの概要</a:t>
            </a:r>
            <a:endParaRPr lang="en-US" sz="1100" b="1" dirty="0" smtClean="0">
              <a:solidFill>
                <a:srgbClr val="000000"/>
              </a:solidFill>
              <a:latin typeface="ＭＳ Ｐゴシック" panose="020B0600070205080204" pitchFamily="50" charset="-128"/>
              <a:ea typeface="ＭＳ Ｐゴシック" panose="020B0600070205080204" pitchFamily="50" charset="-128"/>
            </a:endParaRPr>
          </a:p>
        </p:txBody>
      </p:sp>
      <p:cxnSp>
        <p:nvCxnSpPr>
          <p:cNvPr id="51" name="Straight Connector 50"/>
          <p:cNvCxnSpPr/>
          <p:nvPr/>
        </p:nvCxnSpPr>
        <p:spPr>
          <a:xfrm>
            <a:off x="380649" y="1353344"/>
            <a:ext cx="621792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5334000" y="899754"/>
            <a:ext cx="228600" cy="1524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000" dirty="0">
              <a:solidFill>
                <a:srgbClr val="FFFFFF"/>
              </a:solidFill>
            </a:endParaRPr>
          </a:p>
        </p:txBody>
      </p:sp>
      <p:sp>
        <p:nvSpPr>
          <p:cNvPr id="56" name="TextBox 55"/>
          <p:cNvSpPr txBox="1"/>
          <p:nvPr/>
        </p:nvSpPr>
        <p:spPr>
          <a:xfrm>
            <a:off x="5638800" y="883920"/>
            <a:ext cx="1686276" cy="182880"/>
          </a:xfrm>
          <a:prstGeom prst="rect">
            <a:avLst/>
          </a:prstGeom>
          <a:noFill/>
        </p:spPr>
        <p:txBody>
          <a:bodyPr wrap="square" lIns="0" tIns="0" rIns="0" bIns="0" rtlCol="0">
            <a:noAutofit/>
          </a:bodyPr>
          <a:lstStyle/>
          <a:p>
            <a:pPr marL="231775" indent="-231775"/>
            <a:r>
              <a:rPr lang="ja-JP" altLang="en-US" sz="1100" dirty="0" smtClean="0">
                <a:solidFill>
                  <a:srgbClr val="000000"/>
                </a:solidFill>
                <a:latin typeface="ＭＳ Ｐゴシック" panose="020B0600070205080204" pitchFamily="50" charset="-128"/>
                <a:ea typeface="ＭＳ Ｐゴシック" panose="020B0600070205080204" pitchFamily="50" charset="-128"/>
              </a:rPr>
              <a:t>現在の投資</a:t>
            </a:r>
            <a:endParaRPr lang="en-US" sz="1100" dirty="0" smtClean="0">
              <a:solidFill>
                <a:srgbClr val="000000"/>
              </a:solidFill>
              <a:latin typeface="ＭＳ Ｐゴシック" panose="020B0600070205080204" pitchFamily="50" charset="-128"/>
              <a:ea typeface="ＭＳ Ｐゴシック" panose="020B0600070205080204" pitchFamily="50" charset="-128"/>
            </a:endParaRPr>
          </a:p>
        </p:txBody>
      </p:sp>
      <p:sp>
        <p:nvSpPr>
          <p:cNvPr id="57" name="Rectangle 56"/>
          <p:cNvSpPr/>
          <p:nvPr/>
        </p:nvSpPr>
        <p:spPr>
          <a:xfrm>
            <a:off x="6984492" y="899754"/>
            <a:ext cx="228600" cy="1524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8" name="TextBox 57"/>
          <p:cNvSpPr txBox="1"/>
          <p:nvPr/>
        </p:nvSpPr>
        <p:spPr>
          <a:xfrm>
            <a:off x="7289292" y="883920"/>
            <a:ext cx="1686276" cy="182880"/>
          </a:xfrm>
          <a:prstGeom prst="rect">
            <a:avLst/>
          </a:prstGeom>
          <a:noFill/>
        </p:spPr>
        <p:txBody>
          <a:bodyPr wrap="square" lIns="0" tIns="0" rIns="0" bIns="0" rtlCol="0">
            <a:noAutofit/>
          </a:bodyPr>
          <a:lstStyle/>
          <a:p>
            <a:pPr marL="231775" indent="-231775"/>
            <a:r>
              <a:rPr lang="ja-JP" altLang="en-US" sz="1100" dirty="0" smtClean="0">
                <a:solidFill>
                  <a:srgbClr val="000000"/>
                </a:solidFill>
                <a:latin typeface="ＭＳ Ｐゴシック" panose="020B0600070205080204" pitchFamily="50" charset="-128"/>
                <a:ea typeface="ＭＳ Ｐゴシック" panose="020B0600070205080204" pitchFamily="50" charset="-128"/>
              </a:rPr>
              <a:t>見込まれる投資</a:t>
            </a:r>
            <a:endParaRPr lang="en-US" sz="1100" dirty="0" smtClean="0">
              <a:solidFill>
                <a:srgbClr val="000000"/>
              </a:solidFill>
              <a:latin typeface="ＭＳ Ｐゴシック" panose="020B0600070205080204" pitchFamily="50" charset="-128"/>
              <a:ea typeface="ＭＳ Ｐゴシック" panose="020B0600070205080204" pitchFamily="50" charset="-128"/>
            </a:endParaRPr>
          </a:p>
        </p:txBody>
      </p:sp>
      <p:cxnSp>
        <p:nvCxnSpPr>
          <p:cNvPr id="89" name="Straight Connector 88"/>
          <p:cNvCxnSpPr/>
          <p:nvPr/>
        </p:nvCxnSpPr>
        <p:spPr>
          <a:xfrm>
            <a:off x="6876256" y="1359940"/>
            <a:ext cx="15956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8" name="Rectangle 87"/>
          <p:cNvSpPr/>
          <p:nvPr/>
        </p:nvSpPr>
        <p:spPr>
          <a:xfrm>
            <a:off x="5256256" y="4989697"/>
            <a:ext cx="1620000"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下水道処理場の設置（</a:t>
            </a:r>
            <a:r>
              <a:rPr lang="en-US" altLang="ja-JP" sz="1000" dirty="0">
                <a:solidFill>
                  <a:schemeClr val="tx1"/>
                </a:solidFill>
                <a:latin typeface="ＭＳ Ｐゴシック" panose="020B0600070205080204" pitchFamily="50" charset="-128"/>
                <a:ea typeface="ＭＳ Ｐゴシック" panose="020B0600070205080204" pitchFamily="50" charset="-128"/>
              </a:rPr>
              <a:t>#11</a:t>
            </a:r>
            <a:r>
              <a:rPr lang="ja-JP" altLang="en-US" sz="1000" dirty="0">
                <a:solidFill>
                  <a:schemeClr val="tx1"/>
                </a:solidFill>
                <a:latin typeface="ＭＳ Ｐゴシック" panose="020B0600070205080204" pitchFamily="50" charset="-128"/>
                <a:ea typeface="ＭＳ Ｐゴシック" panose="020B0600070205080204" pitchFamily="50" charset="-128"/>
              </a:rPr>
              <a:t>）と運営（</a:t>
            </a:r>
            <a:r>
              <a:rPr lang="en-US" altLang="ja-JP" sz="1000" dirty="0">
                <a:solidFill>
                  <a:schemeClr val="tx1"/>
                </a:solidFill>
                <a:latin typeface="ＭＳ Ｐゴシック" panose="020B0600070205080204" pitchFamily="50" charset="-128"/>
                <a:ea typeface="ＭＳ Ｐゴシック" panose="020B0600070205080204" pitchFamily="50" charset="-128"/>
              </a:rPr>
              <a:t>#12</a:t>
            </a:r>
            <a:r>
              <a:rPr lang="ja-JP" altLang="en-US" sz="1000" dirty="0">
                <a:solidFill>
                  <a:schemeClr val="tx1"/>
                </a:solidFill>
                <a:latin typeface="ＭＳ Ｐゴシック" panose="020B0600070205080204" pitchFamily="50" charset="-128"/>
                <a:ea typeface="ＭＳ Ｐゴシック" panose="020B0600070205080204" pitchFamily="50" charset="-128"/>
              </a:rPr>
              <a:t>）</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90" name="Rectangle 89"/>
          <p:cNvSpPr/>
          <p:nvPr/>
        </p:nvSpPr>
        <p:spPr>
          <a:xfrm>
            <a:off x="1534024" y="5533599"/>
            <a:ext cx="5342231" cy="433496"/>
          </a:xfrm>
          <a:prstGeom prst="rect">
            <a:avLst/>
          </a:prstGeom>
          <a:solidFill>
            <a:schemeClr val="tx2">
              <a:lumMod val="20000"/>
              <a:lumOff val="80000"/>
            </a:schemeClr>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浄化槽の改修（</a:t>
            </a:r>
            <a:r>
              <a:rPr lang="en-US" altLang="ja-JP" sz="1000" dirty="0">
                <a:solidFill>
                  <a:schemeClr val="tx1"/>
                </a:solidFill>
                <a:latin typeface="ＭＳ Ｐゴシック" panose="020B0600070205080204" pitchFamily="50" charset="-128"/>
                <a:ea typeface="ＭＳ Ｐゴシック" panose="020B0600070205080204" pitchFamily="50" charset="-128"/>
              </a:rPr>
              <a:t>#3</a:t>
            </a:r>
            <a:r>
              <a:rPr lang="ja-JP" altLang="en-US" sz="1000" dirty="0">
                <a:solidFill>
                  <a:schemeClr val="tx1"/>
                </a:solidFill>
                <a:latin typeface="ＭＳ Ｐゴシック" panose="020B0600070205080204" pitchFamily="50" charset="-128"/>
                <a:ea typeface="ＭＳ Ｐゴシック" panose="020B0600070205080204" pitchFamily="50" charset="-128"/>
              </a:rPr>
              <a:t>）、汚泥管理（</a:t>
            </a:r>
            <a:r>
              <a:rPr lang="en-US" altLang="ja-JP" sz="1000" dirty="0">
                <a:solidFill>
                  <a:schemeClr val="tx1"/>
                </a:solidFill>
                <a:latin typeface="ＭＳ Ｐゴシック" panose="020B0600070205080204" pitchFamily="50" charset="-128"/>
                <a:ea typeface="ＭＳ Ｐゴシック" panose="020B0600070205080204" pitchFamily="50" charset="-128"/>
              </a:rPr>
              <a:t>#7</a:t>
            </a:r>
            <a:r>
              <a:rPr lang="ja-JP" altLang="en-US" sz="1000" dirty="0">
                <a:solidFill>
                  <a:schemeClr val="tx1"/>
                </a:solidFill>
                <a:latin typeface="ＭＳ Ｐゴシック" panose="020B0600070205080204" pitchFamily="50" charset="-128"/>
                <a:ea typeface="ＭＳ Ｐゴシック" panose="020B0600070205080204" pitchFamily="50" charset="-128"/>
              </a:rPr>
              <a:t>）、汚水処理場の設置（</a:t>
            </a:r>
            <a:r>
              <a:rPr lang="en-US" altLang="ja-JP" sz="1000" dirty="0">
                <a:solidFill>
                  <a:schemeClr val="tx1"/>
                </a:solidFill>
                <a:latin typeface="ＭＳ Ｐゴシック" panose="020B0600070205080204" pitchFamily="50" charset="-128"/>
                <a:ea typeface="ＭＳ Ｐゴシック" panose="020B0600070205080204" pitchFamily="50" charset="-128"/>
              </a:rPr>
              <a:t>#9</a:t>
            </a:r>
            <a:r>
              <a:rPr lang="ja-JP" altLang="en-US" sz="1000" dirty="0">
                <a:solidFill>
                  <a:schemeClr val="tx1"/>
                </a:solidFill>
                <a:latin typeface="ＭＳ Ｐゴシック" panose="020B0600070205080204" pitchFamily="50" charset="-128"/>
                <a:ea typeface="ＭＳ Ｐゴシック" panose="020B0600070205080204" pitchFamily="50" charset="-128"/>
              </a:rPr>
              <a:t>）をはじめとする、総合的な汚泥管理計画</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91" name="Rectangle 90"/>
          <p:cNvSpPr/>
          <p:nvPr/>
        </p:nvSpPr>
        <p:spPr>
          <a:xfrm>
            <a:off x="1534024" y="4989697"/>
            <a:ext cx="1620000"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コミュニティ・トイレの設置（</a:t>
            </a:r>
            <a:r>
              <a:rPr lang="en-US" altLang="ja-JP" sz="1000" dirty="0">
                <a:solidFill>
                  <a:schemeClr val="tx1"/>
                </a:solidFill>
                <a:latin typeface="ＭＳ Ｐゴシック" panose="020B0600070205080204" pitchFamily="50" charset="-128"/>
                <a:ea typeface="ＭＳ Ｐゴシック" panose="020B0600070205080204" pitchFamily="50" charset="-128"/>
              </a:rPr>
              <a:t>#2</a:t>
            </a:r>
            <a:r>
              <a:rPr lang="ja-JP" altLang="en-US" sz="1000" dirty="0">
                <a:solidFill>
                  <a:schemeClr val="tx1"/>
                </a:solidFill>
                <a:latin typeface="ＭＳ Ｐゴシック" panose="020B0600070205080204" pitchFamily="50" charset="-128"/>
                <a:ea typeface="ＭＳ Ｐゴシック" panose="020B0600070205080204" pitchFamily="50" charset="-128"/>
              </a:rPr>
              <a:t>）と維持管理（</a:t>
            </a:r>
            <a:r>
              <a:rPr lang="en-US" altLang="ja-JP" sz="1000" dirty="0">
                <a:solidFill>
                  <a:schemeClr val="tx1"/>
                </a:solidFill>
                <a:latin typeface="ＭＳ Ｐゴシック" panose="020B0600070205080204" pitchFamily="50" charset="-128"/>
                <a:ea typeface="ＭＳ Ｐゴシック" panose="020B0600070205080204" pitchFamily="50" charset="-128"/>
              </a:rPr>
              <a:t>#4</a:t>
            </a:r>
            <a:r>
              <a:rPr lang="ja-JP" altLang="en-US" sz="1000" dirty="0">
                <a:solidFill>
                  <a:schemeClr val="tx1"/>
                </a:solidFill>
                <a:latin typeface="ＭＳ Ｐゴシック" panose="020B0600070205080204" pitchFamily="50" charset="-128"/>
                <a:ea typeface="ＭＳ Ｐゴシック" panose="020B0600070205080204" pitchFamily="50" charset="-128"/>
              </a:rPr>
              <a:t>）</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cxnSp>
        <p:nvCxnSpPr>
          <p:cNvPr id="92" name="Straight Connector 91"/>
          <p:cNvCxnSpPr/>
          <p:nvPr/>
        </p:nvCxnSpPr>
        <p:spPr>
          <a:xfrm>
            <a:off x="441144" y="3703083"/>
            <a:ext cx="6255307" cy="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93" name="Rectangle 92"/>
          <p:cNvSpPr/>
          <p:nvPr/>
        </p:nvSpPr>
        <p:spPr>
          <a:xfrm>
            <a:off x="1534024" y="2608824"/>
            <a:ext cx="1620000"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900" dirty="0" smtClean="0">
                <a:solidFill>
                  <a:schemeClr val="tx1"/>
                </a:solidFill>
                <a:latin typeface="ＭＳ Ｐゴシック" panose="020B0600070205080204" pitchFamily="50" charset="-128"/>
                <a:ea typeface="ＭＳ Ｐゴシック" panose="020B0600070205080204" pitchFamily="50" charset="-128"/>
              </a:rPr>
              <a:t>浄化槽や下水道とつながった新しいコミュニティ・トイレ／公衆トイレの設置</a:t>
            </a:r>
            <a:endParaRPr lang="en-US" sz="900" dirty="0">
              <a:solidFill>
                <a:schemeClr val="tx1"/>
              </a:solidFill>
              <a:latin typeface="ＭＳ Ｐゴシック" panose="020B0600070205080204" pitchFamily="50" charset="-128"/>
              <a:ea typeface="ＭＳ Ｐゴシック" panose="020B0600070205080204" pitchFamily="50" charset="-128"/>
            </a:endParaRPr>
          </a:p>
        </p:txBody>
      </p:sp>
      <p:sp>
        <p:nvSpPr>
          <p:cNvPr id="94" name="Rectangle 93"/>
          <p:cNvSpPr/>
          <p:nvPr/>
        </p:nvSpPr>
        <p:spPr>
          <a:xfrm>
            <a:off x="5256256" y="2608824"/>
            <a:ext cx="1620000" cy="433496"/>
          </a:xfrm>
          <a:prstGeom prst="rect">
            <a:avLst/>
          </a:prstGeom>
          <a:solidFill>
            <a:schemeClr val="tx2">
              <a:lumMod val="20000"/>
              <a:lumOff val="80000"/>
            </a:schemeClr>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排水処理場の設置</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95" name="Rectangle 94"/>
          <p:cNvSpPr/>
          <p:nvPr/>
        </p:nvSpPr>
        <p:spPr>
          <a:xfrm>
            <a:off x="3395141" y="2608824"/>
            <a:ext cx="1620000" cy="433496"/>
          </a:xfrm>
          <a:prstGeom prst="rect">
            <a:avLst/>
          </a:prstGeom>
          <a:solidFill>
            <a:schemeClr val="tx2">
              <a:lumMod val="20000"/>
              <a:lumOff val="80000"/>
            </a:schemeClr>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排水穴と前沈殿下水道の設置</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96" name="Rectangle 95"/>
          <p:cNvSpPr/>
          <p:nvPr/>
        </p:nvSpPr>
        <p:spPr>
          <a:xfrm>
            <a:off x="1534024" y="2031336"/>
            <a:ext cx="1620000"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900" dirty="0" smtClean="0">
                <a:solidFill>
                  <a:schemeClr val="tx1"/>
                </a:solidFill>
                <a:latin typeface="ＭＳ Ｐゴシック" panose="020B0600070205080204" pitchFamily="50" charset="-128"/>
                <a:ea typeface="ＭＳ Ｐゴシック" panose="020B0600070205080204" pitchFamily="50" charset="-128"/>
              </a:rPr>
              <a:t>浄化槽や下水道とつながった新しい共同トイレ／個別トイレの設置</a:t>
            </a:r>
            <a:endParaRPr lang="en-US" sz="900" dirty="0">
              <a:solidFill>
                <a:schemeClr val="tx1"/>
              </a:solidFill>
              <a:latin typeface="ＭＳ Ｐゴシック" panose="020B0600070205080204" pitchFamily="50" charset="-128"/>
              <a:ea typeface="ＭＳ Ｐゴシック" panose="020B0600070205080204" pitchFamily="50" charset="-128"/>
            </a:endParaRPr>
          </a:p>
        </p:txBody>
      </p:sp>
      <p:sp>
        <p:nvSpPr>
          <p:cNvPr id="97" name="Rectangle 96"/>
          <p:cNvSpPr/>
          <p:nvPr/>
        </p:nvSpPr>
        <p:spPr>
          <a:xfrm>
            <a:off x="3395141" y="2031336"/>
            <a:ext cx="1620000" cy="433496"/>
          </a:xfrm>
          <a:prstGeom prst="rect">
            <a:avLst/>
          </a:prstGeom>
          <a:solidFill>
            <a:schemeClr val="accent3">
              <a:lumMod val="40000"/>
              <a:lumOff val="60000"/>
            </a:schemeClr>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下水道ネットワークの設置</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98" name="Rectangle 97"/>
          <p:cNvSpPr/>
          <p:nvPr/>
        </p:nvSpPr>
        <p:spPr>
          <a:xfrm>
            <a:off x="5256256" y="2031336"/>
            <a:ext cx="1620000"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汚水処理場の設置</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100" name="Rectangle 99"/>
          <p:cNvSpPr/>
          <p:nvPr/>
        </p:nvSpPr>
        <p:spPr>
          <a:xfrm>
            <a:off x="3395141" y="4363656"/>
            <a:ext cx="1620000" cy="433496"/>
          </a:xfrm>
          <a:prstGeom prst="rect">
            <a:avLst/>
          </a:prstGeom>
          <a:solidFill>
            <a:schemeClr val="bg1"/>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下水道ネットワークの管理</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cxnSp>
        <p:nvCxnSpPr>
          <p:cNvPr id="102" name="Straight Connector 101"/>
          <p:cNvCxnSpPr/>
          <p:nvPr/>
        </p:nvCxnSpPr>
        <p:spPr>
          <a:xfrm>
            <a:off x="450293" y="4848437"/>
            <a:ext cx="6255307" cy="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03" name="Oval 102"/>
          <p:cNvSpPr/>
          <p:nvPr/>
        </p:nvSpPr>
        <p:spPr>
          <a:xfrm>
            <a:off x="1371717" y="1956322"/>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rgbClr val="FFFFFF"/>
                </a:solidFill>
              </a:rPr>
              <a:t>1</a:t>
            </a:r>
          </a:p>
        </p:txBody>
      </p:sp>
      <p:sp>
        <p:nvSpPr>
          <p:cNvPr id="104" name="Oval 103"/>
          <p:cNvSpPr/>
          <p:nvPr/>
        </p:nvSpPr>
        <p:spPr>
          <a:xfrm>
            <a:off x="1371717" y="2546064"/>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2</a:t>
            </a:r>
            <a:endParaRPr lang="en-US" sz="1000" dirty="0">
              <a:solidFill>
                <a:srgbClr val="FFFFFF"/>
              </a:solidFill>
            </a:endParaRPr>
          </a:p>
        </p:txBody>
      </p:sp>
      <p:sp>
        <p:nvSpPr>
          <p:cNvPr id="105" name="Rectangle 104"/>
          <p:cNvSpPr/>
          <p:nvPr/>
        </p:nvSpPr>
        <p:spPr>
          <a:xfrm>
            <a:off x="1534024" y="3809602"/>
            <a:ext cx="1620000" cy="433495"/>
          </a:xfrm>
          <a:prstGeom prst="rect">
            <a:avLst/>
          </a:prstGeom>
          <a:solidFill>
            <a:schemeClr val="bg1"/>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コミュニティ・トイレと公衆トイレの維持管理</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106" name="Oval 105"/>
          <p:cNvSpPr/>
          <p:nvPr/>
        </p:nvSpPr>
        <p:spPr>
          <a:xfrm>
            <a:off x="1371717" y="3713676"/>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rgbClr val="FFFFFF"/>
                </a:solidFill>
              </a:rPr>
              <a:t>4</a:t>
            </a:r>
          </a:p>
        </p:txBody>
      </p:sp>
      <p:sp>
        <p:nvSpPr>
          <p:cNvPr id="107" name="Oval 106"/>
          <p:cNvSpPr/>
          <p:nvPr/>
        </p:nvSpPr>
        <p:spPr>
          <a:xfrm>
            <a:off x="3246020" y="2546064"/>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rgbClr val="FFFFFF"/>
                </a:solidFill>
              </a:rPr>
              <a:t>6</a:t>
            </a:r>
          </a:p>
        </p:txBody>
      </p:sp>
      <p:sp>
        <p:nvSpPr>
          <p:cNvPr id="108" name="Rectangle 107"/>
          <p:cNvSpPr/>
          <p:nvPr/>
        </p:nvSpPr>
        <p:spPr>
          <a:xfrm>
            <a:off x="3395141" y="3809602"/>
            <a:ext cx="1620000"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汚泥の管理</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109" name="Oval 108"/>
          <p:cNvSpPr/>
          <p:nvPr/>
        </p:nvSpPr>
        <p:spPr>
          <a:xfrm>
            <a:off x="3246020" y="3713676"/>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7</a:t>
            </a:r>
            <a:endParaRPr lang="en-US" sz="1000" dirty="0">
              <a:solidFill>
                <a:srgbClr val="FFFFFF"/>
              </a:solidFill>
            </a:endParaRPr>
          </a:p>
        </p:txBody>
      </p:sp>
      <p:sp>
        <p:nvSpPr>
          <p:cNvPr id="110" name="Oval 109"/>
          <p:cNvSpPr/>
          <p:nvPr/>
        </p:nvSpPr>
        <p:spPr>
          <a:xfrm>
            <a:off x="3246020" y="4289746"/>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rgbClr val="FFFFFF"/>
                </a:solidFill>
              </a:rPr>
              <a:t>8</a:t>
            </a:r>
          </a:p>
        </p:txBody>
      </p:sp>
      <p:sp>
        <p:nvSpPr>
          <p:cNvPr id="111" name="Oval 110"/>
          <p:cNvSpPr/>
          <p:nvPr/>
        </p:nvSpPr>
        <p:spPr>
          <a:xfrm>
            <a:off x="3246020" y="1958685"/>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rgbClr val="FFFFFF"/>
                </a:solidFill>
              </a:rPr>
              <a:t>5</a:t>
            </a:r>
          </a:p>
        </p:txBody>
      </p:sp>
      <p:sp>
        <p:nvSpPr>
          <p:cNvPr id="112" name="Oval 111"/>
          <p:cNvSpPr/>
          <p:nvPr/>
        </p:nvSpPr>
        <p:spPr>
          <a:xfrm>
            <a:off x="5121432" y="1958685"/>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rgbClr val="FFFFFF"/>
                </a:solidFill>
              </a:rPr>
              <a:t>9</a:t>
            </a:r>
          </a:p>
        </p:txBody>
      </p:sp>
      <p:sp>
        <p:nvSpPr>
          <p:cNvPr id="114" name="Oval 113"/>
          <p:cNvSpPr/>
          <p:nvPr/>
        </p:nvSpPr>
        <p:spPr>
          <a:xfrm>
            <a:off x="5121432" y="2546064"/>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0</a:t>
            </a:r>
            <a:endParaRPr lang="en-US" sz="1000" dirty="0">
              <a:solidFill>
                <a:srgbClr val="FFFFFF"/>
              </a:solidFill>
            </a:endParaRPr>
          </a:p>
        </p:txBody>
      </p:sp>
      <p:sp>
        <p:nvSpPr>
          <p:cNvPr id="115" name="Rectangle 114"/>
          <p:cNvSpPr/>
          <p:nvPr/>
        </p:nvSpPr>
        <p:spPr>
          <a:xfrm>
            <a:off x="5256256" y="3809602"/>
            <a:ext cx="1620000" cy="433496"/>
          </a:xfrm>
          <a:prstGeom prst="rect">
            <a:avLst/>
          </a:prstGeom>
          <a:solidFill>
            <a:schemeClr val="bg1"/>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下水処理場の維持管理</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116" name="Oval 115"/>
          <p:cNvSpPr/>
          <p:nvPr/>
        </p:nvSpPr>
        <p:spPr>
          <a:xfrm>
            <a:off x="5121432" y="3713676"/>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2</a:t>
            </a:r>
            <a:endParaRPr lang="en-US" sz="1000" dirty="0">
              <a:solidFill>
                <a:srgbClr val="FFFFFF"/>
              </a:solidFill>
            </a:endParaRPr>
          </a:p>
        </p:txBody>
      </p:sp>
      <p:sp>
        <p:nvSpPr>
          <p:cNvPr id="117" name="Oval 116"/>
          <p:cNvSpPr/>
          <p:nvPr/>
        </p:nvSpPr>
        <p:spPr>
          <a:xfrm>
            <a:off x="1371717" y="5435728"/>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4</a:t>
            </a:r>
            <a:endParaRPr lang="en-US" sz="1000" dirty="0">
              <a:solidFill>
                <a:srgbClr val="FFFFFF"/>
              </a:solidFill>
            </a:endParaRPr>
          </a:p>
        </p:txBody>
      </p:sp>
      <p:sp>
        <p:nvSpPr>
          <p:cNvPr id="118" name="Oval 117"/>
          <p:cNvSpPr/>
          <p:nvPr/>
        </p:nvSpPr>
        <p:spPr>
          <a:xfrm>
            <a:off x="5121432" y="4919068"/>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6</a:t>
            </a:r>
            <a:endParaRPr lang="en-US" sz="1000" dirty="0">
              <a:solidFill>
                <a:srgbClr val="FFFFFF"/>
              </a:solidFill>
            </a:endParaRPr>
          </a:p>
        </p:txBody>
      </p:sp>
      <p:sp>
        <p:nvSpPr>
          <p:cNvPr id="119" name="Oval 118"/>
          <p:cNvSpPr/>
          <p:nvPr/>
        </p:nvSpPr>
        <p:spPr>
          <a:xfrm>
            <a:off x="1371717" y="4919068"/>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3</a:t>
            </a:r>
            <a:endParaRPr lang="en-US" sz="1000" dirty="0">
              <a:solidFill>
                <a:srgbClr val="FFFFFF"/>
              </a:solidFill>
            </a:endParaRPr>
          </a:p>
        </p:txBody>
      </p:sp>
      <p:sp>
        <p:nvSpPr>
          <p:cNvPr id="121" name="Chevron 120"/>
          <p:cNvSpPr/>
          <p:nvPr/>
        </p:nvSpPr>
        <p:spPr>
          <a:xfrm>
            <a:off x="1534025" y="1419326"/>
            <a:ext cx="1692000" cy="470866"/>
          </a:xfrm>
          <a:prstGeom prst="chevron">
            <a:avLst>
              <a:gd name="adj" fmla="val 20248"/>
            </a:avLst>
          </a:prstGeom>
          <a:solidFill>
            <a:srgbClr val="67103F"/>
          </a:solidFill>
          <a:ln w="9525">
            <a:noFill/>
          </a:ln>
        </p:spPr>
        <p:txBody>
          <a:bodyPr wrap="square" lIns="44450" tIns="131763" rIns="0" bIns="133350" anchor="ctr" anchorCtr="0">
            <a:noAutofit/>
          </a:bodyPr>
          <a:lstStyle/>
          <a:p>
            <a:pPr algn="ctr">
              <a:spcBef>
                <a:spcPct val="0"/>
              </a:spcBef>
              <a:spcAft>
                <a:spcPct val="0"/>
              </a:spcAft>
              <a:buFont typeface="Arial" pitchFamily="34" charset="0"/>
              <a:buNone/>
            </a:pPr>
            <a:r>
              <a:rPr lang="ja-JP" altLang="en-US" sz="1000" b="1" dirty="0" smtClean="0">
                <a:solidFill>
                  <a:srgbClr val="FFFFFF"/>
                </a:solidFill>
                <a:latin typeface="ＭＳ Ｐゴシック" panose="020B0600070205080204" pitchFamily="50" charset="-128"/>
                <a:ea typeface="ＭＳ Ｐゴシック" panose="020B0600070205080204" pitchFamily="50" charset="-128"/>
              </a:rPr>
              <a:t>アクセスと収集</a:t>
            </a:r>
            <a:endParaRPr lang="en-US" sz="1000" b="1" dirty="0">
              <a:solidFill>
                <a:srgbClr val="FFFFFF"/>
              </a:solidFill>
              <a:latin typeface="ＭＳ Ｐゴシック" panose="020B0600070205080204" pitchFamily="50" charset="-128"/>
              <a:ea typeface="ＭＳ Ｐゴシック" panose="020B0600070205080204" pitchFamily="50" charset="-128"/>
            </a:endParaRPr>
          </a:p>
        </p:txBody>
      </p:sp>
      <p:sp>
        <p:nvSpPr>
          <p:cNvPr id="122" name="Chevron 121"/>
          <p:cNvSpPr/>
          <p:nvPr/>
        </p:nvSpPr>
        <p:spPr>
          <a:xfrm>
            <a:off x="3395141" y="1419326"/>
            <a:ext cx="1692000" cy="470866"/>
          </a:xfrm>
          <a:prstGeom prst="chevron">
            <a:avLst>
              <a:gd name="adj" fmla="val 20248"/>
            </a:avLst>
          </a:prstGeom>
          <a:solidFill>
            <a:srgbClr val="67103F"/>
          </a:solidFill>
          <a:ln w="9525">
            <a:noFill/>
          </a:ln>
        </p:spPr>
        <p:txBody>
          <a:bodyPr wrap="square" lIns="44450" tIns="131763" rIns="0" bIns="133350" anchor="ctr" anchorCtr="0">
            <a:noAutofit/>
          </a:bodyPr>
          <a:lstStyle/>
          <a:p>
            <a:pPr algn="ctr">
              <a:spcBef>
                <a:spcPct val="0"/>
              </a:spcBef>
              <a:spcAft>
                <a:spcPct val="0"/>
              </a:spcAft>
              <a:buFont typeface="Arial" pitchFamily="34" charset="0"/>
              <a:buNone/>
            </a:pPr>
            <a:r>
              <a:rPr lang="ja-JP" altLang="en-US" sz="1000" b="1" dirty="0" smtClean="0">
                <a:solidFill>
                  <a:srgbClr val="FFFFFF"/>
                </a:solidFill>
                <a:latin typeface="ＭＳ Ｐゴシック" panose="020B0600070205080204" pitchFamily="50" charset="-128"/>
                <a:ea typeface="ＭＳ Ｐゴシック" panose="020B0600070205080204" pitchFamily="50" charset="-128"/>
              </a:rPr>
              <a:t>運搬</a:t>
            </a:r>
            <a:endParaRPr lang="en-US" sz="1000" b="1" dirty="0">
              <a:solidFill>
                <a:srgbClr val="FFFFFF"/>
              </a:solidFill>
              <a:latin typeface="ＭＳ Ｐゴシック" panose="020B0600070205080204" pitchFamily="50" charset="-128"/>
              <a:ea typeface="ＭＳ Ｐゴシック" panose="020B0600070205080204" pitchFamily="50" charset="-128"/>
            </a:endParaRPr>
          </a:p>
        </p:txBody>
      </p:sp>
      <p:sp>
        <p:nvSpPr>
          <p:cNvPr id="123" name="Chevron 122"/>
          <p:cNvSpPr/>
          <p:nvPr/>
        </p:nvSpPr>
        <p:spPr>
          <a:xfrm>
            <a:off x="5256256" y="1419326"/>
            <a:ext cx="1619999" cy="470866"/>
          </a:xfrm>
          <a:prstGeom prst="chevron">
            <a:avLst>
              <a:gd name="adj" fmla="val 20248"/>
            </a:avLst>
          </a:prstGeom>
          <a:solidFill>
            <a:srgbClr val="67103F"/>
          </a:solidFill>
          <a:ln w="9525">
            <a:noFill/>
          </a:ln>
        </p:spPr>
        <p:txBody>
          <a:bodyPr wrap="square" lIns="44450" tIns="131763" rIns="0" bIns="133350" anchor="ctr" anchorCtr="0">
            <a:noAutofit/>
          </a:bodyPr>
          <a:lstStyle/>
          <a:p>
            <a:pPr algn="ctr">
              <a:spcBef>
                <a:spcPct val="0"/>
              </a:spcBef>
              <a:spcAft>
                <a:spcPct val="0"/>
              </a:spcAft>
              <a:buFont typeface="Arial" pitchFamily="34" charset="0"/>
              <a:buNone/>
            </a:pPr>
            <a:r>
              <a:rPr lang="ja-JP" altLang="en-US" sz="1000" b="1" dirty="0" smtClean="0">
                <a:solidFill>
                  <a:srgbClr val="FFFFFF"/>
                </a:solidFill>
                <a:latin typeface="ＭＳ Ｐゴシック" panose="020B0600070205080204" pitchFamily="50" charset="-128"/>
                <a:ea typeface="ＭＳ Ｐゴシック" panose="020B0600070205080204" pitchFamily="50" charset="-128"/>
              </a:rPr>
              <a:t>処理と再利用</a:t>
            </a:r>
            <a:endParaRPr lang="en-US" sz="1000" b="1" dirty="0">
              <a:solidFill>
                <a:srgbClr val="FFFFFF"/>
              </a:solidFill>
              <a:latin typeface="ＭＳ Ｐゴシック" panose="020B0600070205080204" pitchFamily="50" charset="-128"/>
              <a:ea typeface="ＭＳ Ｐゴシック" panose="020B0600070205080204" pitchFamily="50" charset="-128"/>
            </a:endParaRPr>
          </a:p>
        </p:txBody>
      </p:sp>
      <p:sp>
        <p:nvSpPr>
          <p:cNvPr id="53" name="Rectangle 52"/>
          <p:cNvSpPr/>
          <p:nvPr/>
        </p:nvSpPr>
        <p:spPr>
          <a:xfrm>
            <a:off x="1534024" y="3155088"/>
            <a:ext cx="1620000"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latin typeface="ＭＳ Ｐゴシック" panose="020B0600070205080204" pitchFamily="50" charset="-128"/>
                <a:ea typeface="ＭＳ Ｐゴシック" panose="020B0600070205080204" pitchFamily="50" charset="-128"/>
              </a:rPr>
              <a:t>浄化槽の改修</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54" name="Oval 53"/>
          <p:cNvSpPr/>
          <p:nvPr/>
        </p:nvSpPr>
        <p:spPr>
          <a:xfrm>
            <a:off x="1371717" y="3079070"/>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3</a:t>
            </a:r>
            <a:endParaRPr lang="en-US" sz="1000" dirty="0">
              <a:solidFill>
                <a:srgbClr val="FFFFFF"/>
              </a:solidFill>
            </a:endParaRPr>
          </a:p>
        </p:txBody>
      </p:sp>
      <p:sp>
        <p:nvSpPr>
          <p:cNvPr id="55" name="Rounded Rectangle 54"/>
          <p:cNvSpPr/>
          <p:nvPr/>
        </p:nvSpPr>
        <p:spPr>
          <a:xfrm>
            <a:off x="381001" y="2031337"/>
            <a:ext cx="961102" cy="155724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200" dirty="0" smtClean="0">
                <a:solidFill>
                  <a:schemeClr val="tx2"/>
                </a:solidFill>
                <a:latin typeface="ＭＳ Ｐゴシック" panose="020B0600070205080204" pitchFamily="50" charset="-128"/>
                <a:ea typeface="ＭＳ Ｐゴシック" panose="020B0600070205080204" pitchFamily="50" charset="-128"/>
              </a:rPr>
              <a:t>設置</a:t>
            </a:r>
            <a:endParaRPr lang="en-IN" sz="1200" dirty="0">
              <a:solidFill>
                <a:schemeClr val="tx2"/>
              </a:solidFill>
              <a:latin typeface="ＭＳ Ｐゴシック" panose="020B0600070205080204" pitchFamily="50" charset="-128"/>
              <a:ea typeface="ＭＳ Ｐゴシック" panose="020B0600070205080204" pitchFamily="50" charset="-128"/>
            </a:endParaRPr>
          </a:p>
        </p:txBody>
      </p:sp>
      <p:sp>
        <p:nvSpPr>
          <p:cNvPr id="59" name="Rectangle 58"/>
          <p:cNvSpPr/>
          <p:nvPr/>
        </p:nvSpPr>
        <p:spPr>
          <a:xfrm>
            <a:off x="5256256" y="3155088"/>
            <a:ext cx="1620000"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a:solidFill>
                  <a:schemeClr val="tx1"/>
                </a:solidFill>
                <a:latin typeface="ＭＳ Ｐゴシック" panose="020B0600070205080204" pitchFamily="50" charset="-128"/>
                <a:ea typeface="ＭＳ Ｐゴシック" panose="020B0600070205080204" pitchFamily="50" charset="-128"/>
              </a:rPr>
              <a:t>下水処理場の設置 </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60" name="Oval 59"/>
          <p:cNvSpPr/>
          <p:nvPr/>
        </p:nvSpPr>
        <p:spPr>
          <a:xfrm>
            <a:off x="5121432" y="3079070"/>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1</a:t>
            </a:r>
            <a:endParaRPr lang="en-US" sz="1000" dirty="0">
              <a:solidFill>
                <a:srgbClr val="FFFFFF"/>
              </a:solidFill>
            </a:endParaRPr>
          </a:p>
        </p:txBody>
      </p:sp>
      <p:sp>
        <p:nvSpPr>
          <p:cNvPr id="61" name="Rectangle 60"/>
          <p:cNvSpPr/>
          <p:nvPr/>
        </p:nvSpPr>
        <p:spPr>
          <a:xfrm>
            <a:off x="1534024" y="6079492"/>
            <a:ext cx="5342231"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rPr>
              <a:t>浄化槽の改修（</a:t>
            </a:r>
            <a:r>
              <a:rPr lang="en-US" altLang="ja-JP" sz="1000" dirty="0" smtClean="0">
                <a:solidFill>
                  <a:schemeClr val="tx1"/>
                </a:solidFill>
              </a:rPr>
              <a:t>#3</a:t>
            </a:r>
            <a:r>
              <a:rPr lang="ja-JP" altLang="en-US" sz="1000" dirty="0" smtClean="0">
                <a:solidFill>
                  <a:schemeClr val="tx1"/>
                </a:solidFill>
              </a:rPr>
              <a:t>）、汚泥の管理（</a:t>
            </a:r>
            <a:r>
              <a:rPr lang="en-US" altLang="ja-JP" sz="1000" dirty="0" smtClean="0">
                <a:solidFill>
                  <a:schemeClr val="tx1"/>
                </a:solidFill>
              </a:rPr>
              <a:t>#7</a:t>
            </a:r>
            <a:r>
              <a:rPr lang="ja-JP" altLang="en-US" sz="1000" dirty="0" smtClean="0">
                <a:solidFill>
                  <a:schemeClr val="tx1"/>
                </a:solidFill>
              </a:rPr>
              <a:t>）をはじめとする、総合的な前沈殿下水道と汚泥の管理計画 場の設置</a:t>
            </a:r>
            <a:r>
              <a:rPr lang="en-US" sz="1000" dirty="0" smtClean="0">
                <a:solidFill>
                  <a:schemeClr val="tx1"/>
                </a:solidFill>
              </a:rPr>
              <a:t> </a:t>
            </a:r>
            <a:r>
              <a:rPr lang="en-US" sz="1000" dirty="0">
                <a:solidFill>
                  <a:schemeClr val="tx1"/>
                </a:solidFill>
              </a:rPr>
              <a:t>(#10)</a:t>
            </a:r>
          </a:p>
        </p:txBody>
      </p:sp>
      <p:sp>
        <p:nvSpPr>
          <p:cNvPr id="62" name="Oval 61"/>
          <p:cNvSpPr/>
          <p:nvPr/>
        </p:nvSpPr>
        <p:spPr>
          <a:xfrm>
            <a:off x="1371717" y="5986680"/>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5</a:t>
            </a:r>
            <a:endParaRPr lang="en-US" sz="1000" dirty="0">
              <a:solidFill>
                <a:srgbClr val="FFFFFF"/>
              </a:solidFill>
            </a:endParaRPr>
          </a:p>
        </p:txBody>
      </p:sp>
      <p:sp>
        <p:nvSpPr>
          <p:cNvPr id="63" name="Rounded Rectangle 62"/>
          <p:cNvSpPr/>
          <p:nvPr/>
        </p:nvSpPr>
        <p:spPr>
          <a:xfrm>
            <a:off x="381001" y="3809602"/>
            <a:ext cx="961102" cy="98755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200" dirty="0" smtClean="0">
                <a:solidFill>
                  <a:schemeClr val="tx2"/>
                </a:solidFill>
                <a:latin typeface="ＭＳ Ｐゴシック" panose="020B0600070205080204" pitchFamily="50" charset="-128"/>
                <a:ea typeface="ＭＳ Ｐゴシック" panose="020B0600070205080204" pitchFamily="50" charset="-128"/>
              </a:rPr>
              <a:t>維持管理</a:t>
            </a:r>
            <a:endParaRPr lang="en-IN" sz="1200" dirty="0">
              <a:solidFill>
                <a:schemeClr val="tx2"/>
              </a:solidFill>
              <a:latin typeface="ＭＳ Ｐゴシック" panose="020B0600070205080204" pitchFamily="50" charset="-128"/>
              <a:ea typeface="ＭＳ Ｐゴシック" panose="020B0600070205080204" pitchFamily="50" charset="-128"/>
            </a:endParaRPr>
          </a:p>
        </p:txBody>
      </p:sp>
      <p:sp>
        <p:nvSpPr>
          <p:cNvPr id="64" name="Rounded Rectangle 63"/>
          <p:cNvSpPr/>
          <p:nvPr/>
        </p:nvSpPr>
        <p:spPr>
          <a:xfrm>
            <a:off x="380648" y="4989696"/>
            <a:ext cx="961102" cy="152329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200" dirty="0" smtClean="0">
                <a:solidFill>
                  <a:schemeClr val="tx2"/>
                </a:solidFill>
                <a:latin typeface="ＭＳ Ｐゴシック" panose="020B0600070205080204" pitchFamily="50" charset="-128"/>
                <a:ea typeface="ＭＳ Ｐゴシック" panose="020B0600070205080204" pitchFamily="50" charset="-128"/>
              </a:rPr>
              <a:t>総合的ビジネスチャンス</a:t>
            </a:r>
            <a:endParaRPr lang="en-IN" sz="1200" dirty="0">
              <a:solidFill>
                <a:schemeClr val="tx2"/>
              </a:solidFill>
              <a:latin typeface="ＭＳ Ｐゴシック" panose="020B0600070205080204" pitchFamily="50" charset="-128"/>
              <a:ea typeface="ＭＳ Ｐゴシック" panose="020B0600070205080204" pitchFamily="50" charset="-128"/>
            </a:endParaRPr>
          </a:p>
        </p:txBody>
      </p:sp>
      <p:sp>
        <p:nvSpPr>
          <p:cNvPr id="65" name="Rectangle 64"/>
          <p:cNvSpPr/>
          <p:nvPr/>
        </p:nvSpPr>
        <p:spPr>
          <a:xfrm>
            <a:off x="6948264" y="2029393"/>
            <a:ext cx="2016224" cy="448056"/>
          </a:xfrm>
          <a:prstGeom prst="rect">
            <a:avLst/>
          </a:prstGeom>
          <a:no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tIns="0" rIns="0" rtlCol="0" anchor="t" anchorCtr="0"/>
          <a:lstStyle/>
          <a:p>
            <a:r>
              <a:rPr 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SREI infra、 IIFCL、 IL&amp;FS (5)</a:t>
            </a:r>
          </a:p>
        </p:txBody>
      </p:sp>
      <p:sp>
        <p:nvSpPr>
          <p:cNvPr id="66" name="Rectangle 65"/>
          <p:cNvSpPr/>
          <p:nvPr/>
        </p:nvSpPr>
        <p:spPr>
          <a:xfrm>
            <a:off x="6948264" y="2608824"/>
            <a:ext cx="2016224" cy="448056"/>
          </a:xfrm>
          <a:prstGeom prst="rect">
            <a:avLst/>
          </a:prstGeom>
          <a:no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tIns="0" rIns="0" rtlCol="0" anchor="t" anchorCtr="0"/>
          <a:lstStyle/>
          <a:p>
            <a:r>
              <a:rPr 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SREI infra、 IIFCL、 IL&amp;FS (6)</a:t>
            </a:r>
          </a:p>
          <a:p>
            <a:r>
              <a:rPr 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IDFC (10)</a:t>
            </a:r>
          </a:p>
        </p:txBody>
      </p:sp>
      <p:sp>
        <p:nvSpPr>
          <p:cNvPr id="67" name="Rectangle 66"/>
          <p:cNvSpPr/>
          <p:nvPr/>
        </p:nvSpPr>
        <p:spPr>
          <a:xfrm>
            <a:off x="6948264" y="5533599"/>
            <a:ext cx="2016224" cy="448056"/>
          </a:xfrm>
          <a:prstGeom prst="rect">
            <a:avLst/>
          </a:prstGeom>
          <a:no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tIns="0" rIns="0" rtlCol="0" anchor="t" anchorCtr="0"/>
          <a:lstStyle/>
          <a:p>
            <a:r>
              <a:rPr 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IIFCL、 IL&amp;FS (14)</a:t>
            </a:r>
          </a:p>
        </p:txBody>
      </p:sp>
    </p:spTree>
    <p:extLst>
      <p:ext uri="{BB962C8B-B14F-4D97-AF65-F5344CB8AC3E}">
        <p14:creationId xmlns:p14="http://schemas.microsoft.com/office/powerpoint/2010/main" val="2013545925"/>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493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381000" y="134471"/>
            <a:ext cx="8347364" cy="609600"/>
          </a:xfrm>
        </p:spPr>
        <p:txBody>
          <a:bodyPr/>
          <a:lstStyle/>
          <a:p>
            <a:r>
              <a:rPr lang="ja-JP" altLang="en-US" dirty="0" smtClean="0">
                <a:latin typeface="ＭＳ Ｐゴシック" panose="020B0600070205080204" pitchFamily="50" charset="-128"/>
                <a:ea typeface="ＭＳ Ｐゴシック" panose="020B0600070205080204" pitchFamily="50" charset="-128"/>
              </a:rPr>
              <a:t>家庭での下水処理設備の利用増加に向けて小規模金融機関が小規模融資を行っている</a:t>
            </a:r>
            <a:endParaRPr lang="en-US" dirty="0">
              <a:latin typeface="ＭＳ Ｐゴシック" panose="020B0600070205080204" pitchFamily="50" charset="-128"/>
              <a:ea typeface="ＭＳ Ｐゴシック" panose="020B0600070205080204" pitchFamily="50" charset="-128"/>
            </a:endParaRPr>
          </a:p>
        </p:txBody>
      </p:sp>
      <p:sp>
        <p:nvSpPr>
          <p:cNvPr id="3" name="Text Placeholder 2"/>
          <p:cNvSpPr>
            <a:spLocks noGrp="1"/>
          </p:cNvSpPr>
          <p:nvPr>
            <p:ph type="body" sz="quarter" idx="37"/>
          </p:nvPr>
        </p:nvSpPr>
        <p:spPr/>
        <p:txBody>
          <a:bodyPr/>
          <a:lstStyle/>
          <a:p>
            <a:r>
              <a:rPr lang="ja-JP" altLang="en-US" dirty="0" smtClean="0">
                <a:latin typeface="Arial" panose="020B0604020202020204" pitchFamily="34" charset="0"/>
                <a:ea typeface="ＭＳ Ｐゴシック" panose="020B0600070205080204" pitchFamily="50" charset="-128"/>
                <a:cs typeface="Arial" panose="020B0604020202020204" pitchFamily="34" charset="0"/>
              </a:rPr>
              <a:t>出典：</a:t>
            </a:r>
            <a:r>
              <a:rPr lang="en-US" dirty="0" smtClean="0">
                <a:latin typeface="Arial" panose="020B0604020202020204" pitchFamily="34" charset="0"/>
                <a:ea typeface="ＭＳ Ｐゴシック" panose="020B0600070205080204" pitchFamily="50" charset="-128"/>
                <a:cs typeface="Arial" panose="020B0604020202020204" pitchFamily="34" charset="0"/>
              </a:rPr>
              <a:t>Dalberg analysis</a:t>
            </a:r>
            <a:endParaRPr 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TextBox 43"/>
          <p:cNvSpPr txBox="1"/>
          <p:nvPr/>
        </p:nvSpPr>
        <p:spPr>
          <a:xfrm>
            <a:off x="6876256" y="1124744"/>
            <a:ext cx="1620000" cy="198446"/>
          </a:xfrm>
          <a:prstGeom prst="rect">
            <a:avLst/>
          </a:prstGeom>
          <a:noFill/>
        </p:spPr>
        <p:txBody>
          <a:bodyPr wrap="square" lIns="0" tIns="0" rIns="0" bIns="0" rtlCol="0">
            <a:noAutofit/>
          </a:bodyPr>
          <a:lstStyle/>
          <a:p>
            <a:pPr marL="231775" indent="-231775"/>
            <a:r>
              <a:rPr lang="ja-JP" altLang="en-US" sz="1100" b="1" dirty="0" smtClean="0">
                <a:solidFill>
                  <a:srgbClr val="000000"/>
                </a:solidFill>
              </a:rPr>
              <a:t>投資の概要</a:t>
            </a:r>
            <a:endParaRPr lang="en-US" sz="1100" b="1" dirty="0" smtClean="0">
              <a:solidFill>
                <a:srgbClr val="000000"/>
              </a:solidFill>
            </a:endParaRPr>
          </a:p>
        </p:txBody>
      </p:sp>
      <p:sp>
        <p:nvSpPr>
          <p:cNvPr id="50" name="TextBox 49"/>
          <p:cNvSpPr txBox="1"/>
          <p:nvPr/>
        </p:nvSpPr>
        <p:spPr>
          <a:xfrm>
            <a:off x="380648" y="1124744"/>
            <a:ext cx="6281795" cy="224028"/>
          </a:xfrm>
          <a:prstGeom prst="rect">
            <a:avLst/>
          </a:prstGeom>
          <a:noFill/>
        </p:spPr>
        <p:txBody>
          <a:bodyPr wrap="square" lIns="0" tIns="0" rIns="0" bIns="0" rtlCol="0">
            <a:noAutofit/>
          </a:bodyPr>
          <a:lstStyle/>
          <a:p>
            <a:pPr marL="231775" indent="-231775"/>
            <a:r>
              <a:rPr lang="ja-JP" altLang="en-US" sz="1100" b="1" dirty="0" smtClean="0">
                <a:solidFill>
                  <a:srgbClr val="000000"/>
                </a:solidFill>
                <a:latin typeface="ＭＳ Ｐゴシック" panose="020B0600070205080204" pitchFamily="50" charset="-128"/>
                <a:ea typeface="ＭＳ Ｐゴシック" panose="020B0600070205080204" pitchFamily="50" charset="-128"/>
              </a:rPr>
              <a:t>ビジネスチャンスの概要</a:t>
            </a:r>
            <a:endParaRPr lang="en-US" sz="1100" b="1" dirty="0" smtClean="0">
              <a:solidFill>
                <a:srgbClr val="000000"/>
              </a:solidFill>
              <a:latin typeface="ＭＳ Ｐゴシック" panose="020B0600070205080204" pitchFamily="50" charset="-128"/>
              <a:ea typeface="ＭＳ Ｐゴシック" panose="020B0600070205080204" pitchFamily="50" charset="-128"/>
            </a:endParaRPr>
          </a:p>
        </p:txBody>
      </p:sp>
      <p:cxnSp>
        <p:nvCxnSpPr>
          <p:cNvPr id="51" name="Straight Connector 50"/>
          <p:cNvCxnSpPr/>
          <p:nvPr/>
        </p:nvCxnSpPr>
        <p:spPr>
          <a:xfrm>
            <a:off x="380649" y="1353344"/>
            <a:ext cx="621792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5334000" y="899754"/>
            <a:ext cx="228600" cy="1524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000" dirty="0">
              <a:solidFill>
                <a:srgbClr val="FFFFFF"/>
              </a:solidFill>
            </a:endParaRPr>
          </a:p>
        </p:txBody>
      </p:sp>
      <p:sp>
        <p:nvSpPr>
          <p:cNvPr id="56" name="TextBox 55"/>
          <p:cNvSpPr txBox="1"/>
          <p:nvPr/>
        </p:nvSpPr>
        <p:spPr>
          <a:xfrm>
            <a:off x="5638800" y="883920"/>
            <a:ext cx="1686276" cy="182880"/>
          </a:xfrm>
          <a:prstGeom prst="rect">
            <a:avLst/>
          </a:prstGeom>
          <a:noFill/>
        </p:spPr>
        <p:txBody>
          <a:bodyPr wrap="square" lIns="0" tIns="0" rIns="0" bIns="0" rtlCol="0">
            <a:noAutofit/>
          </a:bodyPr>
          <a:lstStyle/>
          <a:p>
            <a:pPr marL="231775" indent="-231775"/>
            <a:r>
              <a:rPr lang="ja-JP" altLang="en-US" sz="1100" dirty="0" smtClean="0">
                <a:solidFill>
                  <a:srgbClr val="000000"/>
                </a:solidFill>
                <a:latin typeface="ＭＳ Ｐゴシック" panose="020B0600070205080204" pitchFamily="50" charset="-128"/>
                <a:ea typeface="ＭＳ Ｐゴシック" panose="020B0600070205080204" pitchFamily="50" charset="-128"/>
              </a:rPr>
              <a:t>現在の投資</a:t>
            </a:r>
            <a:endParaRPr lang="en-US" sz="1100" dirty="0" smtClean="0">
              <a:solidFill>
                <a:srgbClr val="000000"/>
              </a:solidFill>
              <a:latin typeface="ＭＳ Ｐゴシック" panose="020B0600070205080204" pitchFamily="50" charset="-128"/>
              <a:ea typeface="ＭＳ Ｐゴシック" panose="020B0600070205080204" pitchFamily="50" charset="-128"/>
            </a:endParaRPr>
          </a:p>
        </p:txBody>
      </p:sp>
      <p:sp>
        <p:nvSpPr>
          <p:cNvPr id="57" name="Rectangle 56"/>
          <p:cNvSpPr/>
          <p:nvPr/>
        </p:nvSpPr>
        <p:spPr>
          <a:xfrm>
            <a:off x="6984492" y="899754"/>
            <a:ext cx="228600" cy="1524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8" name="TextBox 57"/>
          <p:cNvSpPr txBox="1"/>
          <p:nvPr/>
        </p:nvSpPr>
        <p:spPr>
          <a:xfrm>
            <a:off x="7289292" y="883920"/>
            <a:ext cx="1686276" cy="182880"/>
          </a:xfrm>
          <a:prstGeom prst="rect">
            <a:avLst/>
          </a:prstGeom>
          <a:noFill/>
        </p:spPr>
        <p:txBody>
          <a:bodyPr wrap="square" lIns="0" tIns="0" rIns="0" bIns="0" rtlCol="0">
            <a:noAutofit/>
          </a:bodyPr>
          <a:lstStyle/>
          <a:p>
            <a:pPr marL="231775" indent="-231775"/>
            <a:r>
              <a:rPr lang="ja-JP" altLang="en-US" sz="1100" dirty="0" smtClean="0">
                <a:solidFill>
                  <a:srgbClr val="000000"/>
                </a:solidFill>
                <a:latin typeface="ＭＳ Ｐゴシック" panose="020B0600070205080204" pitchFamily="50" charset="-128"/>
                <a:ea typeface="ＭＳ Ｐゴシック" panose="020B0600070205080204" pitchFamily="50" charset="-128"/>
              </a:rPr>
              <a:t>見込まれる投資</a:t>
            </a:r>
            <a:endParaRPr lang="en-US" sz="1100" dirty="0" smtClean="0">
              <a:solidFill>
                <a:srgbClr val="000000"/>
              </a:solidFill>
              <a:latin typeface="ＭＳ Ｐゴシック" panose="020B0600070205080204" pitchFamily="50" charset="-128"/>
              <a:ea typeface="ＭＳ Ｐゴシック" panose="020B0600070205080204" pitchFamily="50" charset="-128"/>
            </a:endParaRPr>
          </a:p>
        </p:txBody>
      </p:sp>
      <p:cxnSp>
        <p:nvCxnSpPr>
          <p:cNvPr id="89" name="Straight Connector 88"/>
          <p:cNvCxnSpPr/>
          <p:nvPr/>
        </p:nvCxnSpPr>
        <p:spPr>
          <a:xfrm>
            <a:off x="6876256" y="1359940"/>
            <a:ext cx="159562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8" name="Rectangle 87"/>
          <p:cNvSpPr/>
          <p:nvPr/>
        </p:nvSpPr>
        <p:spPr>
          <a:xfrm>
            <a:off x="5256256" y="4989697"/>
            <a:ext cx="1620000"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latin typeface="ＭＳ Ｐゴシック" panose="020B0600070205080204" pitchFamily="50" charset="-128"/>
                <a:ea typeface="ＭＳ Ｐゴシック" panose="020B0600070205080204" pitchFamily="50" charset="-128"/>
              </a:rPr>
              <a:t>下水道処理場の設置（</a:t>
            </a:r>
            <a:r>
              <a:rPr lang="en-US" altLang="ja-JP" sz="1000" dirty="0" smtClean="0">
                <a:solidFill>
                  <a:schemeClr val="tx1"/>
                </a:solidFill>
                <a:latin typeface="ＭＳ Ｐゴシック" panose="020B0600070205080204" pitchFamily="50" charset="-128"/>
                <a:ea typeface="ＭＳ Ｐゴシック" panose="020B0600070205080204" pitchFamily="50" charset="-128"/>
              </a:rPr>
              <a:t>#11</a:t>
            </a:r>
            <a:r>
              <a:rPr lang="ja-JP" altLang="en-US" sz="1000" dirty="0" smtClean="0">
                <a:solidFill>
                  <a:schemeClr val="tx1"/>
                </a:solidFill>
                <a:latin typeface="ＭＳ Ｐゴシック" panose="020B0600070205080204" pitchFamily="50" charset="-128"/>
                <a:ea typeface="ＭＳ Ｐゴシック" panose="020B0600070205080204" pitchFamily="50" charset="-128"/>
              </a:rPr>
              <a:t>）と運営（</a:t>
            </a:r>
            <a:r>
              <a:rPr lang="en-US" altLang="ja-JP" sz="1000" dirty="0" smtClean="0">
                <a:solidFill>
                  <a:schemeClr val="tx1"/>
                </a:solidFill>
                <a:latin typeface="ＭＳ Ｐゴシック" panose="020B0600070205080204" pitchFamily="50" charset="-128"/>
                <a:ea typeface="ＭＳ Ｐゴシック" panose="020B0600070205080204" pitchFamily="50" charset="-128"/>
              </a:rPr>
              <a:t>#12</a:t>
            </a:r>
            <a:r>
              <a:rPr lang="ja-JP" altLang="en-US" sz="1000" dirty="0" smtClean="0">
                <a:solidFill>
                  <a:schemeClr val="tx1"/>
                </a:solidFill>
                <a:latin typeface="ＭＳ Ｐゴシック" panose="020B0600070205080204" pitchFamily="50" charset="-128"/>
                <a:ea typeface="ＭＳ Ｐゴシック" panose="020B0600070205080204" pitchFamily="50" charset="-128"/>
              </a:rPr>
              <a:t>）</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90" name="Rectangle 89"/>
          <p:cNvSpPr/>
          <p:nvPr/>
        </p:nvSpPr>
        <p:spPr>
          <a:xfrm>
            <a:off x="1534024" y="5533599"/>
            <a:ext cx="5342231"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latin typeface="ＭＳ Ｐゴシック" panose="020B0600070205080204" pitchFamily="50" charset="-128"/>
                <a:ea typeface="ＭＳ Ｐゴシック" panose="020B0600070205080204" pitchFamily="50" charset="-128"/>
              </a:rPr>
              <a:t>浄化槽の改修（</a:t>
            </a:r>
            <a:r>
              <a:rPr lang="en-US" altLang="ja-JP" sz="1000" dirty="0" smtClean="0">
                <a:solidFill>
                  <a:schemeClr val="tx1"/>
                </a:solidFill>
                <a:latin typeface="ＭＳ Ｐゴシック" panose="020B0600070205080204" pitchFamily="50" charset="-128"/>
                <a:ea typeface="ＭＳ Ｐゴシック" panose="020B0600070205080204" pitchFamily="50" charset="-128"/>
              </a:rPr>
              <a:t>#3</a:t>
            </a:r>
            <a:r>
              <a:rPr lang="ja-JP" altLang="en-US" sz="1000" dirty="0" smtClean="0">
                <a:solidFill>
                  <a:schemeClr val="tx1"/>
                </a:solidFill>
                <a:latin typeface="ＭＳ Ｐゴシック" panose="020B0600070205080204" pitchFamily="50" charset="-128"/>
                <a:ea typeface="ＭＳ Ｐゴシック" panose="020B0600070205080204" pitchFamily="50" charset="-128"/>
              </a:rPr>
              <a:t>）、汚泥管理（</a:t>
            </a:r>
            <a:r>
              <a:rPr lang="en-US" altLang="ja-JP" sz="1000" dirty="0" smtClean="0">
                <a:solidFill>
                  <a:schemeClr val="tx1"/>
                </a:solidFill>
                <a:latin typeface="ＭＳ Ｐゴシック" panose="020B0600070205080204" pitchFamily="50" charset="-128"/>
                <a:ea typeface="ＭＳ Ｐゴシック" panose="020B0600070205080204" pitchFamily="50" charset="-128"/>
              </a:rPr>
              <a:t>#7</a:t>
            </a:r>
            <a:r>
              <a:rPr lang="ja-JP" altLang="en-US" sz="1000" dirty="0" smtClean="0">
                <a:solidFill>
                  <a:schemeClr val="tx1"/>
                </a:solidFill>
                <a:latin typeface="ＭＳ Ｐゴシック" panose="020B0600070205080204" pitchFamily="50" charset="-128"/>
                <a:ea typeface="ＭＳ Ｐゴシック" panose="020B0600070205080204" pitchFamily="50" charset="-128"/>
              </a:rPr>
              <a:t>）、汚水処理場の設置（</a:t>
            </a:r>
            <a:r>
              <a:rPr lang="en-US" altLang="ja-JP" sz="1000" dirty="0" smtClean="0">
                <a:solidFill>
                  <a:schemeClr val="tx1"/>
                </a:solidFill>
                <a:latin typeface="ＭＳ Ｐゴシック" panose="020B0600070205080204" pitchFamily="50" charset="-128"/>
                <a:ea typeface="ＭＳ Ｐゴシック" panose="020B0600070205080204" pitchFamily="50" charset="-128"/>
              </a:rPr>
              <a:t>#9</a:t>
            </a:r>
            <a:r>
              <a:rPr lang="ja-JP" altLang="en-US" sz="1000" dirty="0" smtClean="0">
                <a:solidFill>
                  <a:schemeClr val="tx1"/>
                </a:solidFill>
                <a:latin typeface="ＭＳ Ｐゴシック" panose="020B0600070205080204" pitchFamily="50" charset="-128"/>
                <a:ea typeface="ＭＳ Ｐゴシック" panose="020B0600070205080204" pitchFamily="50" charset="-128"/>
              </a:rPr>
              <a:t>）をはじめとする、総合的な汚泥管理計画</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91" name="Rectangle 90"/>
          <p:cNvSpPr/>
          <p:nvPr/>
        </p:nvSpPr>
        <p:spPr>
          <a:xfrm>
            <a:off x="1534024" y="4989697"/>
            <a:ext cx="1620000" cy="433496"/>
          </a:xfrm>
          <a:prstGeom prst="rect">
            <a:avLst/>
          </a:prstGeom>
          <a:solidFill>
            <a:schemeClr val="tx2">
              <a:lumMod val="20000"/>
              <a:lumOff val="80000"/>
            </a:schemeClr>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latin typeface="ＭＳ Ｐゴシック" panose="020B0600070205080204" pitchFamily="50" charset="-128"/>
                <a:ea typeface="ＭＳ Ｐゴシック" panose="020B0600070205080204" pitchFamily="50" charset="-128"/>
              </a:rPr>
              <a:t>コミュニティ・トイレの設置（</a:t>
            </a:r>
            <a:r>
              <a:rPr lang="en-US" altLang="ja-JP" sz="1000" dirty="0" smtClean="0">
                <a:solidFill>
                  <a:schemeClr val="tx1"/>
                </a:solidFill>
                <a:latin typeface="ＭＳ Ｐゴシック" panose="020B0600070205080204" pitchFamily="50" charset="-128"/>
                <a:ea typeface="ＭＳ Ｐゴシック" panose="020B0600070205080204" pitchFamily="50" charset="-128"/>
              </a:rPr>
              <a:t>#2</a:t>
            </a:r>
            <a:r>
              <a:rPr lang="ja-JP" altLang="en-US" sz="1000" dirty="0" smtClean="0">
                <a:solidFill>
                  <a:schemeClr val="tx1"/>
                </a:solidFill>
                <a:latin typeface="ＭＳ Ｐゴシック" panose="020B0600070205080204" pitchFamily="50" charset="-128"/>
                <a:ea typeface="ＭＳ Ｐゴシック" panose="020B0600070205080204" pitchFamily="50" charset="-128"/>
              </a:rPr>
              <a:t>）と維持管理（</a:t>
            </a:r>
            <a:r>
              <a:rPr lang="en-US" altLang="ja-JP" sz="1000" dirty="0" smtClean="0">
                <a:solidFill>
                  <a:schemeClr val="tx1"/>
                </a:solidFill>
                <a:latin typeface="ＭＳ Ｐゴシック" panose="020B0600070205080204" pitchFamily="50" charset="-128"/>
                <a:ea typeface="ＭＳ Ｐゴシック" panose="020B0600070205080204" pitchFamily="50" charset="-128"/>
              </a:rPr>
              <a:t>#4</a:t>
            </a:r>
            <a:r>
              <a:rPr lang="ja-JP" altLang="en-US" sz="1000" dirty="0" smtClean="0">
                <a:solidFill>
                  <a:schemeClr val="tx1"/>
                </a:solidFill>
                <a:latin typeface="ＭＳ Ｐゴシック" panose="020B0600070205080204" pitchFamily="50" charset="-128"/>
                <a:ea typeface="ＭＳ Ｐゴシック" panose="020B0600070205080204" pitchFamily="50" charset="-128"/>
              </a:rPr>
              <a:t>）</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cxnSp>
        <p:nvCxnSpPr>
          <p:cNvPr id="92" name="Straight Connector 91"/>
          <p:cNvCxnSpPr/>
          <p:nvPr/>
        </p:nvCxnSpPr>
        <p:spPr>
          <a:xfrm>
            <a:off x="441144" y="3703083"/>
            <a:ext cx="6255307" cy="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93" name="Rectangle 92"/>
          <p:cNvSpPr/>
          <p:nvPr/>
        </p:nvSpPr>
        <p:spPr>
          <a:xfrm>
            <a:off x="1534024" y="2608824"/>
            <a:ext cx="1620000" cy="433496"/>
          </a:xfrm>
          <a:prstGeom prst="rect">
            <a:avLst/>
          </a:prstGeom>
          <a:solidFill>
            <a:schemeClr val="tx2">
              <a:lumMod val="20000"/>
              <a:lumOff val="80000"/>
            </a:schemeClr>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900" dirty="0" smtClean="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rPr>
              <a:t>浄化槽や下水道とつながった新しいコミュニティ・トイレ／公衆トイレの設置</a:t>
            </a:r>
            <a:endParaRPr lang="en-US" sz="900" dirty="0">
              <a:solidFill>
                <a:schemeClr val="tx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94" name="Rectangle 93"/>
          <p:cNvSpPr/>
          <p:nvPr/>
        </p:nvSpPr>
        <p:spPr>
          <a:xfrm>
            <a:off x="5256256" y="2608824"/>
            <a:ext cx="1620000"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latin typeface="ＭＳ Ｐゴシック" panose="020B0600070205080204" pitchFamily="50" charset="-128"/>
                <a:ea typeface="ＭＳ Ｐゴシック" panose="020B0600070205080204" pitchFamily="50" charset="-128"/>
              </a:rPr>
              <a:t>排水処理場の設置</a:t>
            </a:r>
            <a:endParaRPr lang="en-US" sz="1000" baseline="30000" dirty="0">
              <a:solidFill>
                <a:schemeClr val="tx1"/>
              </a:solidFill>
              <a:latin typeface="ＭＳ Ｐゴシック" panose="020B0600070205080204" pitchFamily="50" charset="-128"/>
              <a:ea typeface="ＭＳ Ｐゴシック" panose="020B0600070205080204" pitchFamily="50" charset="-128"/>
            </a:endParaRPr>
          </a:p>
        </p:txBody>
      </p:sp>
      <p:sp>
        <p:nvSpPr>
          <p:cNvPr id="95" name="Rectangle 94"/>
          <p:cNvSpPr/>
          <p:nvPr/>
        </p:nvSpPr>
        <p:spPr>
          <a:xfrm>
            <a:off x="3395141" y="2608824"/>
            <a:ext cx="1620000"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latin typeface="ＭＳ Ｐゴシック" panose="020B0600070205080204" pitchFamily="50" charset="-128"/>
                <a:ea typeface="ＭＳ Ｐゴシック" panose="020B0600070205080204" pitchFamily="50" charset="-128"/>
              </a:rPr>
              <a:t>排水穴と前沈殿下水道の設置</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96" name="Rectangle 95"/>
          <p:cNvSpPr/>
          <p:nvPr/>
        </p:nvSpPr>
        <p:spPr>
          <a:xfrm>
            <a:off x="1534024" y="2031336"/>
            <a:ext cx="1620000" cy="433496"/>
          </a:xfrm>
          <a:prstGeom prst="rect">
            <a:avLst/>
          </a:prstGeom>
          <a:solidFill>
            <a:schemeClr val="accent3">
              <a:lumMod val="40000"/>
              <a:lumOff val="60000"/>
            </a:schemeClr>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900" dirty="0" smtClean="0">
                <a:solidFill>
                  <a:schemeClr val="tx1"/>
                </a:solidFill>
                <a:latin typeface="ＭＳ Ｐゴシック" panose="020B0600070205080204" pitchFamily="50" charset="-128"/>
                <a:ea typeface="ＭＳ Ｐゴシック" panose="020B0600070205080204" pitchFamily="50" charset="-128"/>
              </a:rPr>
              <a:t>浄化槽や下水道とつながった新しい共同トイレ／個別トイレの設置</a:t>
            </a:r>
            <a:endParaRPr lang="en-US" sz="900" dirty="0">
              <a:solidFill>
                <a:schemeClr val="tx1"/>
              </a:solidFill>
              <a:latin typeface="ＭＳ Ｐゴシック" panose="020B0600070205080204" pitchFamily="50" charset="-128"/>
              <a:ea typeface="ＭＳ Ｐゴシック" panose="020B0600070205080204" pitchFamily="50" charset="-128"/>
            </a:endParaRPr>
          </a:p>
        </p:txBody>
      </p:sp>
      <p:sp>
        <p:nvSpPr>
          <p:cNvPr id="97" name="Rectangle 96"/>
          <p:cNvSpPr/>
          <p:nvPr/>
        </p:nvSpPr>
        <p:spPr>
          <a:xfrm>
            <a:off x="3395141" y="2031336"/>
            <a:ext cx="1620000"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latin typeface="ＭＳ Ｐゴシック" panose="020B0600070205080204" pitchFamily="50" charset="-128"/>
                <a:ea typeface="ＭＳ Ｐゴシック" panose="020B0600070205080204" pitchFamily="50" charset="-128"/>
              </a:rPr>
              <a:t>下水道ネットワークの設置</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98" name="Rectangle 97"/>
          <p:cNvSpPr/>
          <p:nvPr/>
        </p:nvSpPr>
        <p:spPr>
          <a:xfrm>
            <a:off x="5256256" y="2031336"/>
            <a:ext cx="1620000"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latin typeface="ＭＳ Ｐゴシック" panose="020B0600070205080204" pitchFamily="50" charset="-128"/>
                <a:ea typeface="ＭＳ Ｐゴシック" panose="020B0600070205080204" pitchFamily="50" charset="-128"/>
              </a:rPr>
              <a:t>汚水処理場の設置</a:t>
            </a:r>
            <a:endParaRPr lang="en-US" sz="1000" baseline="30000" dirty="0">
              <a:solidFill>
                <a:schemeClr val="tx1"/>
              </a:solidFill>
              <a:latin typeface="ＭＳ Ｐゴシック" panose="020B0600070205080204" pitchFamily="50" charset="-128"/>
              <a:ea typeface="ＭＳ Ｐゴシック" panose="020B0600070205080204" pitchFamily="50" charset="-128"/>
            </a:endParaRPr>
          </a:p>
        </p:txBody>
      </p:sp>
      <p:sp>
        <p:nvSpPr>
          <p:cNvPr id="100" name="Rectangle 99"/>
          <p:cNvSpPr/>
          <p:nvPr/>
        </p:nvSpPr>
        <p:spPr>
          <a:xfrm>
            <a:off x="3395141" y="4363656"/>
            <a:ext cx="1620000" cy="433496"/>
          </a:xfrm>
          <a:prstGeom prst="rect">
            <a:avLst/>
          </a:prstGeom>
          <a:solidFill>
            <a:schemeClr val="bg1"/>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latin typeface="ＭＳ Ｐゴシック" panose="020B0600070205080204" pitchFamily="50" charset="-128"/>
                <a:ea typeface="ＭＳ Ｐゴシック" panose="020B0600070205080204" pitchFamily="50" charset="-128"/>
              </a:rPr>
              <a:t>下水道ネットワークの管理</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cxnSp>
        <p:nvCxnSpPr>
          <p:cNvPr id="102" name="Straight Connector 101"/>
          <p:cNvCxnSpPr/>
          <p:nvPr/>
        </p:nvCxnSpPr>
        <p:spPr>
          <a:xfrm>
            <a:off x="450293" y="4848437"/>
            <a:ext cx="6255307" cy="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03" name="Oval 102"/>
          <p:cNvSpPr/>
          <p:nvPr/>
        </p:nvSpPr>
        <p:spPr>
          <a:xfrm>
            <a:off x="1371717" y="1956322"/>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rgbClr val="FFFFFF"/>
                </a:solidFill>
              </a:rPr>
              <a:t>1</a:t>
            </a:r>
          </a:p>
        </p:txBody>
      </p:sp>
      <p:sp>
        <p:nvSpPr>
          <p:cNvPr id="104" name="Oval 103"/>
          <p:cNvSpPr/>
          <p:nvPr/>
        </p:nvSpPr>
        <p:spPr>
          <a:xfrm>
            <a:off x="1371717" y="2546064"/>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2</a:t>
            </a:r>
            <a:endParaRPr lang="en-US" sz="1000" dirty="0">
              <a:solidFill>
                <a:srgbClr val="FFFFFF"/>
              </a:solidFill>
            </a:endParaRPr>
          </a:p>
        </p:txBody>
      </p:sp>
      <p:sp>
        <p:nvSpPr>
          <p:cNvPr id="105" name="Rectangle 104"/>
          <p:cNvSpPr/>
          <p:nvPr/>
        </p:nvSpPr>
        <p:spPr>
          <a:xfrm>
            <a:off x="1534024" y="3809602"/>
            <a:ext cx="1620000" cy="433495"/>
          </a:xfrm>
          <a:prstGeom prst="rect">
            <a:avLst/>
          </a:prstGeom>
          <a:solidFill>
            <a:schemeClr val="accent3">
              <a:lumMod val="40000"/>
              <a:lumOff val="60000"/>
            </a:schemeClr>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latin typeface="ＭＳ Ｐゴシック" panose="020B0600070205080204" pitchFamily="50" charset="-128"/>
                <a:ea typeface="ＭＳ Ｐゴシック" panose="020B0600070205080204" pitchFamily="50" charset="-128"/>
              </a:rPr>
              <a:t>コミュニティ・トイレと公衆トイレの維持管理</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106" name="Oval 105"/>
          <p:cNvSpPr/>
          <p:nvPr/>
        </p:nvSpPr>
        <p:spPr>
          <a:xfrm>
            <a:off x="1371717" y="3713676"/>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rgbClr val="FFFFFF"/>
                </a:solidFill>
              </a:rPr>
              <a:t>4</a:t>
            </a:r>
          </a:p>
        </p:txBody>
      </p:sp>
      <p:sp>
        <p:nvSpPr>
          <p:cNvPr id="107" name="Oval 106"/>
          <p:cNvSpPr/>
          <p:nvPr/>
        </p:nvSpPr>
        <p:spPr>
          <a:xfrm>
            <a:off x="3246020" y="2546064"/>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rgbClr val="FFFFFF"/>
                </a:solidFill>
              </a:rPr>
              <a:t>6</a:t>
            </a:r>
          </a:p>
        </p:txBody>
      </p:sp>
      <p:sp>
        <p:nvSpPr>
          <p:cNvPr id="108" name="Rectangle 107"/>
          <p:cNvSpPr/>
          <p:nvPr/>
        </p:nvSpPr>
        <p:spPr>
          <a:xfrm>
            <a:off x="3395141" y="3809602"/>
            <a:ext cx="1620000"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latin typeface="ＭＳ Ｐゴシック" panose="020B0600070205080204" pitchFamily="50" charset="-128"/>
                <a:ea typeface="ＭＳ Ｐゴシック" panose="020B0600070205080204" pitchFamily="50" charset="-128"/>
              </a:rPr>
              <a:t>汚泥の管理</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109" name="Oval 108"/>
          <p:cNvSpPr/>
          <p:nvPr/>
        </p:nvSpPr>
        <p:spPr>
          <a:xfrm>
            <a:off x="3246020" y="3713676"/>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7</a:t>
            </a:r>
            <a:endParaRPr lang="en-US" sz="1000" dirty="0">
              <a:solidFill>
                <a:srgbClr val="FFFFFF"/>
              </a:solidFill>
            </a:endParaRPr>
          </a:p>
        </p:txBody>
      </p:sp>
      <p:sp>
        <p:nvSpPr>
          <p:cNvPr id="110" name="Oval 109"/>
          <p:cNvSpPr/>
          <p:nvPr/>
        </p:nvSpPr>
        <p:spPr>
          <a:xfrm>
            <a:off x="3246020" y="4289746"/>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rgbClr val="FFFFFF"/>
                </a:solidFill>
              </a:rPr>
              <a:t>8</a:t>
            </a:r>
          </a:p>
        </p:txBody>
      </p:sp>
      <p:sp>
        <p:nvSpPr>
          <p:cNvPr id="111" name="Oval 110"/>
          <p:cNvSpPr/>
          <p:nvPr/>
        </p:nvSpPr>
        <p:spPr>
          <a:xfrm>
            <a:off x="3246020" y="1958685"/>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rgbClr val="FFFFFF"/>
                </a:solidFill>
              </a:rPr>
              <a:t>5</a:t>
            </a:r>
          </a:p>
        </p:txBody>
      </p:sp>
      <p:sp>
        <p:nvSpPr>
          <p:cNvPr id="112" name="Oval 111"/>
          <p:cNvSpPr/>
          <p:nvPr/>
        </p:nvSpPr>
        <p:spPr>
          <a:xfrm>
            <a:off x="5121432" y="1958685"/>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rgbClr val="FFFFFF"/>
                </a:solidFill>
              </a:rPr>
              <a:t>9</a:t>
            </a:r>
          </a:p>
        </p:txBody>
      </p:sp>
      <p:sp>
        <p:nvSpPr>
          <p:cNvPr id="114" name="Oval 113"/>
          <p:cNvSpPr/>
          <p:nvPr/>
        </p:nvSpPr>
        <p:spPr>
          <a:xfrm>
            <a:off x="5121432" y="2546064"/>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0</a:t>
            </a:r>
            <a:endParaRPr lang="en-US" sz="1000" dirty="0">
              <a:solidFill>
                <a:srgbClr val="FFFFFF"/>
              </a:solidFill>
            </a:endParaRPr>
          </a:p>
        </p:txBody>
      </p:sp>
      <p:sp>
        <p:nvSpPr>
          <p:cNvPr id="115" name="Rectangle 114"/>
          <p:cNvSpPr/>
          <p:nvPr/>
        </p:nvSpPr>
        <p:spPr>
          <a:xfrm>
            <a:off x="5256256" y="3809602"/>
            <a:ext cx="1620000" cy="433496"/>
          </a:xfrm>
          <a:prstGeom prst="rect">
            <a:avLst/>
          </a:prstGeom>
          <a:solidFill>
            <a:schemeClr val="bg1"/>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latin typeface="ＭＳ Ｐゴシック" panose="020B0600070205080204" pitchFamily="50" charset="-128"/>
                <a:ea typeface="ＭＳ Ｐゴシック" panose="020B0600070205080204" pitchFamily="50" charset="-128"/>
              </a:rPr>
              <a:t>下水処理場の維持管理</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116" name="Oval 115"/>
          <p:cNvSpPr/>
          <p:nvPr/>
        </p:nvSpPr>
        <p:spPr>
          <a:xfrm>
            <a:off x="5121432" y="3713676"/>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2</a:t>
            </a:r>
            <a:endParaRPr lang="en-US" sz="1000" dirty="0">
              <a:solidFill>
                <a:srgbClr val="FFFFFF"/>
              </a:solidFill>
            </a:endParaRPr>
          </a:p>
        </p:txBody>
      </p:sp>
      <p:sp>
        <p:nvSpPr>
          <p:cNvPr id="117" name="Oval 116"/>
          <p:cNvSpPr/>
          <p:nvPr/>
        </p:nvSpPr>
        <p:spPr>
          <a:xfrm>
            <a:off x="1371717" y="5435728"/>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4</a:t>
            </a:r>
            <a:endParaRPr lang="en-US" sz="1000" dirty="0">
              <a:solidFill>
                <a:srgbClr val="FFFFFF"/>
              </a:solidFill>
            </a:endParaRPr>
          </a:p>
        </p:txBody>
      </p:sp>
      <p:sp>
        <p:nvSpPr>
          <p:cNvPr id="118" name="Oval 117"/>
          <p:cNvSpPr/>
          <p:nvPr/>
        </p:nvSpPr>
        <p:spPr>
          <a:xfrm>
            <a:off x="5121432" y="4919068"/>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6</a:t>
            </a:r>
            <a:endParaRPr lang="en-US" sz="1000" dirty="0">
              <a:solidFill>
                <a:srgbClr val="FFFFFF"/>
              </a:solidFill>
            </a:endParaRPr>
          </a:p>
        </p:txBody>
      </p:sp>
      <p:sp>
        <p:nvSpPr>
          <p:cNvPr id="119" name="Oval 118"/>
          <p:cNvSpPr/>
          <p:nvPr/>
        </p:nvSpPr>
        <p:spPr>
          <a:xfrm>
            <a:off x="1371717" y="4919068"/>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3</a:t>
            </a:r>
            <a:endParaRPr lang="en-US" sz="1000" dirty="0">
              <a:solidFill>
                <a:srgbClr val="FFFFFF"/>
              </a:solidFill>
            </a:endParaRPr>
          </a:p>
        </p:txBody>
      </p:sp>
      <p:sp>
        <p:nvSpPr>
          <p:cNvPr id="121" name="Chevron 120"/>
          <p:cNvSpPr/>
          <p:nvPr/>
        </p:nvSpPr>
        <p:spPr>
          <a:xfrm>
            <a:off x="1534025" y="1419326"/>
            <a:ext cx="1692000" cy="470866"/>
          </a:xfrm>
          <a:prstGeom prst="chevron">
            <a:avLst>
              <a:gd name="adj" fmla="val 20248"/>
            </a:avLst>
          </a:prstGeom>
          <a:solidFill>
            <a:srgbClr val="67103F"/>
          </a:solidFill>
          <a:ln w="9525">
            <a:noFill/>
          </a:ln>
        </p:spPr>
        <p:txBody>
          <a:bodyPr wrap="square" lIns="44450" tIns="131763" rIns="0" bIns="133350" anchor="ctr" anchorCtr="0">
            <a:noAutofit/>
          </a:bodyPr>
          <a:lstStyle/>
          <a:p>
            <a:pPr algn="ctr">
              <a:spcBef>
                <a:spcPct val="0"/>
              </a:spcBef>
              <a:spcAft>
                <a:spcPct val="0"/>
              </a:spcAft>
              <a:buFont typeface="Arial" pitchFamily="34" charset="0"/>
              <a:buNone/>
            </a:pPr>
            <a:r>
              <a:rPr lang="ja-JP" altLang="en-US" sz="1000" b="1" dirty="0" smtClean="0">
                <a:solidFill>
                  <a:srgbClr val="FFFFFF"/>
                </a:solidFill>
                <a:latin typeface="ＭＳ Ｐゴシック" panose="020B0600070205080204" pitchFamily="50" charset="-128"/>
                <a:ea typeface="ＭＳ Ｐゴシック" panose="020B0600070205080204" pitchFamily="50" charset="-128"/>
              </a:rPr>
              <a:t>アクセスと収集</a:t>
            </a:r>
            <a:endParaRPr lang="en-US" sz="1000" b="1" dirty="0">
              <a:solidFill>
                <a:srgbClr val="FFFFFF"/>
              </a:solidFill>
              <a:latin typeface="ＭＳ Ｐゴシック" panose="020B0600070205080204" pitchFamily="50" charset="-128"/>
              <a:ea typeface="ＭＳ Ｐゴシック" panose="020B0600070205080204" pitchFamily="50" charset="-128"/>
            </a:endParaRPr>
          </a:p>
        </p:txBody>
      </p:sp>
      <p:sp>
        <p:nvSpPr>
          <p:cNvPr id="122" name="Chevron 121"/>
          <p:cNvSpPr/>
          <p:nvPr/>
        </p:nvSpPr>
        <p:spPr>
          <a:xfrm>
            <a:off x="3395141" y="1419326"/>
            <a:ext cx="1692000" cy="470866"/>
          </a:xfrm>
          <a:prstGeom prst="chevron">
            <a:avLst>
              <a:gd name="adj" fmla="val 20248"/>
            </a:avLst>
          </a:prstGeom>
          <a:solidFill>
            <a:srgbClr val="67103F"/>
          </a:solidFill>
          <a:ln w="9525">
            <a:noFill/>
          </a:ln>
        </p:spPr>
        <p:txBody>
          <a:bodyPr wrap="square" lIns="44450" tIns="131763" rIns="0" bIns="133350" anchor="ctr" anchorCtr="0">
            <a:noAutofit/>
          </a:bodyPr>
          <a:lstStyle/>
          <a:p>
            <a:pPr algn="ctr">
              <a:spcBef>
                <a:spcPct val="0"/>
              </a:spcBef>
              <a:spcAft>
                <a:spcPct val="0"/>
              </a:spcAft>
              <a:buFont typeface="Arial" pitchFamily="34" charset="0"/>
              <a:buNone/>
            </a:pPr>
            <a:r>
              <a:rPr lang="ja-JP" altLang="en-US" sz="1000" b="1" dirty="0" smtClean="0">
                <a:solidFill>
                  <a:srgbClr val="FFFFFF"/>
                </a:solidFill>
                <a:latin typeface="ＭＳ Ｐゴシック" panose="020B0600070205080204" pitchFamily="50" charset="-128"/>
                <a:ea typeface="ＭＳ Ｐゴシック" panose="020B0600070205080204" pitchFamily="50" charset="-128"/>
              </a:rPr>
              <a:t>運搬</a:t>
            </a:r>
            <a:endParaRPr lang="en-US" sz="1000" b="1" dirty="0">
              <a:solidFill>
                <a:srgbClr val="FFFFFF"/>
              </a:solidFill>
              <a:latin typeface="ＭＳ Ｐゴシック" panose="020B0600070205080204" pitchFamily="50" charset="-128"/>
              <a:ea typeface="ＭＳ Ｐゴシック" panose="020B0600070205080204" pitchFamily="50" charset="-128"/>
            </a:endParaRPr>
          </a:p>
        </p:txBody>
      </p:sp>
      <p:sp>
        <p:nvSpPr>
          <p:cNvPr id="123" name="Chevron 122"/>
          <p:cNvSpPr/>
          <p:nvPr/>
        </p:nvSpPr>
        <p:spPr>
          <a:xfrm>
            <a:off x="5256256" y="1419326"/>
            <a:ext cx="1619999" cy="470866"/>
          </a:xfrm>
          <a:prstGeom prst="chevron">
            <a:avLst>
              <a:gd name="adj" fmla="val 20248"/>
            </a:avLst>
          </a:prstGeom>
          <a:solidFill>
            <a:srgbClr val="67103F"/>
          </a:solidFill>
          <a:ln w="9525">
            <a:noFill/>
          </a:ln>
        </p:spPr>
        <p:txBody>
          <a:bodyPr wrap="square" lIns="44450" tIns="131763" rIns="0" bIns="133350" anchor="ctr" anchorCtr="0">
            <a:noAutofit/>
          </a:bodyPr>
          <a:lstStyle/>
          <a:p>
            <a:pPr algn="ctr">
              <a:spcBef>
                <a:spcPct val="0"/>
              </a:spcBef>
              <a:spcAft>
                <a:spcPct val="0"/>
              </a:spcAft>
              <a:buFont typeface="Arial" pitchFamily="34" charset="0"/>
              <a:buNone/>
            </a:pPr>
            <a:r>
              <a:rPr lang="ja-JP" altLang="en-US" sz="1000" b="1" dirty="0" smtClean="0">
                <a:solidFill>
                  <a:srgbClr val="FFFFFF"/>
                </a:solidFill>
                <a:latin typeface="ＭＳ Ｐゴシック" panose="020B0600070205080204" pitchFamily="50" charset="-128"/>
                <a:ea typeface="ＭＳ Ｐゴシック" panose="020B0600070205080204" pitchFamily="50" charset="-128"/>
              </a:rPr>
              <a:t>処理と再利用</a:t>
            </a:r>
            <a:endParaRPr lang="en-US" sz="1000" b="1" dirty="0">
              <a:solidFill>
                <a:srgbClr val="FFFFFF"/>
              </a:solidFill>
              <a:latin typeface="ＭＳ Ｐゴシック" panose="020B0600070205080204" pitchFamily="50" charset="-128"/>
              <a:ea typeface="ＭＳ Ｐゴシック" panose="020B0600070205080204" pitchFamily="50" charset="-128"/>
            </a:endParaRPr>
          </a:p>
        </p:txBody>
      </p:sp>
      <p:sp>
        <p:nvSpPr>
          <p:cNvPr id="53" name="Rectangle 52"/>
          <p:cNvSpPr/>
          <p:nvPr/>
        </p:nvSpPr>
        <p:spPr>
          <a:xfrm>
            <a:off x="1534024" y="3155088"/>
            <a:ext cx="1620000" cy="433496"/>
          </a:xfrm>
          <a:prstGeom prst="rect">
            <a:avLst/>
          </a:prstGeom>
          <a:solidFill>
            <a:schemeClr val="tx2">
              <a:lumMod val="20000"/>
              <a:lumOff val="80000"/>
            </a:schemeClr>
          </a:solid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latin typeface="ＭＳ Ｐゴシック" panose="020B0600070205080204" pitchFamily="50" charset="-128"/>
                <a:ea typeface="ＭＳ Ｐゴシック" panose="020B0600070205080204" pitchFamily="50" charset="-128"/>
              </a:rPr>
              <a:t>浄化槽の改修</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54" name="Oval 53"/>
          <p:cNvSpPr/>
          <p:nvPr/>
        </p:nvSpPr>
        <p:spPr>
          <a:xfrm>
            <a:off x="1371717" y="3079070"/>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3</a:t>
            </a:r>
            <a:endParaRPr lang="en-US" sz="1000" dirty="0">
              <a:solidFill>
                <a:srgbClr val="FFFFFF"/>
              </a:solidFill>
            </a:endParaRPr>
          </a:p>
        </p:txBody>
      </p:sp>
      <p:sp>
        <p:nvSpPr>
          <p:cNvPr id="55" name="Rounded Rectangle 54"/>
          <p:cNvSpPr/>
          <p:nvPr/>
        </p:nvSpPr>
        <p:spPr>
          <a:xfrm>
            <a:off x="381001" y="2031337"/>
            <a:ext cx="961102" cy="155724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200" dirty="0" smtClean="0">
                <a:solidFill>
                  <a:schemeClr val="tx2"/>
                </a:solidFill>
                <a:latin typeface="ＭＳ Ｐゴシック" panose="020B0600070205080204" pitchFamily="50" charset="-128"/>
                <a:ea typeface="ＭＳ Ｐゴシック" panose="020B0600070205080204" pitchFamily="50" charset="-128"/>
              </a:rPr>
              <a:t>設置</a:t>
            </a:r>
            <a:endParaRPr lang="en-IN" sz="1200" dirty="0">
              <a:solidFill>
                <a:schemeClr val="tx2"/>
              </a:solidFill>
              <a:latin typeface="ＭＳ Ｐゴシック" panose="020B0600070205080204" pitchFamily="50" charset="-128"/>
              <a:ea typeface="ＭＳ Ｐゴシック" panose="020B0600070205080204" pitchFamily="50" charset="-128"/>
            </a:endParaRPr>
          </a:p>
        </p:txBody>
      </p:sp>
      <p:sp>
        <p:nvSpPr>
          <p:cNvPr id="59" name="Rectangle 58"/>
          <p:cNvSpPr/>
          <p:nvPr/>
        </p:nvSpPr>
        <p:spPr>
          <a:xfrm>
            <a:off x="5256256" y="3155088"/>
            <a:ext cx="1620000"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latin typeface="ＭＳ Ｐゴシック" panose="020B0600070205080204" pitchFamily="50" charset="-128"/>
                <a:ea typeface="ＭＳ Ｐゴシック" panose="020B0600070205080204" pitchFamily="50" charset="-128"/>
              </a:rPr>
              <a:t>下水処理場の設置 </a:t>
            </a:r>
            <a:endParaRPr lang="en-US" sz="1000" dirty="0">
              <a:solidFill>
                <a:schemeClr val="tx1"/>
              </a:solidFill>
              <a:latin typeface="ＭＳ Ｐゴシック" panose="020B0600070205080204" pitchFamily="50" charset="-128"/>
              <a:ea typeface="ＭＳ Ｐゴシック" panose="020B0600070205080204" pitchFamily="50" charset="-128"/>
            </a:endParaRPr>
          </a:p>
        </p:txBody>
      </p:sp>
      <p:sp>
        <p:nvSpPr>
          <p:cNvPr id="60" name="Oval 59"/>
          <p:cNvSpPr/>
          <p:nvPr/>
        </p:nvSpPr>
        <p:spPr>
          <a:xfrm>
            <a:off x="5121432" y="3079070"/>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1</a:t>
            </a:r>
            <a:endParaRPr lang="en-US" sz="1000" dirty="0">
              <a:solidFill>
                <a:srgbClr val="FFFFFF"/>
              </a:solidFill>
            </a:endParaRPr>
          </a:p>
        </p:txBody>
      </p:sp>
      <p:sp>
        <p:nvSpPr>
          <p:cNvPr id="61" name="Rectangle 60"/>
          <p:cNvSpPr/>
          <p:nvPr/>
        </p:nvSpPr>
        <p:spPr>
          <a:xfrm>
            <a:off x="1534024" y="6079492"/>
            <a:ext cx="5342231" cy="433496"/>
          </a:xfrm>
          <a:prstGeom prst="rect">
            <a:avLst/>
          </a:prstGeom>
          <a:noFill/>
          <a:ln w="1905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ja-JP" altLang="en-US" sz="1000" dirty="0" smtClean="0">
                <a:solidFill>
                  <a:schemeClr val="tx1"/>
                </a:solidFill>
                <a:latin typeface="ＭＳ Ｐゴシック" panose="020B0600070205080204" pitchFamily="50" charset="-128"/>
                <a:ea typeface="ＭＳ Ｐゴシック" panose="020B0600070205080204" pitchFamily="50" charset="-128"/>
              </a:rPr>
              <a:t>浄化槽の改修（</a:t>
            </a:r>
            <a:r>
              <a:rPr lang="en-US" altLang="ja-JP" sz="1000" dirty="0" smtClean="0">
                <a:solidFill>
                  <a:schemeClr val="tx1"/>
                </a:solidFill>
                <a:latin typeface="ＭＳ Ｐゴシック" panose="020B0600070205080204" pitchFamily="50" charset="-128"/>
                <a:ea typeface="ＭＳ Ｐゴシック" panose="020B0600070205080204" pitchFamily="50" charset="-128"/>
              </a:rPr>
              <a:t>#3</a:t>
            </a:r>
            <a:r>
              <a:rPr lang="ja-JP" altLang="en-US" sz="1000" dirty="0" smtClean="0">
                <a:solidFill>
                  <a:schemeClr val="tx1"/>
                </a:solidFill>
                <a:latin typeface="ＭＳ Ｐゴシック" panose="020B0600070205080204" pitchFamily="50" charset="-128"/>
                <a:ea typeface="ＭＳ Ｐゴシック" panose="020B0600070205080204" pitchFamily="50" charset="-128"/>
              </a:rPr>
              <a:t>）、汚泥の管理（</a:t>
            </a:r>
            <a:r>
              <a:rPr lang="en-US" altLang="ja-JP" sz="1000" dirty="0" smtClean="0">
                <a:solidFill>
                  <a:schemeClr val="tx1"/>
                </a:solidFill>
                <a:latin typeface="ＭＳ Ｐゴシック" panose="020B0600070205080204" pitchFamily="50" charset="-128"/>
                <a:ea typeface="ＭＳ Ｐゴシック" panose="020B0600070205080204" pitchFamily="50" charset="-128"/>
              </a:rPr>
              <a:t>#7</a:t>
            </a:r>
            <a:r>
              <a:rPr lang="ja-JP" altLang="en-US" sz="1000" dirty="0" smtClean="0">
                <a:solidFill>
                  <a:schemeClr val="tx1"/>
                </a:solidFill>
                <a:latin typeface="ＭＳ Ｐゴシック" panose="020B0600070205080204" pitchFamily="50" charset="-128"/>
                <a:ea typeface="ＭＳ Ｐゴシック" panose="020B0600070205080204" pitchFamily="50" charset="-128"/>
              </a:rPr>
              <a:t>）をはじめとする、総合的な前沈殿下水道と汚泥の管理計画 場の設置</a:t>
            </a:r>
            <a:r>
              <a:rPr lang="en-US" sz="1000" dirty="0" smtClean="0">
                <a:solidFill>
                  <a:schemeClr val="tx1"/>
                </a:solidFill>
                <a:latin typeface="ＭＳ Ｐゴシック" panose="020B0600070205080204" pitchFamily="50" charset="-128"/>
                <a:ea typeface="ＭＳ Ｐゴシック" panose="020B0600070205080204" pitchFamily="50" charset="-128"/>
              </a:rPr>
              <a:t> </a:t>
            </a:r>
            <a:r>
              <a:rPr lang="en-US" sz="1000" dirty="0">
                <a:solidFill>
                  <a:schemeClr val="tx1"/>
                </a:solidFill>
                <a:latin typeface="ＭＳ Ｐゴシック" panose="020B0600070205080204" pitchFamily="50" charset="-128"/>
                <a:ea typeface="ＭＳ Ｐゴシック" panose="020B0600070205080204" pitchFamily="50" charset="-128"/>
              </a:rPr>
              <a:t>(#10)</a:t>
            </a:r>
          </a:p>
        </p:txBody>
      </p:sp>
      <p:sp>
        <p:nvSpPr>
          <p:cNvPr id="62" name="Oval 61"/>
          <p:cNvSpPr/>
          <p:nvPr/>
        </p:nvSpPr>
        <p:spPr>
          <a:xfrm>
            <a:off x="1371717" y="5986680"/>
            <a:ext cx="212568" cy="227949"/>
          </a:xfrm>
          <a:prstGeom prst="ellipse">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smtClean="0">
                <a:solidFill>
                  <a:srgbClr val="FFFFFF"/>
                </a:solidFill>
              </a:rPr>
              <a:t>15</a:t>
            </a:r>
            <a:endParaRPr lang="en-US" sz="1000" dirty="0">
              <a:solidFill>
                <a:srgbClr val="FFFFFF"/>
              </a:solidFill>
            </a:endParaRPr>
          </a:p>
        </p:txBody>
      </p:sp>
      <p:sp>
        <p:nvSpPr>
          <p:cNvPr id="63" name="Rounded Rectangle 62"/>
          <p:cNvSpPr/>
          <p:nvPr/>
        </p:nvSpPr>
        <p:spPr>
          <a:xfrm>
            <a:off x="381001" y="3809602"/>
            <a:ext cx="961102" cy="98755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200" dirty="0" smtClean="0">
                <a:solidFill>
                  <a:schemeClr val="tx2"/>
                </a:solidFill>
                <a:latin typeface="ＭＳ Ｐゴシック" panose="020B0600070205080204" pitchFamily="50" charset="-128"/>
                <a:ea typeface="ＭＳ Ｐゴシック" panose="020B0600070205080204" pitchFamily="50" charset="-128"/>
              </a:rPr>
              <a:t>維持管理</a:t>
            </a:r>
            <a:endParaRPr lang="en-IN" sz="1200" dirty="0">
              <a:solidFill>
                <a:schemeClr val="tx2"/>
              </a:solidFill>
              <a:latin typeface="ＭＳ Ｐゴシック" panose="020B0600070205080204" pitchFamily="50" charset="-128"/>
              <a:ea typeface="ＭＳ Ｐゴシック" panose="020B0600070205080204" pitchFamily="50" charset="-128"/>
            </a:endParaRPr>
          </a:p>
        </p:txBody>
      </p:sp>
      <p:sp>
        <p:nvSpPr>
          <p:cNvPr id="64" name="Rounded Rectangle 63"/>
          <p:cNvSpPr/>
          <p:nvPr/>
        </p:nvSpPr>
        <p:spPr>
          <a:xfrm>
            <a:off x="380648" y="4989696"/>
            <a:ext cx="961102" cy="152329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200" dirty="0" smtClean="0">
                <a:solidFill>
                  <a:schemeClr val="tx2"/>
                </a:solidFill>
                <a:latin typeface="ＭＳ Ｐゴシック" panose="020B0600070205080204" pitchFamily="50" charset="-128"/>
                <a:ea typeface="ＭＳ Ｐゴシック" panose="020B0600070205080204" pitchFamily="50" charset="-128"/>
              </a:rPr>
              <a:t>総合的ビジネスチャンス</a:t>
            </a:r>
            <a:endParaRPr lang="en-IN" sz="1200" dirty="0">
              <a:solidFill>
                <a:schemeClr val="tx2"/>
              </a:solidFill>
              <a:latin typeface="ＭＳ Ｐゴシック" panose="020B0600070205080204" pitchFamily="50" charset="-128"/>
              <a:ea typeface="ＭＳ Ｐゴシック" panose="020B0600070205080204" pitchFamily="50" charset="-128"/>
            </a:endParaRPr>
          </a:p>
        </p:txBody>
      </p:sp>
      <p:sp>
        <p:nvSpPr>
          <p:cNvPr id="65" name="Rectangle 64"/>
          <p:cNvSpPr/>
          <p:nvPr/>
        </p:nvSpPr>
        <p:spPr>
          <a:xfrm>
            <a:off x="6948264" y="2029393"/>
            <a:ext cx="2016224" cy="448056"/>
          </a:xfrm>
          <a:prstGeom prst="rect">
            <a:avLst/>
          </a:prstGeom>
          <a:no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tIns="0" rIns="0" rtlCol="0" anchor="t" anchorCtr="0"/>
          <a:lstStyle/>
          <a:p>
            <a:r>
              <a:rPr lang="en-US" sz="1000" b="1" dirty="0" smtClean="0">
                <a:solidFill>
                  <a:srgbClr val="000000"/>
                </a:solidFill>
                <a:latin typeface="Arial" panose="020B0604020202020204" pitchFamily="34" charset="0"/>
                <a:ea typeface="ＭＳ Ｐゴシック" panose="020B0600070205080204" pitchFamily="50" charset="-128"/>
                <a:cs typeface="Arial" panose="020B0604020202020204" pitchFamily="34" charset="0"/>
              </a:rPr>
              <a:t>GUARDIAN、 </a:t>
            </a:r>
            <a:r>
              <a:rPr 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dhikar MFI (1)</a:t>
            </a:r>
          </a:p>
          <a:p>
            <a:r>
              <a:rPr 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Water.org (WaterCredit) (1)</a:t>
            </a:r>
          </a:p>
          <a:p>
            <a:r>
              <a:rPr 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Grameen Koota (Finish) (1)</a:t>
            </a:r>
          </a:p>
        </p:txBody>
      </p:sp>
      <p:sp>
        <p:nvSpPr>
          <p:cNvPr id="68" name="Rectangle 67"/>
          <p:cNvSpPr/>
          <p:nvPr/>
        </p:nvSpPr>
        <p:spPr>
          <a:xfrm>
            <a:off x="6948264" y="2608824"/>
            <a:ext cx="2016224" cy="448056"/>
          </a:xfrm>
          <a:prstGeom prst="rect">
            <a:avLst/>
          </a:prstGeom>
          <a:no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tIns="0" rIns="0" rtlCol="0" anchor="t" anchorCtr="0"/>
          <a:lstStyle/>
          <a:p>
            <a:r>
              <a:rPr 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GUARDIAN (2)</a:t>
            </a:r>
          </a:p>
          <a:p>
            <a:r>
              <a:rPr 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dhikar MFI (2)</a:t>
            </a:r>
          </a:p>
          <a:p>
            <a:r>
              <a:rPr 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Grameen Koota (2)</a:t>
            </a:r>
          </a:p>
        </p:txBody>
      </p:sp>
      <p:sp>
        <p:nvSpPr>
          <p:cNvPr id="69" name="Rectangle 68"/>
          <p:cNvSpPr/>
          <p:nvPr/>
        </p:nvSpPr>
        <p:spPr>
          <a:xfrm>
            <a:off x="6948264" y="4989697"/>
            <a:ext cx="2016224" cy="448056"/>
          </a:xfrm>
          <a:prstGeom prst="rect">
            <a:avLst/>
          </a:prstGeom>
          <a:no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tIns="0" rIns="0" rtlCol="0" anchor="t" anchorCtr="0"/>
          <a:lstStyle/>
          <a:p>
            <a:r>
              <a:rPr 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GUARDIAN (13)</a:t>
            </a:r>
          </a:p>
          <a:p>
            <a:r>
              <a:rPr 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dhikar MFI (13)</a:t>
            </a:r>
          </a:p>
          <a:p>
            <a:r>
              <a:rPr 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Grameen Koota (13)</a:t>
            </a:r>
          </a:p>
        </p:txBody>
      </p:sp>
      <p:sp>
        <p:nvSpPr>
          <p:cNvPr id="70" name="Rectangle 69"/>
          <p:cNvSpPr/>
          <p:nvPr/>
        </p:nvSpPr>
        <p:spPr>
          <a:xfrm>
            <a:off x="6948264" y="3155088"/>
            <a:ext cx="2016224" cy="448056"/>
          </a:xfrm>
          <a:prstGeom prst="rect">
            <a:avLst/>
          </a:prstGeom>
          <a:no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tIns="0" rIns="0" rtlCol="0" anchor="t" anchorCtr="0"/>
          <a:lstStyle/>
          <a:p>
            <a:r>
              <a:rPr 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GUARDIAN (3)</a:t>
            </a:r>
          </a:p>
          <a:p>
            <a:r>
              <a:rPr 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dhikar MFI (3)</a:t>
            </a:r>
          </a:p>
          <a:p>
            <a:r>
              <a:rPr 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Grameen Koota (3)</a:t>
            </a:r>
          </a:p>
        </p:txBody>
      </p:sp>
      <p:sp>
        <p:nvSpPr>
          <p:cNvPr id="66" name="Rectangle 65"/>
          <p:cNvSpPr/>
          <p:nvPr/>
        </p:nvSpPr>
        <p:spPr>
          <a:xfrm>
            <a:off x="6984492" y="3813223"/>
            <a:ext cx="2016224" cy="448056"/>
          </a:xfrm>
          <a:prstGeom prst="rect">
            <a:avLst/>
          </a:prstGeom>
          <a:no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tIns="0" rIns="0" rtlCol="0" anchor="t" anchorCtr="0"/>
          <a:lstStyle/>
          <a:p>
            <a:r>
              <a:rPr 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Gramalaya (4)</a:t>
            </a:r>
          </a:p>
        </p:txBody>
      </p:sp>
    </p:spTree>
    <p:extLst>
      <p:ext uri="{BB962C8B-B14F-4D97-AF65-F5344CB8AC3E}">
        <p14:creationId xmlns:p14="http://schemas.microsoft.com/office/powerpoint/2010/main" val="322734774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ext uri="{D42A27DB-BD31-4B8C-83A1-F6EECF244321}">
                <p14:modId xmlns:p14="http://schemas.microsoft.com/office/powerpoint/2010/main" val="9865343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487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ja-JP" altLang="en-US" dirty="0" smtClean="0"/>
              <a:t>同様にニイミシステムは従来の下水処理施設にかわる低コストであまり手のかからない方法である</a:t>
            </a:r>
            <a:endParaRPr lang="en-US" i="1" dirty="0"/>
          </a:p>
        </p:txBody>
      </p:sp>
      <p:sp>
        <p:nvSpPr>
          <p:cNvPr id="7" name="Rectangle 6"/>
          <p:cNvSpPr/>
          <p:nvPr/>
        </p:nvSpPr>
        <p:spPr>
          <a:xfrm>
            <a:off x="2167651" y="1023457"/>
            <a:ext cx="3200400" cy="377504"/>
          </a:xfrm>
          <a:prstGeom prst="rect">
            <a:avLst/>
          </a:prstGeom>
          <a:solidFill>
            <a:srgbClr val="6710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smtClean="0">
                <a:solidFill>
                  <a:schemeClr val="bg1"/>
                </a:solidFill>
              </a:rPr>
              <a:t>ニイミシステム</a:t>
            </a:r>
            <a:endParaRPr lang="en-US" sz="1400" b="1" dirty="0">
              <a:solidFill>
                <a:schemeClr val="bg1"/>
              </a:solidFill>
            </a:endParaRPr>
          </a:p>
        </p:txBody>
      </p:sp>
      <p:sp>
        <p:nvSpPr>
          <p:cNvPr id="8" name="Rectangle 7"/>
          <p:cNvSpPr/>
          <p:nvPr/>
        </p:nvSpPr>
        <p:spPr>
          <a:xfrm>
            <a:off x="5527964" y="1023457"/>
            <a:ext cx="3200400" cy="37750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smtClean="0">
                <a:solidFill>
                  <a:schemeClr val="bg1"/>
                </a:solidFill>
              </a:rPr>
              <a:t>地上の下水処理（</a:t>
            </a:r>
            <a:r>
              <a:rPr lang="en-US" sz="1400" b="1" dirty="0" smtClean="0">
                <a:solidFill>
                  <a:schemeClr val="bg1"/>
                </a:solidFill>
              </a:rPr>
              <a:t>AGST</a:t>
            </a:r>
            <a:r>
              <a:rPr lang="ja-JP" altLang="en-US" sz="1400" b="1" dirty="0" smtClean="0">
                <a:solidFill>
                  <a:schemeClr val="bg1"/>
                </a:solidFill>
              </a:rPr>
              <a:t>）施設</a:t>
            </a:r>
            <a:endParaRPr lang="en-US" sz="1400" b="1" dirty="0">
              <a:solidFill>
                <a:schemeClr val="bg1"/>
              </a:solidFill>
            </a:endParaRPr>
          </a:p>
        </p:txBody>
      </p:sp>
      <p:pic>
        <p:nvPicPr>
          <p:cNvPr id="22" name="Picture 3"/>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034257" y="1598880"/>
            <a:ext cx="1467188" cy="1097280"/>
          </a:xfrm>
          <a:prstGeom prst="rect">
            <a:avLst/>
          </a:prstGeom>
          <a:noFill/>
          <a:ln>
            <a:noFill/>
          </a:ln>
          <a:effectLst/>
          <a:extLst>
            <a:ext uri="{909E8E84-426E-40DD-AFC4-6F175D3DCCD1}">
              <a14:hiddenFill xmlns:a14="http://schemas.microsoft.com/office/drawing/2010/main">
                <a:solidFill>
                  <a:srgbClr val="FFFFE7"/>
                </a:solidFill>
              </a14:hiddenFill>
            </a:ext>
            <a:ext uri="{91240B29-F687-4F45-9708-019B960494DF}">
              <a14:hiddenLine xmlns:a14="http://schemas.microsoft.com/office/drawing/2010/main" w="1905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874502" name="Picture 6" descr="http://pimg.tradeindia.com/00414977/b/2/Conventional-Sewage-Treatment-Plant.jpg"/>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6304381" y="1598880"/>
            <a:ext cx="1647567" cy="1097280"/>
          </a:xfrm>
          <a:prstGeom prst="rect">
            <a:avLst/>
          </a:prstGeom>
          <a:noFill/>
          <a:extLst>
            <a:ext uri="{909E8E84-426E-40DD-AFC4-6F175D3DCCD1}">
              <a14:hiddenFill xmlns:a14="http://schemas.microsoft.com/office/drawing/2010/main">
                <a:solidFill>
                  <a:srgbClr val="FFFFFF"/>
                </a:solidFill>
              </a14:hiddenFill>
            </a:ext>
          </a:extLst>
        </p:spPr>
      </p:pic>
      <p:sp>
        <p:nvSpPr>
          <p:cNvPr id="37" name="Text Placeholder 2"/>
          <p:cNvSpPr>
            <a:spLocks noGrp="1"/>
          </p:cNvSpPr>
          <p:nvPr>
            <p:ph type="body" sz="quarter" idx="37"/>
          </p:nvPr>
        </p:nvSpPr>
        <p:spPr>
          <a:xfrm>
            <a:off x="415925" y="6446487"/>
            <a:ext cx="7539318" cy="386679"/>
          </a:xfrm>
        </p:spPr>
        <p:txBody>
          <a:bodyPr/>
          <a:lstStyle/>
          <a:p>
            <a:r>
              <a:rPr lang="en-US" baseline="30000" dirty="0" smtClean="0"/>
              <a:t>1</a:t>
            </a:r>
            <a:r>
              <a:rPr lang="ja-JP" altLang="en-US" baseline="30000" dirty="0" smtClean="0"/>
              <a:t>最大</a:t>
            </a:r>
            <a:r>
              <a:rPr lang="en-US" altLang="ja-JP" baseline="30000" dirty="0" smtClean="0"/>
              <a:t>550,000</a:t>
            </a:r>
            <a:r>
              <a:rPr lang="ja-JP" altLang="en-US" baseline="30000" dirty="0" smtClean="0"/>
              <a:t>米ドルの汚泥処理費用を含む</a:t>
            </a:r>
            <a:endParaRPr lang="en-US" dirty="0"/>
          </a:p>
        </p:txBody>
      </p:sp>
      <p:sp>
        <p:nvSpPr>
          <p:cNvPr id="19" name="Rounded Rectangle 18"/>
          <p:cNvSpPr/>
          <p:nvPr/>
        </p:nvSpPr>
        <p:spPr>
          <a:xfrm>
            <a:off x="415637" y="4488731"/>
            <a:ext cx="8333076" cy="1031900"/>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0" name="Rounded Rectangle 19"/>
          <p:cNvSpPr/>
          <p:nvPr/>
        </p:nvSpPr>
        <p:spPr>
          <a:xfrm>
            <a:off x="415637" y="2791027"/>
            <a:ext cx="8333076" cy="791832"/>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1" name="TextBox 20"/>
          <p:cNvSpPr txBox="1"/>
          <p:nvPr/>
        </p:nvSpPr>
        <p:spPr>
          <a:xfrm>
            <a:off x="2167650" y="2821183"/>
            <a:ext cx="6560713" cy="731520"/>
          </a:xfrm>
          <a:prstGeom prst="rect">
            <a:avLst/>
          </a:prstGeom>
          <a:noFill/>
        </p:spPr>
        <p:txBody>
          <a:bodyPr wrap="square" lIns="0" tIns="0" rIns="0" bIns="0" rtlCol="0">
            <a:noAutofit/>
          </a:bodyPr>
          <a:lstStyle/>
          <a:p>
            <a:r>
              <a:rPr lang="ja-JP" altLang="en-US" sz="1200" b="1" dirty="0" smtClean="0"/>
              <a:t>ニイミシステム</a:t>
            </a:r>
            <a:r>
              <a:rPr lang="ja-JP" altLang="en-US" sz="1200" dirty="0" smtClean="0"/>
              <a:t>に必要な設備はわずかであり、</a:t>
            </a:r>
            <a:r>
              <a:rPr lang="ja-JP" altLang="en-US" sz="1200" b="1" dirty="0" smtClean="0"/>
              <a:t>まずトレンチ／槽の設置を行う。</a:t>
            </a:r>
            <a:r>
              <a:rPr lang="ja-JP" altLang="en-US" sz="1200" dirty="0" smtClean="0"/>
              <a:t>毛管浄化社の助言によるサポートがあれば地元の労働力と資材で建設できる。</a:t>
            </a:r>
            <a:r>
              <a:rPr lang="ja-JP" altLang="en-US" sz="1200" b="1" dirty="0" smtClean="0"/>
              <a:t>一方</a:t>
            </a:r>
            <a:r>
              <a:rPr lang="en-US" sz="1200" b="1" dirty="0" smtClean="0"/>
              <a:t> AGST</a:t>
            </a:r>
            <a:r>
              <a:rPr lang="ja-JP" altLang="en-US" sz="1200" b="1" dirty="0" smtClean="0"/>
              <a:t>施設は多くの技術的部品</a:t>
            </a:r>
            <a:r>
              <a:rPr lang="ja-JP" altLang="en-US" sz="1200" dirty="0" smtClean="0"/>
              <a:t>（脱臭装置、病害駆除装置）</a:t>
            </a:r>
            <a:r>
              <a:rPr lang="ja-JP" altLang="en-US" sz="1200" b="1" dirty="0" smtClean="0"/>
              <a:t>を要し</a:t>
            </a:r>
            <a:r>
              <a:rPr lang="en-US" sz="1200" b="1" dirty="0" smtClean="0"/>
              <a:t> </a:t>
            </a:r>
            <a:r>
              <a:rPr lang="ja-JP" altLang="en-US" sz="1200" dirty="0" err="1"/>
              <a:t>、</a:t>
            </a:r>
            <a:r>
              <a:rPr lang="ja-JP" altLang="en-US" sz="1200" dirty="0" smtClean="0"/>
              <a:t>調達や輸送に際して追加の資金が必要になる</a:t>
            </a:r>
            <a:endParaRPr lang="en-US" sz="1200" dirty="0" smtClean="0">
              <a:solidFill>
                <a:srgbClr val="FF0000"/>
              </a:solidFill>
            </a:endParaRPr>
          </a:p>
        </p:txBody>
      </p:sp>
      <p:sp>
        <p:nvSpPr>
          <p:cNvPr id="23" name="Rectangle 22"/>
          <p:cNvSpPr/>
          <p:nvPr/>
        </p:nvSpPr>
        <p:spPr>
          <a:xfrm>
            <a:off x="415637" y="2821183"/>
            <a:ext cx="1275127" cy="7315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dirty="0" smtClean="0">
                <a:solidFill>
                  <a:schemeClr val="tx1"/>
                </a:solidFill>
              </a:rPr>
              <a:t>設置のしやすさ</a:t>
            </a:r>
            <a:endParaRPr lang="en-US" sz="1200" b="1" dirty="0">
              <a:solidFill>
                <a:schemeClr val="tx1"/>
              </a:solidFill>
            </a:endParaRPr>
          </a:p>
        </p:txBody>
      </p:sp>
      <p:sp>
        <p:nvSpPr>
          <p:cNvPr id="24" name="Rectangle 23"/>
          <p:cNvSpPr/>
          <p:nvPr/>
        </p:nvSpPr>
        <p:spPr>
          <a:xfrm>
            <a:off x="415637" y="3743210"/>
            <a:ext cx="1275127" cy="6035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dirty="0" smtClean="0">
                <a:solidFill>
                  <a:schemeClr val="tx1"/>
                </a:solidFill>
              </a:rPr>
              <a:t>環境面での利点</a:t>
            </a:r>
            <a:endParaRPr lang="en-US" sz="1200" b="1" dirty="0">
              <a:solidFill>
                <a:schemeClr val="tx1"/>
              </a:solidFill>
            </a:endParaRPr>
          </a:p>
        </p:txBody>
      </p:sp>
      <p:sp>
        <p:nvSpPr>
          <p:cNvPr id="25" name="Rectangle 24"/>
          <p:cNvSpPr/>
          <p:nvPr/>
        </p:nvSpPr>
        <p:spPr>
          <a:xfrm>
            <a:off x="415637" y="4620740"/>
            <a:ext cx="1275127" cy="7678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dirty="0" smtClean="0">
                <a:solidFill>
                  <a:schemeClr val="tx1"/>
                </a:solidFill>
              </a:rPr>
              <a:t>維持管理</a:t>
            </a:r>
            <a:endParaRPr lang="en-US" sz="1200" b="1" dirty="0">
              <a:solidFill>
                <a:schemeClr val="tx1"/>
              </a:solidFill>
            </a:endParaRPr>
          </a:p>
        </p:txBody>
      </p:sp>
      <p:sp>
        <p:nvSpPr>
          <p:cNvPr id="26" name="Rectangle 25"/>
          <p:cNvSpPr/>
          <p:nvPr/>
        </p:nvSpPr>
        <p:spPr>
          <a:xfrm>
            <a:off x="415637" y="5771724"/>
            <a:ext cx="1275127" cy="5303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200" b="1" dirty="0" smtClean="0">
                <a:solidFill>
                  <a:schemeClr val="tx1"/>
                </a:solidFill>
              </a:rPr>
              <a:t>コスト</a:t>
            </a:r>
            <a:endParaRPr lang="en-US" sz="1200" b="1" dirty="0">
              <a:solidFill>
                <a:schemeClr val="tx1"/>
              </a:solidFill>
            </a:endParaRPr>
          </a:p>
        </p:txBody>
      </p:sp>
      <p:sp>
        <p:nvSpPr>
          <p:cNvPr id="27" name="TextBox 26"/>
          <p:cNvSpPr txBox="1"/>
          <p:nvPr/>
        </p:nvSpPr>
        <p:spPr>
          <a:xfrm>
            <a:off x="2167650" y="3743210"/>
            <a:ext cx="6560713" cy="603553"/>
          </a:xfrm>
          <a:prstGeom prst="rect">
            <a:avLst/>
          </a:prstGeom>
          <a:noFill/>
        </p:spPr>
        <p:txBody>
          <a:bodyPr wrap="square" lIns="0" tIns="0" rIns="0" bIns="0" rtlCol="0">
            <a:noAutofit/>
          </a:bodyPr>
          <a:lstStyle/>
          <a:p>
            <a:r>
              <a:rPr lang="ja-JP" altLang="en-US" sz="1200" dirty="0" smtClean="0"/>
              <a:t>ニイミシステムはニイミトレンチと同じく</a:t>
            </a:r>
            <a:r>
              <a:rPr lang="ja-JP" altLang="en-US" sz="1200" b="1" dirty="0" smtClean="0"/>
              <a:t>土中の微生物により排泄物を処理し臭気を抑制する</a:t>
            </a:r>
            <a:r>
              <a:rPr lang="ja-JP" altLang="en-US" sz="1200" dirty="0" smtClean="0"/>
              <a:t>。</a:t>
            </a:r>
            <a:r>
              <a:rPr lang="en-US" sz="1200" dirty="0" smtClean="0"/>
              <a:t> AGST</a:t>
            </a:r>
            <a:r>
              <a:rPr lang="ja-JP" altLang="en-US" sz="1200" dirty="0" smtClean="0"/>
              <a:t>施設とは異なり三次処理（脱臭、病原菌除去、消泡機）の必要がなく、</a:t>
            </a:r>
            <a:r>
              <a:rPr lang="ja-JP" altLang="en-US" sz="1200" b="1" dirty="0" smtClean="0"/>
              <a:t>節電</a:t>
            </a:r>
            <a:r>
              <a:rPr lang="ja-JP" altLang="en-US" sz="1200" dirty="0" smtClean="0"/>
              <a:t>につながる</a:t>
            </a:r>
            <a:endParaRPr lang="en-US" sz="1200" dirty="0" smtClean="0"/>
          </a:p>
        </p:txBody>
      </p:sp>
      <p:sp>
        <p:nvSpPr>
          <p:cNvPr id="28" name="TextBox 27"/>
          <p:cNvSpPr txBox="1"/>
          <p:nvPr/>
        </p:nvSpPr>
        <p:spPr>
          <a:xfrm>
            <a:off x="2167650" y="4554736"/>
            <a:ext cx="6560713" cy="899891"/>
          </a:xfrm>
          <a:prstGeom prst="rect">
            <a:avLst/>
          </a:prstGeom>
          <a:noFill/>
        </p:spPr>
        <p:txBody>
          <a:bodyPr wrap="square" lIns="0" tIns="0" rIns="0" bIns="0" rtlCol="0">
            <a:noAutofit/>
          </a:bodyPr>
          <a:lstStyle/>
          <a:p>
            <a:r>
              <a:rPr lang="ja-JP" altLang="en-US" sz="1200" dirty="0" smtClean="0"/>
              <a:t>上の写真</a:t>
            </a:r>
            <a:r>
              <a:rPr lang="ja-JP" altLang="en-US" sz="1200" dirty="0"/>
              <a:t>の</a:t>
            </a:r>
            <a:r>
              <a:rPr lang="ja-JP" altLang="en-US" sz="1200" dirty="0" smtClean="0"/>
              <a:t>ようにニイミシステムには各槽の端にマンホールが設置され、ここから濁度をチェックすることができる。</a:t>
            </a:r>
            <a:r>
              <a:rPr lang="ja-JP" altLang="en-US" sz="1200" b="1" dirty="0" smtClean="0"/>
              <a:t>汚泥レベルが槽全体の</a:t>
            </a:r>
            <a:r>
              <a:rPr lang="en-US" altLang="ja-JP" sz="1200" b="1" dirty="0" smtClean="0"/>
              <a:t>3</a:t>
            </a:r>
            <a:r>
              <a:rPr lang="ja-JP" altLang="en-US" sz="1200" b="1" dirty="0" smtClean="0"/>
              <a:t>分の</a:t>
            </a:r>
            <a:r>
              <a:rPr lang="en-US" altLang="ja-JP" sz="1200" b="1" dirty="0" smtClean="0"/>
              <a:t>1</a:t>
            </a:r>
            <a:r>
              <a:rPr lang="ja-JP" altLang="en-US" sz="1200" b="1" dirty="0" smtClean="0"/>
              <a:t>になると清掃しなければならない（通常は吸引トラックによって）。</a:t>
            </a:r>
            <a:r>
              <a:rPr lang="ja-JP" altLang="en-US" sz="1200" dirty="0" smtClean="0"/>
              <a:t>使用する装置や技術的部品はわずかなので</a:t>
            </a:r>
            <a:r>
              <a:rPr lang="ja-JP" altLang="en-US" sz="1200" b="1" dirty="0" smtClean="0"/>
              <a:t>維持管理は簡単で低コストである</a:t>
            </a:r>
            <a:r>
              <a:rPr lang="ja-JP" altLang="en-US" sz="1200" dirty="0" smtClean="0"/>
              <a:t>。システムの大きさによりメッシュのスクリーンを</a:t>
            </a:r>
            <a:r>
              <a:rPr lang="en-US" altLang="ja-JP" sz="1200" dirty="0" smtClean="0"/>
              <a:t>2</a:t>
            </a:r>
            <a:r>
              <a:rPr lang="ja-JP" altLang="en-US" sz="1200" dirty="0" smtClean="0"/>
              <a:t>～</a:t>
            </a:r>
            <a:r>
              <a:rPr lang="en-US" altLang="ja-JP" sz="1200" dirty="0" smtClean="0"/>
              <a:t>4</a:t>
            </a:r>
            <a:r>
              <a:rPr lang="ja-JP" altLang="en-US" sz="1200" dirty="0" smtClean="0"/>
              <a:t>週間ごとに取り替える必要があるかもしれないが、基本的な部品はすべて</a:t>
            </a:r>
            <a:r>
              <a:rPr lang="en-US" altLang="ja-JP" sz="1200" b="1" dirty="0" smtClean="0"/>
              <a:t>15</a:t>
            </a:r>
            <a:r>
              <a:rPr lang="ja-JP" altLang="en-US" sz="1200" b="1" dirty="0" smtClean="0"/>
              <a:t>年はもつ</a:t>
            </a:r>
            <a:r>
              <a:rPr lang="en-US" sz="1200" b="1" dirty="0" smtClean="0"/>
              <a:t> </a:t>
            </a:r>
          </a:p>
        </p:txBody>
      </p:sp>
      <p:sp>
        <p:nvSpPr>
          <p:cNvPr id="29" name="TextBox 28"/>
          <p:cNvSpPr txBox="1"/>
          <p:nvPr/>
        </p:nvSpPr>
        <p:spPr>
          <a:xfrm>
            <a:off x="2167650" y="5771724"/>
            <a:ext cx="6560713" cy="530352"/>
          </a:xfrm>
          <a:prstGeom prst="rect">
            <a:avLst/>
          </a:prstGeom>
          <a:noFill/>
        </p:spPr>
        <p:txBody>
          <a:bodyPr wrap="square" lIns="0" tIns="0" rIns="0" bIns="0" rtlCol="0">
            <a:noAutofit/>
          </a:bodyPr>
          <a:lstStyle/>
          <a:p>
            <a:r>
              <a:rPr lang="ja-JP" altLang="en-US" sz="1200" dirty="0" smtClean="0"/>
              <a:t>システムにかかるコストは大きさにより、</a:t>
            </a:r>
            <a:r>
              <a:rPr lang="en-US" altLang="ja-JP" sz="1200" b="1" dirty="0" smtClean="0"/>
              <a:t>51,000 </a:t>
            </a:r>
            <a:r>
              <a:rPr lang="ja-JP" altLang="en-US" sz="1200" b="1" dirty="0" smtClean="0"/>
              <a:t>人用の</a:t>
            </a:r>
            <a:r>
              <a:rPr lang="en-US" sz="1200" b="1" dirty="0" smtClean="0"/>
              <a:t>950,000</a:t>
            </a:r>
            <a:r>
              <a:rPr lang="ja-JP" altLang="en-US" sz="1200" b="1" dirty="0" smtClean="0"/>
              <a:t>米ドル</a:t>
            </a:r>
            <a:r>
              <a:rPr lang="en-US" sz="1200" b="1" baseline="30000" dirty="0" smtClean="0"/>
              <a:t>1</a:t>
            </a:r>
            <a:r>
              <a:rPr lang="en-US" sz="1200" dirty="0" smtClean="0"/>
              <a:t> </a:t>
            </a:r>
            <a:r>
              <a:rPr lang="ja-JP" altLang="en-US" sz="1200" dirty="0" smtClean="0"/>
              <a:t>から</a:t>
            </a:r>
            <a:r>
              <a:rPr lang="en-US" altLang="ja-JP" sz="1200" b="1" dirty="0"/>
              <a:t>900,000 </a:t>
            </a:r>
            <a:r>
              <a:rPr lang="ja-JP" altLang="en-US" sz="1200" b="1" dirty="0" smtClean="0"/>
              <a:t>人用の</a:t>
            </a:r>
            <a:r>
              <a:rPr lang="en-US" altLang="ja-JP" sz="1200" b="1" dirty="0" smtClean="0"/>
              <a:t>2.75</a:t>
            </a:r>
            <a:r>
              <a:rPr lang="ja-JP" altLang="en-US" sz="1200" b="1" dirty="0" smtClean="0"/>
              <a:t>百万</a:t>
            </a:r>
            <a:r>
              <a:rPr lang="ja-JP" altLang="en-US" sz="1200" b="1" dirty="0"/>
              <a:t>米</a:t>
            </a:r>
            <a:r>
              <a:rPr lang="ja-JP" altLang="en-US" sz="1200" b="1" dirty="0" smtClean="0"/>
              <a:t>ドル</a:t>
            </a:r>
            <a:r>
              <a:rPr lang="en-US" sz="1200" b="1" baseline="30000" dirty="0" smtClean="0"/>
              <a:t>1</a:t>
            </a:r>
            <a:r>
              <a:rPr lang="en-US" sz="1200" dirty="0" smtClean="0"/>
              <a:t> </a:t>
            </a:r>
            <a:r>
              <a:rPr lang="ja-JP" altLang="en-US" sz="1200" dirty="0" err="1" smtClean="0"/>
              <a:t>まで</a:t>
            </a:r>
            <a:r>
              <a:rPr lang="ja-JP" altLang="en-US" sz="1200" dirty="0" smtClean="0"/>
              <a:t>幅がある。これは日本で設置した場合の</a:t>
            </a:r>
            <a:r>
              <a:rPr lang="en-US" altLang="ja-JP" sz="1200" dirty="0" smtClean="0"/>
              <a:t>1</a:t>
            </a:r>
            <a:r>
              <a:rPr lang="ja-JP" altLang="en-US" sz="1200" dirty="0" smtClean="0"/>
              <a:t>システムあたりの価格であり、正確なコストを見積もるにはより詳細なデータが必要である</a:t>
            </a:r>
            <a:r>
              <a:rPr lang="en-US" sz="1200" dirty="0" smtClean="0"/>
              <a:t> </a:t>
            </a:r>
            <a:endParaRPr lang="en-US" sz="1200" baseline="30000" dirty="0"/>
          </a:p>
        </p:txBody>
      </p:sp>
    </p:spTree>
    <p:extLst>
      <p:ext uri="{BB962C8B-B14F-4D97-AF65-F5344CB8AC3E}">
        <p14:creationId xmlns:p14="http://schemas.microsoft.com/office/powerpoint/2010/main" val="115645813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アジェンダ</a:t>
            </a:r>
            <a:endParaRPr lang="en-US" dirty="0"/>
          </a:p>
        </p:txBody>
      </p:sp>
      <p:sp>
        <p:nvSpPr>
          <p:cNvPr id="6" name="Rectangle 5"/>
          <p:cNvSpPr>
            <a:spLocks noChangeArrowheads="1"/>
          </p:cNvSpPr>
          <p:nvPr>
            <p:custDataLst>
              <p:tags r:id="rId1"/>
            </p:custDataLst>
          </p:nvPr>
        </p:nvSpPr>
        <p:spPr bwMode="auto">
          <a:xfrm>
            <a:off x="1066876" y="2385981"/>
            <a:ext cx="6450388" cy="427724"/>
          </a:xfrm>
          <a:prstGeom prst="rect">
            <a:avLst/>
          </a:prstGeom>
          <a:noFill/>
          <a:ln w="12700" algn="ctr">
            <a:noFill/>
            <a:miter lim="800000"/>
            <a:headEnd/>
            <a:tailEnd/>
          </a:ln>
        </p:spPr>
        <p:txBody>
          <a:bodyPr lIns="77893" tIns="38947" rIns="77893" bIns="38947" anchor="ctr"/>
          <a:lstStyle/>
          <a:p>
            <a:pPr marL="97389" defTabSz="779842"/>
            <a:r>
              <a:rPr lang="en-US" sz="1600" dirty="0">
                <a:solidFill>
                  <a:srgbClr val="000000"/>
                </a:solidFill>
                <a:latin typeface="Calibri" pitchFamily="34" charset="0"/>
              </a:rPr>
              <a:t>1</a:t>
            </a:r>
            <a:r>
              <a:rPr lang="en-US" sz="1600" dirty="0" smtClean="0">
                <a:solidFill>
                  <a:srgbClr val="000000"/>
                </a:solidFill>
                <a:latin typeface="Calibri" pitchFamily="34" charset="0"/>
              </a:rPr>
              <a:t>. </a:t>
            </a:r>
            <a:r>
              <a:rPr lang="ja-JP" altLang="en-US" sz="1600" dirty="0" smtClean="0">
                <a:solidFill>
                  <a:srgbClr val="000000"/>
                </a:solidFill>
                <a:latin typeface="Calibri" pitchFamily="34" charset="0"/>
              </a:rPr>
              <a:t>毛管浄化社が提供する技術</a:t>
            </a:r>
            <a:endParaRPr lang="en-GB" sz="1600" dirty="0">
              <a:solidFill>
                <a:srgbClr val="000000"/>
              </a:solidFill>
              <a:latin typeface="Calibri" pitchFamily="34" charset="0"/>
            </a:endParaRPr>
          </a:p>
        </p:txBody>
      </p:sp>
      <p:sp>
        <p:nvSpPr>
          <p:cNvPr id="5" name="Rectangle 4"/>
          <p:cNvSpPr>
            <a:spLocks noChangeArrowheads="1"/>
          </p:cNvSpPr>
          <p:nvPr>
            <p:custDataLst>
              <p:tags r:id="rId2"/>
            </p:custDataLst>
          </p:nvPr>
        </p:nvSpPr>
        <p:spPr bwMode="auto">
          <a:xfrm>
            <a:off x="1066876" y="3031085"/>
            <a:ext cx="6450388" cy="427724"/>
          </a:xfrm>
          <a:prstGeom prst="rect">
            <a:avLst/>
          </a:prstGeom>
          <a:solidFill>
            <a:srgbClr val="67103F"/>
          </a:solidFill>
          <a:ln w="12700" algn="ctr">
            <a:noFill/>
            <a:miter lim="800000"/>
            <a:headEnd/>
            <a:tailEnd/>
          </a:ln>
        </p:spPr>
        <p:txBody>
          <a:bodyPr lIns="77893" tIns="38947" rIns="77893" bIns="38947" anchor="ctr"/>
          <a:lstStyle/>
          <a:p>
            <a:pPr marL="97389" defTabSz="779842"/>
            <a:r>
              <a:rPr lang="en-US" sz="1600" b="1" dirty="0">
                <a:solidFill>
                  <a:schemeClr val="bg1"/>
                </a:solidFill>
                <a:latin typeface="Calibri" pitchFamily="34" charset="0"/>
              </a:rPr>
              <a:t>2</a:t>
            </a:r>
            <a:r>
              <a:rPr lang="en-US" sz="1600" b="1" dirty="0" smtClean="0">
                <a:solidFill>
                  <a:schemeClr val="bg1"/>
                </a:solidFill>
                <a:latin typeface="Calibri" pitchFamily="34" charset="0"/>
              </a:rPr>
              <a:t>. </a:t>
            </a:r>
            <a:r>
              <a:rPr lang="ja-JP" altLang="en-US" sz="1600" b="1" dirty="0" smtClean="0">
                <a:solidFill>
                  <a:schemeClr val="bg1"/>
                </a:solidFill>
                <a:latin typeface="Calibri" pitchFamily="34" charset="0"/>
              </a:rPr>
              <a:t>インド市場の分析</a:t>
            </a:r>
            <a:endParaRPr lang="en-GB" sz="1600" b="1" dirty="0">
              <a:solidFill>
                <a:schemeClr val="bg1"/>
              </a:solidFill>
              <a:latin typeface="Calibri" pitchFamily="34" charset="0"/>
            </a:endParaRPr>
          </a:p>
        </p:txBody>
      </p:sp>
      <p:sp>
        <p:nvSpPr>
          <p:cNvPr id="12" name="Rectangle 11"/>
          <p:cNvSpPr>
            <a:spLocks noChangeArrowheads="1"/>
          </p:cNvSpPr>
          <p:nvPr>
            <p:custDataLst>
              <p:tags r:id="rId3"/>
            </p:custDataLst>
          </p:nvPr>
        </p:nvSpPr>
        <p:spPr bwMode="auto">
          <a:xfrm>
            <a:off x="1066876" y="3676189"/>
            <a:ext cx="6450388" cy="427724"/>
          </a:xfrm>
          <a:prstGeom prst="rect">
            <a:avLst/>
          </a:prstGeom>
          <a:noFill/>
          <a:ln w="12700" algn="ctr">
            <a:noFill/>
            <a:miter lim="800000"/>
            <a:headEnd/>
            <a:tailEnd/>
          </a:ln>
        </p:spPr>
        <p:txBody>
          <a:bodyPr lIns="77893" tIns="38947" rIns="77893" bIns="38947" anchor="ctr"/>
          <a:lstStyle/>
          <a:p>
            <a:pPr marL="97389" defTabSz="779842"/>
            <a:r>
              <a:rPr lang="en-US" sz="1600" dirty="0">
                <a:solidFill>
                  <a:srgbClr val="000000"/>
                </a:solidFill>
                <a:latin typeface="Calibri" pitchFamily="34" charset="0"/>
              </a:rPr>
              <a:t>3</a:t>
            </a:r>
            <a:r>
              <a:rPr lang="en-US" sz="1600" dirty="0" smtClean="0">
                <a:solidFill>
                  <a:srgbClr val="000000"/>
                </a:solidFill>
                <a:latin typeface="Calibri" pitchFamily="34" charset="0"/>
              </a:rPr>
              <a:t>. </a:t>
            </a:r>
            <a:r>
              <a:rPr lang="ja-JP" altLang="en-US" sz="1600" dirty="0" smtClean="0">
                <a:solidFill>
                  <a:srgbClr val="000000"/>
                </a:solidFill>
                <a:latin typeface="Calibri" pitchFamily="34" charset="0"/>
              </a:rPr>
              <a:t>契約に向けたビジネスモデルの可能性</a:t>
            </a:r>
            <a:endParaRPr lang="en-GB" sz="1600" dirty="0">
              <a:solidFill>
                <a:srgbClr val="000000"/>
              </a:solidFill>
              <a:latin typeface="Calibri" pitchFamily="34" charset="0"/>
            </a:endParaRPr>
          </a:p>
        </p:txBody>
      </p:sp>
      <p:sp>
        <p:nvSpPr>
          <p:cNvPr id="13" name="Rectangle 12"/>
          <p:cNvSpPr>
            <a:spLocks noChangeArrowheads="1"/>
          </p:cNvSpPr>
          <p:nvPr>
            <p:custDataLst>
              <p:tags r:id="rId4"/>
            </p:custDataLst>
          </p:nvPr>
        </p:nvSpPr>
        <p:spPr bwMode="auto">
          <a:xfrm>
            <a:off x="1066876" y="4321293"/>
            <a:ext cx="6450388" cy="427724"/>
          </a:xfrm>
          <a:prstGeom prst="rect">
            <a:avLst/>
          </a:prstGeom>
          <a:noFill/>
          <a:ln w="12700" algn="ctr">
            <a:noFill/>
            <a:miter lim="800000"/>
            <a:headEnd/>
            <a:tailEnd/>
          </a:ln>
        </p:spPr>
        <p:txBody>
          <a:bodyPr lIns="77893" tIns="38947" rIns="77893" bIns="38947" anchor="ctr"/>
          <a:lstStyle/>
          <a:p>
            <a:pPr marL="97389" defTabSz="779842"/>
            <a:r>
              <a:rPr lang="en-US" sz="1600" dirty="0">
                <a:solidFill>
                  <a:srgbClr val="000000"/>
                </a:solidFill>
                <a:latin typeface="Calibri" pitchFamily="34" charset="0"/>
              </a:rPr>
              <a:t>4</a:t>
            </a:r>
            <a:r>
              <a:rPr lang="en-US" sz="1600" dirty="0" smtClean="0">
                <a:solidFill>
                  <a:srgbClr val="000000"/>
                </a:solidFill>
                <a:latin typeface="Calibri" pitchFamily="34" charset="0"/>
              </a:rPr>
              <a:t>. </a:t>
            </a:r>
            <a:r>
              <a:rPr lang="ja-JP" altLang="en-US" sz="1600" dirty="0" smtClean="0">
                <a:solidFill>
                  <a:srgbClr val="000000"/>
                </a:solidFill>
                <a:latin typeface="Calibri" pitchFamily="34" charset="0"/>
              </a:rPr>
              <a:t>次のステップ</a:t>
            </a:r>
            <a:endParaRPr lang="en-GB" sz="1600" dirty="0">
              <a:solidFill>
                <a:srgbClr val="000000"/>
              </a:solidFill>
              <a:latin typeface="Calibri" pitchFamily="34" charset="0"/>
            </a:endParaRPr>
          </a:p>
        </p:txBody>
      </p:sp>
    </p:spTree>
    <p:extLst>
      <p:ext uri="{BB962C8B-B14F-4D97-AF65-F5344CB8AC3E}">
        <p14:creationId xmlns:p14="http://schemas.microsoft.com/office/powerpoint/2010/main" val="2642725500"/>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ext uri="{D42A27DB-BD31-4B8C-83A1-F6EECF244321}">
                <p14:modId xmlns:p14="http://schemas.microsoft.com/office/powerpoint/2010/main" val="2687583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1817"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1588" y="1588"/>
                        <a:ext cx="1587" cy="1587"/>
                      </a:xfrm>
                      <a:prstGeom prst="rect">
                        <a:avLst/>
                      </a:prstGeom>
                    </p:spPr>
                  </p:pic>
                </p:oleObj>
              </mc:Fallback>
            </mc:AlternateContent>
          </a:graphicData>
        </a:graphic>
      </p:graphicFrame>
      <p:sp>
        <p:nvSpPr>
          <p:cNvPr id="7" name="Rectangle 6" hidden="1"/>
          <p:cNvSpPr/>
          <p:nvPr>
            <p:custDataLst>
              <p:tags r:id="rId3"/>
            </p:custDataLst>
          </p:nvPr>
        </p:nvSpPr>
        <p:spPr bwMode="auto">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a:latin typeface="Calibri" panose="020F0502020204030204" pitchFamily="34" charset="0"/>
              <a:sym typeface="Calibri" panose="020F0502020204030204" pitchFamily="34" charset="0"/>
            </a:endParaRPr>
          </a:p>
        </p:txBody>
      </p:sp>
      <p:sp>
        <p:nvSpPr>
          <p:cNvPr id="2" name="Title 1"/>
          <p:cNvSpPr>
            <a:spLocks noGrp="1"/>
          </p:cNvSpPr>
          <p:nvPr>
            <p:ph type="title"/>
          </p:nvPr>
        </p:nvSpPr>
        <p:spPr/>
        <p:txBody>
          <a:bodyPr/>
          <a:lstStyle/>
          <a:p>
            <a:r>
              <a:rPr lang="ja-JP" altLang="en-US" dirty="0" smtClean="0"/>
              <a:t>全世界で野外排泄をしている人の</a:t>
            </a:r>
            <a:r>
              <a:rPr lang="en-US" dirty="0" smtClean="0"/>
              <a:t>57</a:t>
            </a:r>
            <a:r>
              <a:rPr lang="ja-JP" altLang="en-US" dirty="0" smtClean="0"/>
              <a:t>％がインドに居住している。インドではトイレへのアクセスが非常に貧弱である</a:t>
            </a:r>
            <a:endParaRPr lang="en-US" dirty="0"/>
          </a:p>
        </p:txBody>
      </p:sp>
      <p:sp>
        <p:nvSpPr>
          <p:cNvPr id="3" name="Text Placeholder 2"/>
          <p:cNvSpPr>
            <a:spLocks noGrp="1"/>
          </p:cNvSpPr>
          <p:nvPr>
            <p:ph type="body" sz="quarter" idx="37"/>
          </p:nvPr>
        </p:nvSpPr>
        <p:spPr/>
        <p:txBody>
          <a:bodyPr/>
          <a:lstStyle/>
          <a:p>
            <a:r>
              <a:rPr lang="ja-JP" altLang="en-US" dirty="0" smtClean="0"/>
              <a:t>出典：国連－ミレニアム開発目標報告（</a:t>
            </a:r>
            <a:r>
              <a:rPr lang="en-US" altLang="ja-JP" dirty="0" smtClean="0"/>
              <a:t>2012</a:t>
            </a:r>
            <a:r>
              <a:rPr lang="ja-JP" altLang="en-US" dirty="0" smtClean="0"/>
              <a:t>年）、</a:t>
            </a:r>
            <a:r>
              <a:rPr lang="en-US" altLang="ja-JP" dirty="0" smtClean="0"/>
              <a:t>WHO</a:t>
            </a:r>
            <a:r>
              <a:rPr lang="ja-JP" altLang="en-US" dirty="0" smtClean="0"/>
              <a:t>／ユニセフ－共同モニタリングプログラム（</a:t>
            </a:r>
            <a:r>
              <a:rPr lang="en-US" altLang="ja-JP" dirty="0" smtClean="0"/>
              <a:t>JMP</a:t>
            </a:r>
            <a:r>
              <a:rPr lang="ja-JP" altLang="en-US" dirty="0" smtClean="0"/>
              <a:t>）、</a:t>
            </a:r>
            <a:r>
              <a:rPr lang="en-US" altLang="ja-JP" dirty="0" err="1" smtClean="0"/>
              <a:t>Dalberge</a:t>
            </a:r>
            <a:r>
              <a:rPr lang="en-US" altLang="ja-JP" dirty="0" smtClean="0"/>
              <a:t>  analysis</a:t>
            </a:r>
            <a:endParaRPr lang="en-US" dirty="0"/>
          </a:p>
        </p:txBody>
      </p:sp>
      <p:graphicFrame>
        <p:nvGraphicFramePr>
          <p:cNvPr id="5" name="Object 4"/>
          <p:cNvGraphicFramePr>
            <a:graphicFrameLocks/>
          </p:cNvGraphicFramePr>
          <p:nvPr>
            <p:custDataLst>
              <p:tags r:id="rId4"/>
            </p:custDataLst>
            <p:extLst>
              <p:ext uri="{D42A27DB-BD31-4B8C-83A1-F6EECF244321}">
                <p14:modId xmlns:p14="http://schemas.microsoft.com/office/powerpoint/2010/main" val="3977965817"/>
              </p:ext>
            </p:extLst>
          </p:nvPr>
        </p:nvGraphicFramePr>
        <p:xfrm>
          <a:off x="571500" y="2095500"/>
          <a:ext cx="3086234" cy="3086151"/>
        </p:xfrm>
        <a:graphic>
          <a:graphicData uri="http://schemas.openxmlformats.org/presentationml/2006/ole">
            <mc:AlternateContent xmlns:mc="http://schemas.openxmlformats.org/markup-compatibility/2006">
              <mc:Choice xmlns:v="urn:schemas-microsoft-com:vml" Requires="v">
                <p:oleObj spid="_x0000_s891818" name="Chart" r:id="rId25" imgW="3086234" imgH="3086151" progId="MSGraph.Chart.8">
                  <p:embed followColorScheme="full"/>
                </p:oleObj>
              </mc:Choice>
              <mc:Fallback>
                <p:oleObj name="Chart" r:id="rId25" imgW="3086234" imgH="3086151" progId="MSGraph.Chart.8">
                  <p:embed followColorScheme="full"/>
                  <p:pic>
                    <p:nvPicPr>
                      <p:cNvPr id="0" name=""/>
                      <p:cNvPicPr/>
                      <p:nvPr/>
                    </p:nvPicPr>
                    <p:blipFill>
                      <a:blip r:embed="rId26"/>
                      <a:stretch>
                        <a:fillRect/>
                      </a:stretch>
                    </p:blipFill>
                    <p:spPr>
                      <a:xfrm>
                        <a:off x="571500" y="2095500"/>
                        <a:ext cx="3086234" cy="3086151"/>
                      </a:xfrm>
                      <a:prstGeom prst="rect">
                        <a:avLst/>
                      </a:prstGeom>
                    </p:spPr>
                  </p:pic>
                </p:oleObj>
              </mc:Fallback>
            </mc:AlternateContent>
          </a:graphicData>
        </a:graphic>
      </p:graphicFrame>
      <p:sp>
        <p:nvSpPr>
          <p:cNvPr id="8" name="Text Placeholder 3"/>
          <p:cNvSpPr>
            <a:spLocks noGrp="1"/>
          </p:cNvSpPr>
          <p:nvPr>
            <p:custDataLst>
              <p:tags r:id="rId5"/>
            </p:custDataLst>
          </p:nvPr>
        </p:nvSpPr>
        <p:spPr bwMode="gray">
          <a:xfrm>
            <a:off x="736600" y="3278188"/>
            <a:ext cx="3095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0926C56-3981-4500-8BDE-009E1685B08B}" type="datetime'''4''''''''''''''''3''''''''''''''''''''''''%'''''''''">
              <a:rPr lang="en-US" sz="1200"/>
              <a:pPr/>
              <a:t>43%</a:t>
            </a:fld>
            <a:endParaRPr lang="en-US" sz="1200" dirty="0">
              <a:sym typeface="+mn-lt"/>
            </a:endParaRPr>
          </a:p>
        </p:txBody>
      </p:sp>
      <p:sp>
        <p:nvSpPr>
          <p:cNvPr id="6" name="Text Placeholder 2"/>
          <p:cNvSpPr>
            <a:spLocks noGrp="1"/>
          </p:cNvSpPr>
          <p:nvPr>
            <p:custDataLst>
              <p:tags r:id="rId6"/>
            </p:custDataLst>
          </p:nvPr>
        </p:nvSpPr>
        <p:spPr bwMode="gray">
          <a:xfrm>
            <a:off x="3197225" y="3827463"/>
            <a:ext cx="3095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12CFA9B-9AF2-4AF8-977A-A0F404BE9ACC}" type="datetime'''''''''''''''''''''''''''''''''''''''''5''7''%'''''''''">
              <a:rPr lang="en-US" sz="1200">
                <a:solidFill>
                  <a:schemeClr val="bg1"/>
                </a:solidFill>
              </a:rPr>
              <a:pPr/>
              <a:t>57%</a:t>
            </a:fld>
            <a:endParaRPr lang="en-US" sz="1200" dirty="0">
              <a:solidFill>
                <a:schemeClr val="bg1"/>
              </a:solidFill>
              <a:sym typeface="+mn-lt"/>
            </a:endParaRPr>
          </a:p>
        </p:txBody>
      </p:sp>
      <p:sp>
        <p:nvSpPr>
          <p:cNvPr id="16" name="Rectangle 15"/>
          <p:cNvSpPr/>
          <p:nvPr>
            <p:custDataLst>
              <p:tags r:id="rId7"/>
            </p:custDataLst>
          </p:nvPr>
        </p:nvSpPr>
        <p:spPr bwMode="auto">
          <a:xfrm>
            <a:off x="746125" y="5514975"/>
            <a:ext cx="214313" cy="160338"/>
          </a:xfrm>
          <a:prstGeom prst="rect">
            <a:avLst/>
          </a:prstGeom>
          <a:solidFill>
            <a:srgbClr val="DDDDDF"/>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custDataLst>
              <p:tags r:id="rId8"/>
            </p:custDataLst>
          </p:nvPr>
        </p:nvSpPr>
        <p:spPr bwMode="auto">
          <a:xfrm>
            <a:off x="746125" y="5281613"/>
            <a:ext cx="214313" cy="160338"/>
          </a:xfrm>
          <a:prstGeom prst="rect">
            <a:avLst/>
          </a:prstGeom>
          <a:solidFill>
            <a:srgbClr val="67103F"/>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0"/>
          <p:cNvSpPr>
            <a:spLocks noGrp="1"/>
          </p:cNvSpPr>
          <p:nvPr>
            <p:custDataLst>
              <p:tags r:id="rId9"/>
            </p:custDataLst>
          </p:nvPr>
        </p:nvSpPr>
        <p:spPr bwMode="auto">
          <a:xfrm>
            <a:off x="1011238" y="5510213"/>
            <a:ext cx="10588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ja-JP" altLang="en-US" sz="1200" dirty="0" smtClean="0">
                <a:sym typeface="+mn-lt"/>
              </a:rPr>
              <a:t>その他の国々</a:t>
            </a:r>
            <a:endParaRPr lang="en-US" sz="1200" dirty="0">
              <a:sym typeface="+mn-lt"/>
            </a:endParaRPr>
          </a:p>
        </p:txBody>
      </p:sp>
      <p:sp>
        <p:nvSpPr>
          <p:cNvPr id="10" name="Text Placeholder 9"/>
          <p:cNvSpPr>
            <a:spLocks noGrp="1"/>
          </p:cNvSpPr>
          <p:nvPr>
            <p:custDataLst>
              <p:tags r:id="rId10"/>
            </p:custDataLst>
          </p:nvPr>
        </p:nvSpPr>
        <p:spPr bwMode="auto">
          <a:xfrm>
            <a:off x="1011238" y="5276850"/>
            <a:ext cx="30480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ja-JP" altLang="en-US" sz="1200" dirty="0" smtClean="0">
                <a:sym typeface="+mn-lt"/>
              </a:rPr>
              <a:t>インド</a:t>
            </a:r>
            <a:endParaRPr lang="en-US" sz="1200" dirty="0">
              <a:sym typeface="+mn-lt"/>
            </a:endParaRPr>
          </a:p>
        </p:txBody>
      </p:sp>
      <p:sp>
        <p:nvSpPr>
          <p:cNvPr id="17" name="TextBox 16"/>
          <p:cNvSpPr txBox="1"/>
          <p:nvPr/>
        </p:nvSpPr>
        <p:spPr>
          <a:xfrm>
            <a:off x="456139" y="1154403"/>
            <a:ext cx="3483850" cy="457200"/>
          </a:xfrm>
          <a:prstGeom prst="rect">
            <a:avLst/>
          </a:prstGeom>
          <a:noFill/>
        </p:spPr>
        <p:txBody>
          <a:bodyPr wrap="square" lIns="0" tIns="0" rIns="0" bIns="0" rtlCol="0">
            <a:noAutofit/>
          </a:bodyPr>
          <a:lstStyle/>
          <a:p>
            <a:r>
              <a:rPr lang="ja-JP" altLang="en-US" sz="1400" b="1" dirty="0" smtClean="0"/>
              <a:t>全世界で野外排泄をしている人の規模</a:t>
            </a:r>
            <a:endParaRPr lang="en-US" sz="1400" b="1" baseline="30000" dirty="0"/>
          </a:p>
          <a:p>
            <a:r>
              <a:rPr lang="ja-JP" altLang="en-US" sz="1400" i="1" dirty="0" smtClean="0"/>
              <a:t>各国の人数が世界全体の人数に占める割合（</a:t>
            </a:r>
            <a:r>
              <a:rPr lang="en-US" sz="1400" i="1" dirty="0" smtClean="0"/>
              <a:t> 2010</a:t>
            </a:r>
            <a:r>
              <a:rPr lang="ja-JP" altLang="en-US" sz="1400" i="1" dirty="0" smtClean="0"/>
              <a:t>年）</a:t>
            </a:r>
            <a:endParaRPr lang="en-US" sz="1400" i="1" dirty="0"/>
          </a:p>
        </p:txBody>
      </p:sp>
      <p:cxnSp>
        <p:nvCxnSpPr>
          <p:cNvPr id="18" name="Straight Connector 17"/>
          <p:cNvCxnSpPr/>
          <p:nvPr/>
        </p:nvCxnSpPr>
        <p:spPr>
          <a:xfrm flipV="1">
            <a:off x="2128402" y="1877195"/>
            <a:ext cx="2443598" cy="236406"/>
          </a:xfrm>
          <a:prstGeom prst="line">
            <a:avLst/>
          </a:prstGeom>
          <a:ln>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540669" y="5039897"/>
            <a:ext cx="3031331" cy="336012"/>
          </a:xfrm>
          <a:prstGeom prst="line">
            <a:avLst/>
          </a:prstGeom>
          <a:ln>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4841875" y="1154403"/>
            <a:ext cx="3886489" cy="457200"/>
          </a:xfrm>
          <a:prstGeom prst="rect">
            <a:avLst/>
          </a:prstGeom>
          <a:noFill/>
        </p:spPr>
        <p:txBody>
          <a:bodyPr wrap="square" lIns="0" tIns="0" rIns="0" bIns="0" rtlCol="0">
            <a:noAutofit/>
          </a:bodyPr>
          <a:lstStyle/>
          <a:p>
            <a:pPr marL="213952" indent="-213952"/>
            <a:r>
              <a:rPr lang="ja-JP" altLang="en-US" sz="1400" b="1" dirty="0" smtClean="0"/>
              <a:t>インドにおけるトイレへのアクセス</a:t>
            </a:r>
            <a:endParaRPr lang="en-US" sz="1400" b="1" dirty="0"/>
          </a:p>
          <a:p>
            <a:pPr marL="213952" indent="-213952"/>
            <a:r>
              <a:rPr lang="ja-JP" altLang="en-US" sz="1400" i="1" dirty="0" smtClean="0"/>
              <a:t>トイレへのアクセスのない人の割合（</a:t>
            </a:r>
            <a:r>
              <a:rPr lang="en-US" sz="1400" i="1" dirty="0" smtClean="0"/>
              <a:t> 2012</a:t>
            </a:r>
            <a:r>
              <a:rPr lang="ja-JP" altLang="en-US" sz="1400" i="1" dirty="0" smtClean="0"/>
              <a:t>年）</a:t>
            </a:r>
            <a:endParaRPr lang="en-US" sz="1400" i="1" dirty="0"/>
          </a:p>
        </p:txBody>
      </p:sp>
      <p:graphicFrame>
        <p:nvGraphicFramePr>
          <p:cNvPr id="28" name="Object 27"/>
          <p:cNvGraphicFramePr>
            <a:graphicFrameLocks/>
          </p:cNvGraphicFramePr>
          <p:nvPr>
            <p:custDataLst>
              <p:tags r:id="rId11"/>
            </p:custDataLst>
            <p:extLst>
              <p:ext uri="{D42A27DB-BD31-4B8C-83A1-F6EECF244321}">
                <p14:modId xmlns:p14="http://schemas.microsoft.com/office/powerpoint/2010/main" val="483801915"/>
              </p:ext>
            </p:extLst>
          </p:nvPr>
        </p:nvGraphicFramePr>
        <p:xfrm>
          <a:off x="4724400" y="1981200"/>
          <a:ext cx="3295708" cy="3114764"/>
        </p:xfrm>
        <a:graphic>
          <a:graphicData uri="http://schemas.openxmlformats.org/presentationml/2006/ole">
            <mc:AlternateContent xmlns:mc="http://schemas.openxmlformats.org/markup-compatibility/2006">
              <mc:Choice xmlns:v="urn:schemas-microsoft-com:vml" Requires="v">
                <p:oleObj spid="_x0000_s891819" name="Chart" r:id="rId27" imgW="3295708" imgH="3114764" progId="MSGraph.Chart.8">
                  <p:embed followColorScheme="full"/>
                </p:oleObj>
              </mc:Choice>
              <mc:Fallback>
                <p:oleObj name="Chart" r:id="rId27" imgW="3295708" imgH="3114764" progId="MSGraph.Chart.8">
                  <p:embed followColorScheme="full"/>
                  <p:pic>
                    <p:nvPicPr>
                      <p:cNvPr id="0" name=""/>
                      <p:cNvPicPr/>
                      <p:nvPr/>
                    </p:nvPicPr>
                    <p:blipFill>
                      <a:blip r:embed="rId28"/>
                      <a:stretch>
                        <a:fillRect/>
                      </a:stretch>
                    </p:blipFill>
                    <p:spPr>
                      <a:xfrm>
                        <a:off x="4724400" y="1981200"/>
                        <a:ext cx="3295708" cy="3114764"/>
                      </a:xfrm>
                      <a:prstGeom prst="rect">
                        <a:avLst/>
                      </a:prstGeom>
                    </p:spPr>
                  </p:pic>
                </p:oleObj>
              </mc:Fallback>
            </mc:AlternateContent>
          </a:graphicData>
        </a:graphic>
      </p:graphicFrame>
      <p:sp>
        <p:nvSpPr>
          <p:cNvPr id="41" name="Text Placeholder 13"/>
          <p:cNvSpPr>
            <a:spLocks noGrp="1"/>
          </p:cNvSpPr>
          <p:nvPr>
            <p:custDataLst>
              <p:tags r:id="rId12"/>
            </p:custDataLst>
          </p:nvPr>
        </p:nvSpPr>
        <p:spPr bwMode="gray">
          <a:xfrm>
            <a:off x="5199063" y="4381500"/>
            <a:ext cx="3095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472412EE-83B7-4BA2-8C63-0DAC6CD7C313}" type="datetime'''''''36''''''''''''''''''''''%'''''''''''''''''''''''''''">
              <a:rPr lang="en-US" sz="1200">
                <a:latin typeface="Calibri" panose="020F0502020204030204" pitchFamily="34" charset="0"/>
                <a:sym typeface="Calibri" panose="020F0502020204030204" pitchFamily="34" charset="0"/>
              </a:rPr>
              <a:pPr marL="0" indent="0" algn="ctr">
                <a:spcBef>
                  <a:spcPct val="0"/>
                </a:spcBef>
                <a:spcAft>
                  <a:spcPct val="0"/>
                </a:spcAft>
                <a:buNone/>
              </a:pPr>
              <a:t>36%</a:t>
            </a:fld>
            <a:endParaRPr lang="en-US" sz="1200" dirty="0">
              <a:latin typeface="Calibri" panose="020F0502020204030204" pitchFamily="34" charset="0"/>
              <a:sym typeface="Calibri" panose="020F0502020204030204" pitchFamily="34" charset="0"/>
            </a:endParaRPr>
          </a:p>
        </p:txBody>
      </p:sp>
      <p:sp>
        <p:nvSpPr>
          <p:cNvPr id="42" name="Text Placeholder 14"/>
          <p:cNvSpPr>
            <a:spLocks noGrp="1"/>
          </p:cNvSpPr>
          <p:nvPr>
            <p:custDataLst>
              <p:tags r:id="rId13"/>
            </p:custDataLst>
          </p:nvPr>
        </p:nvSpPr>
        <p:spPr bwMode="gray">
          <a:xfrm>
            <a:off x="5199063" y="2938463"/>
            <a:ext cx="3095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2814D316-5D59-48D5-9A89-F7ACA26033F1}" type="datetime'''''''''''''''''6''''4%'''''''''''">
              <a:rPr lang="en-US" sz="1200">
                <a:solidFill>
                  <a:schemeClr val="bg1"/>
                </a:solidFill>
                <a:latin typeface="Calibri" panose="020F0502020204030204" pitchFamily="34" charset="0"/>
                <a:sym typeface="Calibri" panose="020F0502020204030204" pitchFamily="34" charset="0"/>
              </a:rPr>
              <a:pPr marL="0" indent="0" algn="ctr">
                <a:spcBef>
                  <a:spcPct val="0"/>
                </a:spcBef>
                <a:spcAft>
                  <a:spcPct val="0"/>
                </a:spcAft>
                <a:buNone/>
              </a:pPr>
              <a:t>64%</a:t>
            </a:fld>
            <a:endParaRPr lang="en-US" sz="1200" dirty="0">
              <a:solidFill>
                <a:schemeClr val="bg1"/>
              </a:solidFill>
              <a:latin typeface="Calibri" panose="020F0502020204030204" pitchFamily="34" charset="0"/>
              <a:sym typeface="Calibri" panose="020F0502020204030204" pitchFamily="34" charset="0"/>
            </a:endParaRPr>
          </a:p>
        </p:txBody>
      </p:sp>
      <p:sp>
        <p:nvSpPr>
          <p:cNvPr id="45" name="Text Placeholder 17"/>
          <p:cNvSpPr>
            <a:spLocks noGrp="1"/>
          </p:cNvSpPr>
          <p:nvPr>
            <p:custDataLst>
              <p:tags r:id="rId14"/>
            </p:custDataLst>
          </p:nvPr>
        </p:nvSpPr>
        <p:spPr bwMode="gray">
          <a:xfrm>
            <a:off x="7256463" y="4033838"/>
            <a:ext cx="3095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A7854B8-3B6F-49AB-BAB6-D916C404CC8B}" type="datetime'''''6''''''''''0''''''''''''''''''%'''''''''">
              <a:rPr lang="en-US" sz="1200">
                <a:latin typeface="Calibri" panose="020F0502020204030204" pitchFamily="34" charset="0"/>
                <a:sym typeface="Calibri" panose="020F0502020204030204" pitchFamily="34" charset="0"/>
              </a:rPr>
              <a:pPr marL="0" indent="0" algn="ctr">
                <a:spcBef>
                  <a:spcPct val="0"/>
                </a:spcBef>
                <a:spcAft>
                  <a:spcPct val="0"/>
                </a:spcAft>
                <a:buNone/>
              </a:pPr>
              <a:t>60%</a:t>
            </a:fld>
            <a:endParaRPr lang="en-US" sz="1200" dirty="0">
              <a:latin typeface="Calibri" panose="020F0502020204030204" pitchFamily="34" charset="0"/>
              <a:sym typeface="Calibri" panose="020F0502020204030204" pitchFamily="34" charset="0"/>
            </a:endParaRPr>
          </a:p>
        </p:txBody>
      </p:sp>
      <p:sp>
        <p:nvSpPr>
          <p:cNvPr id="43" name="Text Placeholder 15"/>
          <p:cNvSpPr>
            <a:spLocks noGrp="1"/>
          </p:cNvSpPr>
          <p:nvPr>
            <p:custDataLst>
              <p:tags r:id="rId15"/>
            </p:custDataLst>
          </p:nvPr>
        </p:nvSpPr>
        <p:spPr bwMode="gray">
          <a:xfrm>
            <a:off x="6227763" y="4543425"/>
            <a:ext cx="3095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0BFCFC7-B46A-4D8E-9355-EE8117527624}" type="datetime'2''''''''''''''''''''5''''''''''''''''''''''''''''''''''%'">
              <a:rPr lang="en-US" sz="1200">
                <a:latin typeface="Calibri" panose="020F0502020204030204" pitchFamily="34" charset="0"/>
                <a:sym typeface="Calibri" panose="020F0502020204030204" pitchFamily="34" charset="0"/>
              </a:rPr>
              <a:pPr marL="0" indent="0" algn="ctr">
                <a:spcBef>
                  <a:spcPct val="0"/>
                </a:spcBef>
                <a:spcAft>
                  <a:spcPct val="0"/>
                </a:spcAft>
                <a:buNone/>
              </a:pPr>
              <a:t>25%</a:t>
            </a:fld>
            <a:endParaRPr lang="en-US" sz="1200" dirty="0">
              <a:latin typeface="Calibri" panose="020F0502020204030204" pitchFamily="34" charset="0"/>
              <a:sym typeface="Calibri" panose="020F0502020204030204" pitchFamily="34" charset="0"/>
            </a:endParaRPr>
          </a:p>
        </p:txBody>
      </p:sp>
      <p:sp>
        <p:nvSpPr>
          <p:cNvPr id="44" name="Text Placeholder 16"/>
          <p:cNvSpPr>
            <a:spLocks noGrp="1"/>
          </p:cNvSpPr>
          <p:nvPr>
            <p:custDataLst>
              <p:tags r:id="rId16"/>
            </p:custDataLst>
          </p:nvPr>
        </p:nvSpPr>
        <p:spPr bwMode="gray">
          <a:xfrm>
            <a:off x="6227763" y="3100388"/>
            <a:ext cx="3095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336E92FE-2D56-4B3B-9B86-F1FE18B85173}" type="datetime'''''''''''''''''''''''''7''''''''5''''''''''''''''''%'''''''">
              <a:rPr lang="en-US" sz="1200">
                <a:solidFill>
                  <a:schemeClr val="bg1"/>
                </a:solidFill>
                <a:latin typeface="Calibri" panose="020F0502020204030204" pitchFamily="34" charset="0"/>
                <a:sym typeface="Calibri" panose="020F0502020204030204" pitchFamily="34" charset="0"/>
              </a:rPr>
              <a:pPr marL="0" indent="0" algn="ctr">
                <a:spcBef>
                  <a:spcPct val="0"/>
                </a:spcBef>
                <a:spcAft>
                  <a:spcPct val="0"/>
                </a:spcAft>
                <a:buNone/>
              </a:pPr>
              <a:t>75%</a:t>
            </a:fld>
            <a:endParaRPr lang="en-US" sz="1200" dirty="0">
              <a:solidFill>
                <a:schemeClr val="bg1"/>
              </a:solidFill>
              <a:latin typeface="Calibri" panose="020F0502020204030204" pitchFamily="34" charset="0"/>
              <a:sym typeface="Calibri" panose="020F0502020204030204" pitchFamily="34" charset="0"/>
            </a:endParaRPr>
          </a:p>
        </p:txBody>
      </p:sp>
      <p:sp>
        <p:nvSpPr>
          <p:cNvPr id="32" name="Text Placeholder 2"/>
          <p:cNvSpPr>
            <a:spLocks noGrp="1"/>
          </p:cNvSpPr>
          <p:nvPr>
            <p:custDataLst>
              <p:tags r:id="rId17"/>
            </p:custDataLst>
          </p:nvPr>
        </p:nvSpPr>
        <p:spPr bwMode="auto">
          <a:xfrm>
            <a:off x="5097304" y="5135562"/>
            <a:ext cx="513080" cy="226219"/>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1200" dirty="0" smtClean="0"/>
              <a:t>インド</a:t>
            </a:r>
            <a:endParaRPr lang="en-US" sz="1200" dirty="0">
              <a:sym typeface="+mn-lt"/>
            </a:endParaRPr>
          </a:p>
        </p:txBody>
      </p:sp>
      <p:sp>
        <p:nvSpPr>
          <p:cNvPr id="23" name="Text Placeholder 2"/>
          <p:cNvSpPr>
            <a:spLocks noGrp="1"/>
          </p:cNvSpPr>
          <p:nvPr>
            <p:custDataLst>
              <p:tags r:id="rId18"/>
            </p:custDataLst>
          </p:nvPr>
        </p:nvSpPr>
        <p:spPr bwMode="auto">
          <a:xfrm>
            <a:off x="6216650" y="5130800"/>
            <a:ext cx="331788"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1200" dirty="0" smtClean="0">
                <a:latin typeface="Calibri" panose="020F0502020204030204" pitchFamily="34" charset="0"/>
                <a:sym typeface="Calibri" panose="020F0502020204030204" pitchFamily="34" charset="0"/>
              </a:rPr>
              <a:t>農村</a:t>
            </a:r>
            <a:endParaRPr lang="en-US" sz="1200" dirty="0">
              <a:latin typeface="Calibri" panose="020F0502020204030204" pitchFamily="34" charset="0"/>
              <a:sym typeface="Calibri" panose="020F0502020204030204" pitchFamily="34" charset="0"/>
            </a:endParaRPr>
          </a:p>
        </p:txBody>
      </p:sp>
      <p:sp>
        <p:nvSpPr>
          <p:cNvPr id="46" name="Text Placeholder 18"/>
          <p:cNvSpPr>
            <a:spLocks noGrp="1"/>
          </p:cNvSpPr>
          <p:nvPr>
            <p:custDataLst>
              <p:tags r:id="rId19"/>
            </p:custDataLst>
          </p:nvPr>
        </p:nvSpPr>
        <p:spPr bwMode="gray">
          <a:xfrm>
            <a:off x="7256463" y="2590800"/>
            <a:ext cx="3095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22225" tIns="0" rIns="22225"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EED58F7F-DE25-4A8F-B397-1571A82788A8}" type="datetime'40''''''''''''''''''''''''''''%'''''''''''''''''''">
              <a:rPr lang="en-US" sz="1200">
                <a:solidFill>
                  <a:schemeClr val="bg1"/>
                </a:solidFill>
                <a:latin typeface="Calibri" panose="020F0502020204030204" pitchFamily="34" charset="0"/>
                <a:sym typeface="Calibri" panose="020F0502020204030204" pitchFamily="34" charset="0"/>
              </a:rPr>
              <a:pPr marL="0" indent="0" algn="ctr">
                <a:spcBef>
                  <a:spcPct val="0"/>
                </a:spcBef>
                <a:spcAft>
                  <a:spcPct val="0"/>
                </a:spcAft>
                <a:buNone/>
              </a:pPr>
              <a:t>40%</a:t>
            </a:fld>
            <a:endParaRPr lang="en-US" sz="1200" dirty="0">
              <a:solidFill>
                <a:schemeClr val="bg1"/>
              </a:solidFill>
              <a:latin typeface="Calibri" panose="020F0502020204030204" pitchFamily="34" charset="0"/>
              <a:sym typeface="Calibri" panose="020F0502020204030204" pitchFamily="34" charset="0"/>
            </a:endParaRPr>
          </a:p>
        </p:txBody>
      </p:sp>
      <p:sp>
        <p:nvSpPr>
          <p:cNvPr id="29" name="Text Placeholder 13"/>
          <p:cNvSpPr>
            <a:spLocks noGrp="1"/>
          </p:cNvSpPr>
          <p:nvPr>
            <p:custDataLst>
              <p:tags r:id="rId20"/>
            </p:custDataLst>
          </p:nvPr>
        </p:nvSpPr>
        <p:spPr bwMode="auto">
          <a:xfrm>
            <a:off x="7816850" y="2498725"/>
            <a:ext cx="987425" cy="3651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spcAft>
                <a:spcPct val="0"/>
              </a:spcAft>
              <a:buNone/>
            </a:pPr>
            <a:r>
              <a:rPr lang="ja-JP" altLang="en-US" sz="1200" dirty="0" smtClean="0"/>
              <a:t>トイレへの</a:t>
            </a:r>
          </a:p>
          <a:p>
            <a:pPr marL="0" indent="0">
              <a:spcBef>
                <a:spcPct val="0"/>
              </a:spcBef>
              <a:spcAft>
                <a:spcPct val="0"/>
              </a:spcAft>
              <a:buNone/>
            </a:pPr>
            <a:r>
              <a:rPr lang="ja-JP" altLang="en-US" sz="1200" dirty="0" smtClean="0"/>
              <a:t>アクセスのない人</a:t>
            </a:r>
            <a:endParaRPr lang="en-US" sz="1200" dirty="0">
              <a:sym typeface="+mn-lt"/>
            </a:endParaRPr>
          </a:p>
        </p:txBody>
      </p:sp>
      <p:sp>
        <p:nvSpPr>
          <p:cNvPr id="25" name="Text Placeholder 3"/>
          <p:cNvSpPr>
            <a:spLocks noGrp="1"/>
          </p:cNvSpPr>
          <p:nvPr>
            <p:custDataLst>
              <p:tags r:id="rId21"/>
            </p:custDataLst>
          </p:nvPr>
        </p:nvSpPr>
        <p:spPr bwMode="auto">
          <a:xfrm>
            <a:off x="7213600" y="5130800"/>
            <a:ext cx="395288"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1200" dirty="0" smtClean="0">
                <a:latin typeface="Calibri" panose="020F0502020204030204" pitchFamily="34" charset="0"/>
                <a:sym typeface="Calibri" panose="020F0502020204030204" pitchFamily="34" charset="0"/>
              </a:rPr>
              <a:t>都市</a:t>
            </a:r>
            <a:endParaRPr lang="en-US" sz="1200" dirty="0">
              <a:latin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152559582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353160" y="265236"/>
          <a:ext cx="1465" cy="1465"/>
        </p:xfrm>
        <a:graphic>
          <a:graphicData uri="http://schemas.openxmlformats.org/presentationml/2006/ole">
            <mc:AlternateContent xmlns:mc="http://schemas.openxmlformats.org/markup-compatibility/2006">
              <mc:Choice xmlns:v="urn:schemas-microsoft-com:vml" Requires="v">
                <p:oleObj spid="_x0000_s912838" name="think-cell Slide" r:id="rId32" imgW="270" imgH="270" progId="TCLayout.ActiveDocument.1">
                  <p:embed/>
                </p:oleObj>
              </mc:Choice>
              <mc:Fallback>
                <p:oleObj name="think-cell Slide" r:id="rId32" imgW="270" imgH="270" progId="TCLayout.ActiveDocument.1">
                  <p:embed/>
                  <p:pic>
                    <p:nvPicPr>
                      <p:cNvPr id="0" name=""/>
                      <p:cNvPicPr/>
                      <p:nvPr/>
                    </p:nvPicPr>
                    <p:blipFill>
                      <a:blip r:embed="rId33"/>
                      <a:stretch>
                        <a:fillRect/>
                      </a:stretch>
                    </p:blipFill>
                    <p:spPr>
                      <a:xfrm>
                        <a:off x="353160" y="265236"/>
                        <a:ext cx="1465" cy="1465"/>
                      </a:xfrm>
                      <a:prstGeom prst="rect">
                        <a:avLst/>
                      </a:prstGeom>
                    </p:spPr>
                  </p:pic>
                </p:oleObj>
              </mc:Fallback>
            </mc:AlternateContent>
          </a:graphicData>
        </a:graphic>
      </p:graphicFrame>
      <p:sp>
        <p:nvSpPr>
          <p:cNvPr id="13" name="Rectangle 12" hidden="1"/>
          <p:cNvSpPr/>
          <p:nvPr>
            <p:custDataLst>
              <p:tags r:id="rId3"/>
            </p:custDataLst>
          </p:nvPr>
        </p:nvSpPr>
        <p:spPr bwMode="auto">
          <a:xfrm>
            <a:off x="351693" y="263769"/>
            <a:ext cx="146538" cy="1465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92">
              <a:latin typeface="Calibri" panose="020F0502020204030204" pitchFamily="34" charset="0"/>
              <a:sym typeface="Calibri" panose="020F0502020204030204" pitchFamily="34" charset="0"/>
            </a:endParaRPr>
          </a:p>
        </p:txBody>
      </p:sp>
      <p:sp>
        <p:nvSpPr>
          <p:cNvPr id="2" name="Title 1"/>
          <p:cNvSpPr>
            <a:spLocks noGrp="1"/>
          </p:cNvSpPr>
          <p:nvPr>
            <p:ph type="title"/>
          </p:nvPr>
        </p:nvSpPr>
        <p:spPr/>
        <p:txBody>
          <a:bodyPr/>
          <a:lstStyle/>
          <a:p>
            <a:r>
              <a:rPr lang="ja-JP" altLang="en-US" dirty="0" smtClean="0"/>
              <a:t>インドのトイレは特に処理の点で大きな違いがある。インドでは排泄物の</a:t>
            </a:r>
            <a:r>
              <a:rPr lang="en-US" dirty="0" smtClean="0"/>
              <a:t>93</a:t>
            </a:r>
            <a:r>
              <a:rPr lang="ja-JP" altLang="en-US" dirty="0" smtClean="0"/>
              <a:t>％が未処理のまま</a:t>
            </a:r>
            <a:endParaRPr lang="en-US" dirty="0"/>
          </a:p>
        </p:txBody>
      </p:sp>
      <p:sp>
        <p:nvSpPr>
          <p:cNvPr id="3" name="Text Placeholder 2"/>
          <p:cNvSpPr>
            <a:spLocks noGrp="1"/>
          </p:cNvSpPr>
          <p:nvPr>
            <p:ph type="body" sz="quarter" idx="37"/>
          </p:nvPr>
        </p:nvSpPr>
        <p:spPr>
          <a:xfrm>
            <a:off x="415926" y="6493124"/>
            <a:ext cx="7602658" cy="356934"/>
          </a:xfrm>
        </p:spPr>
        <p:txBody>
          <a:bodyPr/>
          <a:lstStyle/>
          <a:p>
            <a:r>
              <a:rPr lang="ja-JP" altLang="en-US" sz="800" dirty="0" smtClean="0"/>
              <a:t>注：</a:t>
            </a:r>
            <a:r>
              <a:rPr lang="en-US" sz="800" dirty="0" smtClean="0"/>
              <a:t> </a:t>
            </a:r>
            <a:r>
              <a:rPr lang="ja-JP" altLang="en-US" sz="800" dirty="0" smtClean="0"/>
              <a:t>（</a:t>
            </a:r>
            <a:r>
              <a:rPr lang="en-US" sz="800" dirty="0" smtClean="0"/>
              <a:t>1</a:t>
            </a:r>
            <a:r>
              <a:rPr lang="ja-JP" altLang="en-US" sz="800" dirty="0" smtClean="0"/>
              <a:t>）改良／非改良は</a:t>
            </a:r>
            <a:r>
              <a:rPr lang="en-US" sz="800" dirty="0" smtClean="0"/>
              <a:t>WHO</a:t>
            </a:r>
            <a:r>
              <a:rPr lang="ja-JP" altLang="en-US" sz="800" dirty="0" smtClean="0"/>
              <a:t>の定義による；（</a:t>
            </a:r>
            <a:r>
              <a:rPr lang="en-US" sz="800" dirty="0" smtClean="0"/>
              <a:t>2</a:t>
            </a:r>
            <a:r>
              <a:rPr lang="ja-JP" altLang="en-US" sz="800" dirty="0" smtClean="0"/>
              <a:t>）その他には注水式水洗トイレなどのシステムや、人や動物がし尿を捨てるのに使う蓋なし排水溝やラトリンといった原始的な方法が含まれる；（</a:t>
            </a:r>
            <a:r>
              <a:rPr lang="en-US" sz="800" dirty="0" smtClean="0"/>
              <a:t>3</a:t>
            </a:r>
            <a:r>
              <a:rPr lang="ja-JP" altLang="en-US" sz="800" dirty="0" smtClean="0"/>
              <a:t>）</a:t>
            </a:r>
            <a:r>
              <a:rPr lang="en-US" sz="800" dirty="0" smtClean="0"/>
              <a:t> </a:t>
            </a:r>
            <a:r>
              <a:rPr lang="ja-JP" altLang="en-US" sz="800" dirty="0" smtClean="0"/>
              <a:t>専門家の意見によればインドの農村地域ではし尿処理施設へのアクセスはないと推定される；（</a:t>
            </a:r>
            <a:r>
              <a:rPr lang="en-US" sz="800" dirty="0" smtClean="0"/>
              <a:t>4</a:t>
            </a:r>
            <a:r>
              <a:rPr lang="ja-JP" altLang="en-US" sz="800" dirty="0" smtClean="0"/>
              <a:t>）農村地域で出る排泄物についてのデータは入手できない。従って簡単にするために、平均的な農村世帯では（データが入手可能な）都市部の世帯と同量の下水廃棄物が出ると推定する；</a:t>
            </a:r>
            <a:endParaRPr lang="en-US" sz="800" dirty="0" smtClean="0"/>
          </a:p>
          <a:p>
            <a:r>
              <a:rPr lang="ja-JP" altLang="en-US" sz="800" dirty="0" smtClean="0"/>
              <a:t>出典：</a:t>
            </a:r>
            <a:r>
              <a:rPr lang="en-US" altLang="ja-JP" sz="800" dirty="0" smtClean="0"/>
              <a:t>2011</a:t>
            </a:r>
            <a:r>
              <a:rPr lang="ja-JP" altLang="en-US" sz="800" dirty="0" smtClean="0"/>
              <a:t>年インド・センサス、インド中央公害管理局（</a:t>
            </a:r>
            <a:r>
              <a:rPr lang="en-US" altLang="ja-JP" sz="800" dirty="0" smtClean="0"/>
              <a:t>CPCB</a:t>
            </a:r>
            <a:r>
              <a:rPr lang="ja-JP" altLang="en-US" sz="800" dirty="0" smtClean="0"/>
              <a:t>）による「インドにおける下水処理の状況」</a:t>
            </a:r>
            <a:r>
              <a:rPr lang="en-US" altLang="ja-JP" sz="800" dirty="0" smtClean="0"/>
              <a:t>2005</a:t>
            </a:r>
            <a:r>
              <a:rPr lang="ja-JP" altLang="en-US" sz="800" dirty="0" smtClean="0"/>
              <a:t>年・</a:t>
            </a:r>
            <a:r>
              <a:rPr lang="en-US" altLang="ja-JP" sz="800" dirty="0" smtClean="0"/>
              <a:t>2013</a:t>
            </a:r>
            <a:r>
              <a:rPr lang="ja-JP" altLang="en-US" sz="800" dirty="0" smtClean="0"/>
              <a:t>年報告；</a:t>
            </a:r>
            <a:r>
              <a:rPr lang="en-US" sz="800" dirty="0" err="1" smtClean="0"/>
              <a:t>Dalberg</a:t>
            </a:r>
            <a:r>
              <a:rPr lang="en-US" sz="800" dirty="0" smtClean="0"/>
              <a:t> analysis</a:t>
            </a:r>
            <a:endParaRPr lang="en-US" sz="800" dirty="0"/>
          </a:p>
        </p:txBody>
      </p:sp>
      <p:graphicFrame>
        <p:nvGraphicFramePr>
          <p:cNvPr id="10" name="Object 9"/>
          <p:cNvGraphicFramePr>
            <a:graphicFrameLocks/>
          </p:cNvGraphicFramePr>
          <p:nvPr>
            <p:custDataLst>
              <p:tags r:id="rId4"/>
            </p:custDataLst>
            <p:extLst/>
          </p:nvPr>
        </p:nvGraphicFramePr>
        <p:xfrm>
          <a:off x="949570" y="1881555"/>
          <a:ext cx="1274785" cy="3191611"/>
        </p:xfrm>
        <a:graphic>
          <a:graphicData uri="http://schemas.openxmlformats.org/presentationml/2006/ole">
            <mc:AlternateContent xmlns:mc="http://schemas.openxmlformats.org/markup-compatibility/2006">
              <mc:Choice xmlns:v="urn:schemas-microsoft-com:vml" Requires="v">
                <p:oleObj spid="_x0000_s912839" name="Chart" r:id="rId34" imgW="1381017" imgH="3457579" progId="MSGraph.Chart.8">
                  <p:embed followColorScheme="full"/>
                </p:oleObj>
              </mc:Choice>
              <mc:Fallback>
                <p:oleObj name="Chart" r:id="rId34" imgW="1381017" imgH="3457579" progId="MSGraph.Chart.8">
                  <p:embed followColorScheme="full"/>
                  <p:pic>
                    <p:nvPicPr>
                      <p:cNvPr id="0" name=""/>
                      <p:cNvPicPr/>
                      <p:nvPr/>
                    </p:nvPicPr>
                    <p:blipFill>
                      <a:blip r:embed="rId35"/>
                      <a:stretch>
                        <a:fillRect/>
                      </a:stretch>
                    </p:blipFill>
                    <p:spPr>
                      <a:xfrm>
                        <a:off x="949570" y="1881555"/>
                        <a:ext cx="1274785" cy="3191611"/>
                      </a:xfrm>
                      <a:prstGeom prst="rect">
                        <a:avLst/>
                      </a:prstGeom>
                    </p:spPr>
                  </p:pic>
                </p:oleObj>
              </mc:Fallback>
            </mc:AlternateContent>
          </a:graphicData>
        </a:graphic>
      </p:graphicFrame>
      <p:sp>
        <p:nvSpPr>
          <p:cNvPr id="37" name="Rectangle 36"/>
          <p:cNvSpPr/>
          <p:nvPr>
            <p:custDataLst>
              <p:tags r:id="rId5"/>
            </p:custDataLst>
          </p:nvPr>
        </p:nvSpPr>
        <p:spPr bwMode="auto">
          <a:xfrm>
            <a:off x="549520" y="2561493"/>
            <a:ext cx="603738" cy="337038"/>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ja-JP" altLang="en-US" sz="1108" dirty="0" smtClean="0">
                <a:solidFill>
                  <a:schemeClr val="tx1"/>
                </a:solidFill>
                <a:sym typeface="+mn-lt"/>
              </a:rPr>
              <a:t>野外排泄</a:t>
            </a:r>
            <a:endParaRPr lang="en-US" sz="1108" dirty="0">
              <a:solidFill>
                <a:schemeClr val="tx1"/>
              </a:solidFill>
              <a:sym typeface="+mn-lt"/>
            </a:endParaRPr>
          </a:p>
        </p:txBody>
      </p:sp>
      <p:sp>
        <p:nvSpPr>
          <p:cNvPr id="46" name="Rectangle 45"/>
          <p:cNvSpPr/>
          <p:nvPr>
            <p:custDataLst>
              <p:tags r:id="rId6"/>
            </p:custDataLst>
          </p:nvPr>
        </p:nvSpPr>
        <p:spPr bwMode="auto">
          <a:xfrm>
            <a:off x="574431" y="4262805"/>
            <a:ext cx="578827" cy="337038"/>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ja-JP" altLang="en-US" sz="1108" dirty="0" smtClean="0">
                <a:solidFill>
                  <a:schemeClr val="tx1"/>
                </a:solidFill>
                <a:sym typeface="+mn-lt"/>
              </a:rPr>
              <a:t>改良トイレ</a:t>
            </a:r>
            <a:endParaRPr lang="en-US" sz="1108" dirty="0">
              <a:solidFill>
                <a:schemeClr val="tx1"/>
              </a:solidFill>
              <a:sym typeface="+mn-lt"/>
            </a:endParaRPr>
          </a:p>
        </p:txBody>
      </p:sp>
      <p:sp>
        <p:nvSpPr>
          <p:cNvPr id="40" name="Rectangle 39"/>
          <p:cNvSpPr/>
          <p:nvPr>
            <p:custDataLst>
              <p:tags r:id="rId7"/>
            </p:custDataLst>
          </p:nvPr>
        </p:nvSpPr>
        <p:spPr bwMode="auto">
          <a:xfrm>
            <a:off x="430823" y="3427535"/>
            <a:ext cx="722435" cy="505558"/>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endParaRPr lang="ja-JP" altLang="en-US" sz="1108" dirty="0" smtClean="0">
              <a:solidFill>
                <a:schemeClr val="tx1"/>
              </a:solidFill>
            </a:endParaRPr>
          </a:p>
          <a:p>
            <a:pPr algn="r">
              <a:spcBef>
                <a:spcPct val="0"/>
              </a:spcBef>
              <a:spcAft>
                <a:spcPct val="0"/>
              </a:spcAft>
            </a:pPr>
            <a:r>
              <a:rPr lang="ja-JP" altLang="en-US" sz="1108" dirty="0" smtClean="0">
                <a:solidFill>
                  <a:schemeClr val="tx1"/>
                </a:solidFill>
              </a:rPr>
              <a:t>非改良</a:t>
            </a:r>
          </a:p>
          <a:p>
            <a:pPr algn="r">
              <a:spcBef>
                <a:spcPct val="0"/>
              </a:spcBef>
              <a:spcAft>
                <a:spcPct val="0"/>
              </a:spcAft>
            </a:pPr>
            <a:r>
              <a:rPr lang="ja-JP" altLang="en-US" sz="1108" dirty="0" smtClean="0">
                <a:solidFill>
                  <a:schemeClr val="tx1"/>
                </a:solidFill>
              </a:rPr>
              <a:t>トイレ</a:t>
            </a:r>
            <a:endParaRPr lang="en-US" sz="1108" dirty="0">
              <a:solidFill>
                <a:schemeClr val="tx1"/>
              </a:solidFill>
              <a:sym typeface="+mn-lt"/>
            </a:endParaRPr>
          </a:p>
        </p:txBody>
      </p:sp>
      <p:sp>
        <p:nvSpPr>
          <p:cNvPr id="38" name="Rectangle 37"/>
          <p:cNvSpPr/>
          <p:nvPr>
            <p:custDataLst>
              <p:tags r:id="rId8"/>
            </p:custDataLst>
          </p:nvPr>
        </p:nvSpPr>
        <p:spPr bwMode="gray">
          <a:xfrm>
            <a:off x="1437543" y="1795097"/>
            <a:ext cx="256443" cy="168520"/>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20515" tIns="0" rIns="20515" bIns="0" rtlCol="0" anchor="b"/>
          <a:lstStyle/>
          <a:p>
            <a:pPr algn="ctr">
              <a:spcBef>
                <a:spcPct val="0"/>
              </a:spcBef>
              <a:spcAft>
                <a:spcPct val="0"/>
              </a:spcAft>
            </a:pPr>
            <a:fld id="{B5D2ED8E-C419-4099-9B1C-88839D8FB75F}" type="datetime'''''''''''''''''2''''''''''4''''''''''''''''''''''''7'''">
              <a:rPr lang="en-US" sz="1108">
                <a:solidFill>
                  <a:schemeClr val="tx1"/>
                </a:solidFill>
              </a:rPr>
              <a:pPr/>
              <a:t>247</a:t>
            </a:fld>
            <a:endParaRPr lang="en-US" sz="1108" dirty="0">
              <a:solidFill>
                <a:schemeClr val="tx1"/>
              </a:solidFill>
              <a:sym typeface="+mn-lt"/>
            </a:endParaRPr>
          </a:p>
        </p:txBody>
      </p:sp>
      <p:sp>
        <p:nvSpPr>
          <p:cNvPr id="45" name="Text Placeholder 3"/>
          <p:cNvSpPr>
            <a:spLocks noGrp="1"/>
          </p:cNvSpPr>
          <p:nvPr>
            <p:custDataLst>
              <p:tags r:id="rId9"/>
            </p:custDataLst>
          </p:nvPr>
        </p:nvSpPr>
        <p:spPr bwMode="gray">
          <a:xfrm>
            <a:off x="1399443" y="2631831"/>
            <a:ext cx="331177" cy="196362"/>
          </a:xfrm>
          <a:prstGeom prst="rect">
            <a:avLst/>
          </a:prstGeom>
          <a:noFill/>
          <a:extLst>
            <a:ext uri="{909E8E84-426E-40DD-AFC4-6F175D3DCCD1}">
              <a14:hiddenFill xmlns:a14="http://schemas.microsoft.com/office/drawing/2010/main">
                <a:solidFill>
                  <a:scrgbClr r="0" g="0" b="0"/>
                </a:solidFill>
              </a14:hiddenFill>
            </a:ext>
          </a:extLst>
        </p:spPr>
        <p:txBody>
          <a:bodyPr wrap="none" lIns="23446" tIns="0" rIns="23446"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10DD391-B24C-45AE-BCC7-72BE86298D0F}" type="datetime'''''''''''''''''''''''''''''''''5''''''0''''%'">
              <a:rPr lang="en-US" sz="1292">
                <a:solidFill>
                  <a:schemeClr val="bg1"/>
                </a:solidFill>
                <a:sym typeface="+mn-lt"/>
              </a:rPr>
              <a:pPr marL="0" indent="0" algn="ctr">
                <a:spcBef>
                  <a:spcPct val="0"/>
                </a:spcBef>
                <a:spcAft>
                  <a:spcPct val="0"/>
                </a:spcAft>
                <a:buNone/>
              </a:pPr>
              <a:t>50%</a:t>
            </a:fld>
            <a:endParaRPr lang="en-US" sz="1292" dirty="0">
              <a:solidFill>
                <a:schemeClr val="bg1"/>
              </a:solidFill>
              <a:sym typeface="+mn-lt"/>
            </a:endParaRPr>
          </a:p>
        </p:txBody>
      </p:sp>
      <p:sp>
        <p:nvSpPr>
          <p:cNvPr id="44" name="Text Placeholder 2"/>
          <p:cNvSpPr>
            <a:spLocks noGrp="1"/>
          </p:cNvSpPr>
          <p:nvPr>
            <p:custDataLst>
              <p:tags r:id="rId10"/>
            </p:custDataLst>
          </p:nvPr>
        </p:nvSpPr>
        <p:spPr bwMode="gray">
          <a:xfrm>
            <a:off x="1399443" y="3581400"/>
            <a:ext cx="331177" cy="196362"/>
          </a:xfrm>
          <a:prstGeom prst="rect">
            <a:avLst/>
          </a:prstGeom>
          <a:noFill/>
          <a:extLst>
            <a:ext uri="{909E8E84-426E-40DD-AFC4-6F175D3DCCD1}">
              <a14:hiddenFill xmlns:a14="http://schemas.microsoft.com/office/drawing/2010/main">
                <a:solidFill>
                  <a:scrgbClr r="0" g="0" b="0"/>
                </a:solidFill>
              </a14:hiddenFill>
            </a:ext>
          </a:extLst>
        </p:spPr>
        <p:txBody>
          <a:bodyPr wrap="none" lIns="23446" tIns="0" rIns="23446"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A13B6BC7-7F3E-4688-81E4-776BA69EFE4A}" type="datetime'''''''''''''''''''''''''''''''1''''''''''''''''''''''''4%'''">
              <a:rPr lang="en-US" sz="1292">
                <a:sym typeface="+mn-lt"/>
              </a:rPr>
              <a:pPr marL="0" indent="0" algn="ctr">
                <a:spcBef>
                  <a:spcPct val="0"/>
                </a:spcBef>
                <a:spcAft>
                  <a:spcPct val="0"/>
                </a:spcAft>
                <a:buNone/>
              </a:pPr>
              <a:t>14%</a:t>
            </a:fld>
            <a:endParaRPr lang="en-US" sz="1292" dirty="0">
              <a:sym typeface="+mn-lt"/>
            </a:endParaRPr>
          </a:p>
        </p:txBody>
      </p:sp>
      <p:sp>
        <p:nvSpPr>
          <p:cNvPr id="43" name="Text Placeholder 1"/>
          <p:cNvSpPr>
            <a:spLocks noGrp="1"/>
          </p:cNvSpPr>
          <p:nvPr>
            <p:custDataLst>
              <p:tags r:id="rId11"/>
            </p:custDataLst>
          </p:nvPr>
        </p:nvSpPr>
        <p:spPr bwMode="gray">
          <a:xfrm>
            <a:off x="1399443" y="4333143"/>
            <a:ext cx="331177" cy="196362"/>
          </a:xfrm>
          <a:prstGeom prst="rect">
            <a:avLst/>
          </a:prstGeom>
          <a:noFill/>
          <a:extLst>
            <a:ext uri="{909E8E84-426E-40DD-AFC4-6F175D3DCCD1}">
              <a14:hiddenFill xmlns:a14="http://schemas.microsoft.com/office/drawing/2010/main">
                <a:solidFill>
                  <a:scrgbClr r="0" g="0" b="0"/>
                </a:solidFill>
              </a14:hiddenFill>
            </a:ext>
          </a:extLst>
        </p:spPr>
        <p:txBody>
          <a:bodyPr wrap="none" lIns="23446" tIns="0" rIns="23446"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64288A66-CEA4-439D-A556-0F503B9AA193}" type="datetime'''''''''''''''''''''''''''3''''''''''7''%'''''''''">
              <a:rPr lang="en-US" sz="1292">
                <a:sym typeface="+mn-lt"/>
              </a:rPr>
              <a:pPr marL="0" indent="0" algn="ctr">
                <a:spcBef>
                  <a:spcPct val="0"/>
                </a:spcBef>
                <a:spcAft>
                  <a:spcPct val="0"/>
                </a:spcAft>
                <a:buNone/>
              </a:pPr>
              <a:t>37%</a:t>
            </a:fld>
            <a:endParaRPr lang="en-US" sz="1292" dirty="0">
              <a:sym typeface="+mn-lt"/>
            </a:endParaRPr>
          </a:p>
        </p:txBody>
      </p:sp>
      <p:cxnSp>
        <p:nvCxnSpPr>
          <p:cNvPr id="23" name="Straight Connector 22"/>
          <p:cNvCxnSpPr/>
          <p:nvPr/>
        </p:nvCxnSpPr>
        <p:spPr bwMode="auto">
          <a:xfrm flipV="1">
            <a:off x="3962400" y="1987061"/>
            <a:ext cx="178777" cy="115766"/>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bwMode="auto">
          <a:xfrm>
            <a:off x="2079382" y="4976446"/>
            <a:ext cx="1837592"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773723" y="5117123"/>
            <a:ext cx="1617785" cy="675249"/>
          </a:xfrm>
          <a:prstGeom prst="rect">
            <a:avLst/>
          </a:prstGeom>
          <a:noFill/>
        </p:spPr>
        <p:txBody>
          <a:bodyPr wrap="square" lIns="84406" tIns="84406" rIns="0" bIns="0" rtlCol="0">
            <a:noAutofit/>
          </a:bodyPr>
          <a:lstStyle/>
          <a:p>
            <a:r>
              <a:rPr lang="ja-JP" altLang="en-US" sz="1015" b="1" dirty="0" smtClean="0">
                <a:solidFill>
                  <a:srgbClr val="000000"/>
                </a:solidFill>
              </a:rPr>
              <a:t>インドの家庭でアクセスできるトイレのタイプ</a:t>
            </a:r>
            <a:r>
              <a:rPr lang="en-GB" sz="1015" b="1" baseline="30000" dirty="0" smtClean="0">
                <a:solidFill>
                  <a:srgbClr val="000000"/>
                </a:solidFill>
              </a:rPr>
              <a:t>1</a:t>
            </a:r>
            <a:endParaRPr lang="en-GB" sz="1015" b="1" baseline="30000" dirty="0">
              <a:solidFill>
                <a:srgbClr val="000000"/>
              </a:solidFill>
            </a:endParaRPr>
          </a:p>
          <a:p>
            <a:pPr marL="213952" indent="-213952"/>
            <a:r>
              <a:rPr lang="ja-JP" altLang="en-US" sz="923" i="1" dirty="0" smtClean="0">
                <a:solidFill>
                  <a:srgbClr val="000000"/>
                </a:solidFill>
              </a:rPr>
              <a:t>（単位　百万世帯）</a:t>
            </a:r>
            <a:endParaRPr lang="en-GB" sz="923" i="1" dirty="0">
              <a:solidFill>
                <a:srgbClr val="000000"/>
              </a:solidFill>
            </a:endParaRPr>
          </a:p>
        </p:txBody>
      </p:sp>
      <p:graphicFrame>
        <p:nvGraphicFramePr>
          <p:cNvPr id="98" name="Object 97"/>
          <p:cNvGraphicFramePr>
            <a:graphicFrameLocks/>
          </p:cNvGraphicFramePr>
          <p:nvPr>
            <p:custDataLst>
              <p:tags r:id="rId12"/>
            </p:custDataLst>
            <p:extLst/>
          </p:nvPr>
        </p:nvGraphicFramePr>
        <p:xfrm>
          <a:off x="3798277" y="1881555"/>
          <a:ext cx="1274785" cy="3191611"/>
        </p:xfrm>
        <a:graphic>
          <a:graphicData uri="http://schemas.openxmlformats.org/presentationml/2006/ole">
            <mc:AlternateContent xmlns:mc="http://schemas.openxmlformats.org/markup-compatibility/2006">
              <mc:Choice xmlns:v="urn:schemas-microsoft-com:vml" Requires="v">
                <p:oleObj spid="_x0000_s912840" name="Chart" r:id="rId36" imgW="1381017" imgH="3457579" progId="MSGraph.Chart.8">
                  <p:embed followColorScheme="full"/>
                </p:oleObj>
              </mc:Choice>
              <mc:Fallback>
                <p:oleObj name="Chart" r:id="rId36" imgW="1381017" imgH="3457579" progId="MSGraph.Chart.8">
                  <p:embed followColorScheme="full"/>
                  <p:pic>
                    <p:nvPicPr>
                      <p:cNvPr id="0" name=""/>
                      <p:cNvPicPr/>
                      <p:nvPr/>
                    </p:nvPicPr>
                    <p:blipFill>
                      <a:blip r:embed="rId37"/>
                      <a:stretch>
                        <a:fillRect/>
                      </a:stretch>
                    </p:blipFill>
                    <p:spPr>
                      <a:xfrm>
                        <a:off x="3798277" y="1881555"/>
                        <a:ext cx="1274785" cy="3191611"/>
                      </a:xfrm>
                      <a:prstGeom prst="rect">
                        <a:avLst/>
                      </a:prstGeom>
                    </p:spPr>
                  </p:pic>
                </p:oleObj>
              </mc:Fallback>
            </mc:AlternateContent>
          </a:graphicData>
        </a:graphic>
      </p:graphicFrame>
      <p:sp>
        <p:nvSpPr>
          <p:cNvPr id="68" name="Text Placeholder 33"/>
          <p:cNvSpPr>
            <a:spLocks noGrp="1"/>
          </p:cNvSpPr>
          <p:nvPr>
            <p:custDataLst>
              <p:tags r:id="rId13"/>
            </p:custDataLst>
          </p:nvPr>
        </p:nvSpPr>
        <p:spPr bwMode="gray">
          <a:xfrm>
            <a:off x="4292113" y="2577612"/>
            <a:ext cx="262304" cy="155331"/>
          </a:xfrm>
          <a:prstGeom prst="rect">
            <a:avLst/>
          </a:prstGeom>
          <a:noFill/>
          <a:extLst>
            <a:ext uri="{909E8E84-426E-40DD-AFC4-6F175D3DCCD1}">
              <a14:hiddenFill xmlns:a14="http://schemas.microsoft.com/office/drawing/2010/main">
                <a:solidFill>
                  <a:scrgbClr r="0" g="0" b="0"/>
                </a:solidFill>
              </a14:hiddenFill>
            </a:ext>
          </a:extLst>
        </p:spPr>
        <p:txBody>
          <a:bodyPr wrap="none" lIns="19050" tIns="0" rIns="1905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AC6ED91-826C-47AA-A479-16AE25E1D847}" type="datetime'''''''''''1''''''9''''''''''%'''''''''''''">
              <a:rPr lang="en-US" sz="1015">
                <a:solidFill>
                  <a:schemeClr val="bg1"/>
                </a:solidFill>
                <a:latin typeface="Calibri" panose="020F0502020204030204" pitchFamily="34" charset="0"/>
                <a:sym typeface="Calibri" panose="020F0502020204030204" pitchFamily="34" charset="0"/>
              </a:rPr>
              <a:pPr marL="0" indent="0" algn="ctr">
                <a:spcBef>
                  <a:spcPct val="0"/>
                </a:spcBef>
                <a:spcAft>
                  <a:spcPct val="0"/>
                </a:spcAft>
                <a:buNone/>
              </a:pPr>
              <a:t>19%</a:t>
            </a:fld>
            <a:endParaRPr lang="en-US" sz="1015" dirty="0">
              <a:solidFill>
                <a:schemeClr val="bg1"/>
              </a:solidFill>
              <a:latin typeface="Calibri" panose="020F0502020204030204" pitchFamily="34" charset="0"/>
              <a:sym typeface="Calibri" panose="020F0502020204030204" pitchFamily="34" charset="0"/>
            </a:endParaRPr>
          </a:p>
        </p:txBody>
      </p:sp>
      <p:sp>
        <p:nvSpPr>
          <p:cNvPr id="67" name="Text Placeholder 32"/>
          <p:cNvSpPr>
            <a:spLocks noGrp="1"/>
          </p:cNvSpPr>
          <p:nvPr>
            <p:custDataLst>
              <p:tags r:id="rId14"/>
            </p:custDataLst>
          </p:nvPr>
        </p:nvSpPr>
        <p:spPr bwMode="gray">
          <a:xfrm>
            <a:off x="4292113" y="3522785"/>
            <a:ext cx="262304" cy="155331"/>
          </a:xfrm>
          <a:prstGeom prst="rect">
            <a:avLst/>
          </a:prstGeom>
          <a:noFill/>
          <a:extLst>
            <a:ext uri="{909E8E84-426E-40DD-AFC4-6F175D3DCCD1}">
              <a14:hiddenFill xmlns:a14="http://schemas.microsoft.com/office/drawing/2010/main">
                <a:solidFill>
                  <a:scrgbClr r="0" g="0" b="0"/>
                </a:solidFill>
              </a14:hiddenFill>
            </a:ext>
          </a:extLst>
        </p:spPr>
        <p:txBody>
          <a:bodyPr wrap="none" lIns="19050" tIns="0" rIns="1905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25EE7F6A-A60D-48DE-AF0A-BF38A89F1B31}" type="datetime'''''''''''''''''''''''''''''4''4''''''''''''''%'''''''''">
              <a:rPr lang="en-US" sz="1015">
                <a:sym typeface="+mn-lt"/>
              </a:rPr>
              <a:pPr marL="0" indent="0" algn="ctr">
                <a:spcBef>
                  <a:spcPct val="0"/>
                </a:spcBef>
                <a:spcAft>
                  <a:spcPct val="0"/>
                </a:spcAft>
                <a:buNone/>
              </a:pPr>
              <a:t>44%</a:t>
            </a:fld>
            <a:endParaRPr lang="en-US" sz="1015" dirty="0">
              <a:sym typeface="+mn-lt"/>
            </a:endParaRPr>
          </a:p>
        </p:txBody>
      </p:sp>
      <p:sp>
        <p:nvSpPr>
          <p:cNvPr id="69" name="Text Placeholder 34"/>
          <p:cNvSpPr>
            <a:spLocks noGrp="1"/>
          </p:cNvSpPr>
          <p:nvPr>
            <p:custDataLst>
              <p:tags r:id="rId15"/>
            </p:custDataLst>
          </p:nvPr>
        </p:nvSpPr>
        <p:spPr bwMode="gray">
          <a:xfrm>
            <a:off x="4292113" y="2102828"/>
            <a:ext cx="262304" cy="155331"/>
          </a:xfrm>
          <a:prstGeom prst="rect">
            <a:avLst/>
          </a:prstGeom>
          <a:noFill/>
          <a:extLst>
            <a:ext uri="{909E8E84-426E-40DD-AFC4-6F175D3DCCD1}">
              <a14:hiddenFill xmlns:a14="http://schemas.microsoft.com/office/drawing/2010/main">
                <a:solidFill>
                  <a:scrgbClr r="0" g="0" b="0"/>
                </a:solidFill>
              </a14:hiddenFill>
            </a:ext>
          </a:extLst>
        </p:spPr>
        <p:txBody>
          <a:bodyPr wrap="none" lIns="19050" tIns="0" rIns="1905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5E6016C2-A138-4E30-803E-D91FC573E3EE}" type="datetime'''''''''''''''1''''''''''''3''''''''''''''''%'''''">
              <a:rPr lang="en-US" sz="1015">
                <a:solidFill>
                  <a:schemeClr val="bg1"/>
                </a:solidFill>
                <a:latin typeface="Calibri" panose="020F0502020204030204" pitchFamily="34" charset="0"/>
                <a:sym typeface="Calibri" panose="020F0502020204030204" pitchFamily="34" charset="0"/>
              </a:rPr>
              <a:pPr marL="0" indent="0" algn="ctr">
                <a:spcBef>
                  <a:spcPct val="0"/>
                </a:spcBef>
                <a:spcAft>
                  <a:spcPct val="0"/>
                </a:spcAft>
                <a:buNone/>
              </a:pPr>
              <a:t>13%</a:t>
            </a:fld>
            <a:endParaRPr lang="en-US" sz="1015" dirty="0">
              <a:solidFill>
                <a:schemeClr val="bg1"/>
              </a:solidFill>
              <a:latin typeface="Calibri" panose="020F0502020204030204" pitchFamily="34" charset="0"/>
              <a:sym typeface="Calibri" panose="020F0502020204030204" pitchFamily="34" charset="0"/>
            </a:endParaRPr>
          </a:p>
        </p:txBody>
      </p:sp>
      <p:sp>
        <p:nvSpPr>
          <p:cNvPr id="66" name="Text Placeholder 31"/>
          <p:cNvSpPr>
            <a:spLocks noGrp="1"/>
          </p:cNvSpPr>
          <p:nvPr>
            <p:custDataLst>
              <p:tags r:id="rId16"/>
            </p:custDataLst>
          </p:nvPr>
        </p:nvSpPr>
        <p:spPr bwMode="gray">
          <a:xfrm>
            <a:off x="4292113" y="4542693"/>
            <a:ext cx="262304" cy="155331"/>
          </a:xfrm>
          <a:prstGeom prst="rect">
            <a:avLst/>
          </a:prstGeom>
          <a:noFill/>
          <a:extLst>
            <a:ext uri="{909E8E84-426E-40DD-AFC4-6F175D3DCCD1}">
              <a14:hiddenFill xmlns:a14="http://schemas.microsoft.com/office/drawing/2010/main">
                <a:solidFill>
                  <a:scrgbClr r="0" g="0" b="0"/>
                </a:solidFill>
              </a14:hiddenFill>
            </a:ext>
          </a:extLst>
        </p:spPr>
        <p:txBody>
          <a:bodyPr wrap="none" lIns="19050" tIns="0" rIns="1905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1775F242-E442-45BA-B930-5053372AAAE9}" type="datetime'''''''''2''''''''''''''4''''''''''''''''''''''''''''''''''%'''">
              <a:rPr lang="en-US" sz="1015">
                <a:sym typeface="+mn-lt"/>
              </a:rPr>
              <a:pPr marL="0" indent="0" algn="ctr">
                <a:spcBef>
                  <a:spcPct val="0"/>
                </a:spcBef>
                <a:spcAft>
                  <a:spcPct val="0"/>
                </a:spcAft>
                <a:buNone/>
              </a:pPr>
              <a:t>24%</a:t>
            </a:fld>
            <a:endParaRPr lang="en-US" sz="1015" dirty="0">
              <a:sym typeface="+mn-lt"/>
            </a:endParaRPr>
          </a:p>
        </p:txBody>
      </p:sp>
      <p:sp>
        <p:nvSpPr>
          <p:cNvPr id="61" name="Text Placeholder 29"/>
          <p:cNvSpPr>
            <a:spLocks noGrp="1"/>
          </p:cNvSpPr>
          <p:nvPr>
            <p:custDataLst>
              <p:tags r:id="rId17"/>
            </p:custDataLst>
          </p:nvPr>
        </p:nvSpPr>
        <p:spPr bwMode="auto">
          <a:xfrm>
            <a:off x="3527181" y="4542693"/>
            <a:ext cx="511420" cy="155331"/>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ja-JP" altLang="en-US" sz="1015" dirty="0" smtClean="0">
                <a:sym typeface="+mn-lt"/>
              </a:rPr>
              <a:t>下水施設</a:t>
            </a:r>
            <a:endParaRPr lang="en-US" sz="1015" dirty="0">
              <a:sym typeface="+mn-lt"/>
            </a:endParaRPr>
          </a:p>
        </p:txBody>
      </p:sp>
      <p:sp>
        <p:nvSpPr>
          <p:cNvPr id="60" name="Text Placeholder 28"/>
          <p:cNvSpPr>
            <a:spLocks noGrp="1"/>
          </p:cNvSpPr>
          <p:nvPr>
            <p:custDataLst>
              <p:tags r:id="rId18"/>
            </p:custDataLst>
          </p:nvPr>
        </p:nvSpPr>
        <p:spPr bwMode="auto">
          <a:xfrm>
            <a:off x="3412882" y="3522785"/>
            <a:ext cx="625720" cy="155331"/>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ja-JP" altLang="en-US" sz="1015" dirty="0" smtClean="0">
                <a:sym typeface="+mn-lt"/>
              </a:rPr>
              <a:t>浄化槽</a:t>
            </a:r>
            <a:endParaRPr lang="en-US" sz="1015" dirty="0">
              <a:sym typeface="+mn-lt"/>
            </a:endParaRPr>
          </a:p>
        </p:txBody>
      </p:sp>
      <p:sp>
        <p:nvSpPr>
          <p:cNvPr id="59" name="Text Placeholder 27"/>
          <p:cNvSpPr>
            <a:spLocks noGrp="1"/>
          </p:cNvSpPr>
          <p:nvPr>
            <p:custDataLst>
              <p:tags r:id="rId19"/>
            </p:custDataLst>
          </p:nvPr>
        </p:nvSpPr>
        <p:spPr bwMode="auto">
          <a:xfrm>
            <a:off x="3546231" y="2577612"/>
            <a:ext cx="492369" cy="155331"/>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ja-JP" altLang="en-US" sz="1015" dirty="0" smtClean="0">
                <a:sym typeface="+mn-lt"/>
              </a:rPr>
              <a:t>ピットトイレ</a:t>
            </a:r>
            <a:endParaRPr lang="en-US" sz="1015" dirty="0">
              <a:sym typeface="+mn-lt"/>
            </a:endParaRPr>
          </a:p>
        </p:txBody>
      </p:sp>
      <p:sp>
        <p:nvSpPr>
          <p:cNvPr id="58" name="Text Placeholder 26"/>
          <p:cNvSpPr>
            <a:spLocks noGrp="1"/>
          </p:cNvSpPr>
          <p:nvPr>
            <p:custDataLst>
              <p:tags r:id="rId20"/>
            </p:custDataLst>
          </p:nvPr>
        </p:nvSpPr>
        <p:spPr bwMode="auto">
          <a:xfrm>
            <a:off x="3618035" y="2102828"/>
            <a:ext cx="420566" cy="155331"/>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spcAft>
                <a:spcPct val="0"/>
              </a:spcAft>
              <a:buNone/>
            </a:pPr>
            <a:r>
              <a:rPr lang="ja-JP" altLang="en-US" sz="1015" baseline="30000" dirty="0" smtClean="0">
                <a:sym typeface="+mn-lt"/>
              </a:rPr>
              <a:t>その他</a:t>
            </a:r>
            <a:r>
              <a:rPr lang="en-US" sz="1015" baseline="30000" dirty="0" smtClean="0">
                <a:sym typeface="+mn-lt"/>
              </a:rPr>
              <a:t>2</a:t>
            </a:r>
            <a:endParaRPr lang="en-US" sz="1015" baseline="30000" dirty="0">
              <a:sym typeface="+mn-lt"/>
            </a:endParaRPr>
          </a:p>
        </p:txBody>
      </p:sp>
      <p:sp>
        <p:nvSpPr>
          <p:cNvPr id="62" name="Text Placeholder 30"/>
          <p:cNvSpPr>
            <a:spLocks noGrp="1"/>
          </p:cNvSpPr>
          <p:nvPr>
            <p:custDataLst>
              <p:tags r:id="rId21"/>
            </p:custDataLst>
          </p:nvPr>
        </p:nvSpPr>
        <p:spPr bwMode="gray">
          <a:xfrm>
            <a:off x="4305300" y="1808285"/>
            <a:ext cx="235927" cy="155331"/>
          </a:xfrm>
          <a:prstGeom prst="rect">
            <a:avLst/>
          </a:prstGeom>
          <a:noFill/>
          <a:extLst>
            <a:ext uri="{909E8E84-426E-40DD-AFC4-6F175D3DCCD1}">
              <a14:hiddenFill xmlns:a14="http://schemas.microsoft.com/office/drawing/2010/main">
                <a:solidFill>
                  <a:scrgbClr r="0" g="0" b="0"/>
                </a:solidFill>
              </a14:hiddenFill>
            </a:ext>
          </a:extLst>
        </p:spPr>
        <p:txBody>
          <a:bodyPr wrap="none" lIns="19050" tIns="0" rIns="19050" bIns="0" numCol="1" spcCol="0" anchor="b"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DC1B5D2-79FB-4572-B75D-CFE6C2CB4EC6}" type="datetime'''''''''''''''''1''2''''''''''''''''''''''''''4'''''''''''''">
              <a:rPr lang="en-US" sz="1015"/>
              <a:pPr marL="0" indent="0" algn="ctr">
                <a:spcBef>
                  <a:spcPct val="0"/>
                </a:spcBef>
                <a:spcAft>
                  <a:spcPct val="0"/>
                </a:spcAft>
                <a:buNone/>
              </a:pPr>
              <a:t>124</a:t>
            </a:fld>
            <a:endParaRPr lang="en-US" sz="1015" dirty="0">
              <a:sym typeface="+mn-lt"/>
            </a:endParaRPr>
          </a:p>
        </p:txBody>
      </p:sp>
      <p:cxnSp>
        <p:nvCxnSpPr>
          <p:cNvPr id="27" name="Straight Connector 26"/>
          <p:cNvCxnSpPr/>
          <p:nvPr/>
        </p:nvCxnSpPr>
        <p:spPr bwMode="auto">
          <a:xfrm>
            <a:off x="4936881" y="4976446"/>
            <a:ext cx="1670538" cy="0"/>
          </a:xfrm>
          <a:prstGeom prst="line">
            <a:avLst/>
          </a:prstGeom>
          <a:ln w="317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13" name="TextBox 112"/>
          <p:cNvSpPr txBox="1"/>
          <p:nvPr/>
        </p:nvSpPr>
        <p:spPr>
          <a:xfrm>
            <a:off x="3616669" y="5117123"/>
            <a:ext cx="1799393" cy="675249"/>
          </a:xfrm>
          <a:prstGeom prst="rect">
            <a:avLst/>
          </a:prstGeom>
          <a:noFill/>
        </p:spPr>
        <p:txBody>
          <a:bodyPr wrap="square" lIns="84406" tIns="84406" rIns="0" bIns="0" rtlCol="0">
            <a:noAutofit/>
          </a:bodyPr>
          <a:lstStyle/>
          <a:p>
            <a:r>
              <a:rPr lang="ja-JP" altLang="en-US" sz="1015" b="1" dirty="0" smtClean="0">
                <a:solidFill>
                  <a:srgbClr val="000000"/>
                </a:solidFill>
              </a:rPr>
              <a:t>インドでトイレを利用する家庭での排泄物の処理方法</a:t>
            </a:r>
            <a:endParaRPr lang="en-GB" sz="1015" b="1" dirty="0">
              <a:solidFill>
                <a:srgbClr val="000000"/>
              </a:solidFill>
            </a:endParaRPr>
          </a:p>
          <a:p>
            <a:pPr marL="213952" indent="-213952"/>
            <a:r>
              <a:rPr lang="ja-JP" altLang="en-US" sz="923" i="1" dirty="0" smtClean="0">
                <a:solidFill>
                  <a:srgbClr val="000000"/>
                </a:solidFill>
              </a:rPr>
              <a:t>（単位　百万世帯）</a:t>
            </a:r>
            <a:endParaRPr lang="en-GB" sz="923" i="1" dirty="0">
              <a:solidFill>
                <a:srgbClr val="000000"/>
              </a:solidFill>
            </a:endParaRPr>
          </a:p>
        </p:txBody>
      </p:sp>
      <p:sp>
        <p:nvSpPr>
          <p:cNvPr id="33" name="Text Placeholder 1"/>
          <p:cNvSpPr>
            <a:spLocks noGrp="1"/>
          </p:cNvSpPr>
          <p:nvPr/>
        </p:nvSpPr>
        <p:spPr bwMode="gray">
          <a:xfrm>
            <a:off x="492370" y="1113692"/>
            <a:ext cx="2570285" cy="533400"/>
          </a:xfrm>
          <a:prstGeom prst="chevron">
            <a:avLst>
              <a:gd name="adj" fmla="val 18132"/>
            </a:avLst>
          </a:prstGeom>
          <a:solidFill>
            <a:srgbClr val="67103F"/>
          </a:solidFill>
          <a:ln w="9525">
            <a:noFill/>
          </a:ln>
          <a:extLst>
            <a:ext uri="{91240B29-F687-4F45-9708-019B960494DF}">
              <a14:hiddenLine xmlns:a14="http://schemas.microsoft.com/office/drawing/2010/main" w="9525">
                <a:solidFill>
                  <a:schemeClr val="tx1"/>
                </a:solidFill>
              </a14:hiddenLine>
            </a:ext>
          </a:extLst>
        </p:spPr>
        <p:txBody>
          <a:bodyPr wrap="square" lIns="41031" tIns="123092" rIns="0" bIns="123092"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1292" b="1" dirty="0" smtClean="0">
                <a:solidFill>
                  <a:srgbClr val="FFFFFF"/>
                </a:solidFill>
                <a:sym typeface="+mn-lt"/>
              </a:rPr>
              <a:t>アクセス</a:t>
            </a:r>
            <a:r>
              <a:rPr lang="en-GB" sz="1292" b="1" dirty="0" smtClean="0">
                <a:solidFill>
                  <a:srgbClr val="FFFFFF"/>
                </a:solidFill>
                <a:sym typeface="+mn-lt"/>
              </a:rPr>
              <a:t> </a:t>
            </a:r>
            <a:endParaRPr lang="en-GB" sz="1292" b="1" dirty="0">
              <a:solidFill>
                <a:srgbClr val="FFFFFF"/>
              </a:solidFill>
              <a:sym typeface="+mn-lt"/>
            </a:endParaRPr>
          </a:p>
        </p:txBody>
      </p:sp>
      <p:sp>
        <p:nvSpPr>
          <p:cNvPr id="34" name="Text Placeholder 1"/>
          <p:cNvSpPr>
            <a:spLocks noGrp="1"/>
          </p:cNvSpPr>
          <p:nvPr>
            <p:custDataLst>
              <p:tags r:id="rId22"/>
            </p:custDataLst>
          </p:nvPr>
        </p:nvSpPr>
        <p:spPr bwMode="gray">
          <a:xfrm>
            <a:off x="5739912" y="1107831"/>
            <a:ext cx="2919046" cy="539262"/>
          </a:xfrm>
          <a:prstGeom prst="chevron">
            <a:avLst>
              <a:gd name="adj" fmla="val 18207"/>
            </a:avLst>
          </a:prstGeom>
          <a:solidFill>
            <a:srgbClr val="67103F"/>
          </a:solidFill>
          <a:ln w="9525">
            <a:noFill/>
          </a:ln>
          <a:extLst>
            <a:ext uri="{91240B29-F687-4F45-9708-019B960494DF}">
              <a14:hiddenLine xmlns:a14="http://schemas.microsoft.com/office/drawing/2010/main" w="9525">
                <a:solidFill>
                  <a:schemeClr val="tx1"/>
                </a:solidFill>
              </a14:hiddenLine>
            </a:ext>
          </a:extLst>
        </p:spPr>
        <p:txBody>
          <a:bodyPr wrap="square" lIns="41031" tIns="123092" rIns="0" bIns="123092"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1292" b="1" dirty="0" smtClean="0">
                <a:solidFill>
                  <a:srgbClr val="FFFFFF"/>
                </a:solidFill>
                <a:sym typeface="+mn-lt"/>
              </a:rPr>
              <a:t>処理と再利用</a:t>
            </a:r>
            <a:endParaRPr lang="en-GB" sz="1292" b="1" dirty="0">
              <a:solidFill>
                <a:srgbClr val="FFFFFF"/>
              </a:solidFill>
              <a:sym typeface="+mn-lt"/>
            </a:endParaRPr>
          </a:p>
        </p:txBody>
      </p:sp>
      <p:sp>
        <p:nvSpPr>
          <p:cNvPr id="35" name="Text Placeholder 1"/>
          <p:cNvSpPr>
            <a:spLocks noGrp="1"/>
          </p:cNvSpPr>
          <p:nvPr>
            <p:custDataLst>
              <p:tags r:id="rId23"/>
            </p:custDataLst>
          </p:nvPr>
        </p:nvSpPr>
        <p:spPr bwMode="gray">
          <a:xfrm>
            <a:off x="3027485" y="1107831"/>
            <a:ext cx="2718289" cy="533400"/>
          </a:xfrm>
          <a:prstGeom prst="chevron">
            <a:avLst>
              <a:gd name="adj" fmla="val 18132"/>
            </a:avLst>
          </a:prstGeom>
          <a:solidFill>
            <a:srgbClr val="67103F"/>
          </a:solidFill>
          <a:ln w="9525">
            <a:noFill/>
          </a:ln>
          <a:extLst>
            <a:ext uri="{91240B29-F687-4F45-9708-019B960494DF}">
              <a14:hiddenLine xmlns:a14="http://schemas.microsoft.com/office/drawing/2010/main" w="9525">
                <a:solidFill>
                  <a:schemeClr val="tx1"/>
                </a:solidFill>
              </a14:hiddenLine>
            </a:ext>
          </a:extLst>
        </p:spPr>
        <p:txBody>
          <a:bodyPr wrap="square" lIns="39566" tIns="121627" rIns="0" bIns="123092" anchor="ctr" anchorCtr="0">
            <a:noAutofit/>
          </a:bodyPr>
          <a:lstStyle>
            <a:lvl1pPr marL="207995" indent="-207995"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417415" indent="-209420"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2pPr>
            <a:lvl3pPr marL="612588" indent="-195174" algn="l" defTabSz="914293" rtl="0" eaLnBrk="1" latinLnBrk="0" hangingPunct="1">
              <a:spcBef>
                <a:spcPct val="20000"/>
              </a:spcBef>
              <a:buFont typeface="Courier New" pitchFamily="49" charset="0"/>
              <a:buChar char="o"/>
              <a:defRPr sz="1300" kern="1200">
                <a:solidFill>
                  <a:schemeClr val="tx1"/>
                </a:solidFill>
                <a:latin typeface="+mn-lt"/>
                <a:ea typeface="+mn-ea"/>
                <a:cs typeface="+mn-cs"/>
              </a:defRPr>
            </a:lvl3pPr>
            <a:lvl4pPr marL="820583" indent="-207995"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ja-JP" altLang="en-US" sz="1292" b="1" dirty="0" smtClean="0">
                <a:solidFill>
                  <a:srgbClr val="FFFFFF"/>
                </a:solidFill>
                <a:sym typeface="+mn-lt"/>
              </a:rPr>
              <a:t>収集と運搬</a:t>
            </a:r>
            <a:r>
              <a:rPr lang="en-GB" sz="1292" b="1" dirty="0" smtClean="0">
                <a:solidFill>
                  <a:srgbClr val="FFFFFF"/>
                </a:solidFill>
                <a:sym typeface="+mn-lt"/>
              </a:rPr>
              <a:t> </a:t>
            </a:r>
            <a:endParaRPr lang="en-GB" sz="1292" b="1" dirty="0">
              <a:solidFill>
                <a:srgbClr val="FFFFFF"/>
              </a:solidFill>
              <a:sym typeface="+mn-lt"/>
            </a:endParaRPr>
          </a:p>
        </p:txBody>
      </p:sp>
      <p:graphicFrame>
        <p:nvGraphicFramePr>
          <p:cNvPr id="11" name="Object 10"/>
          <p:cNvGraphicFramePr>
            <a:graphicFrameLocks/>
          </p:cNvGraphicFramePr>
          <p:nvPr>
            <p:custDataLst>
              <p:tags r:id="rId24"/>
            </p:custDataLst>
            <p:extLst/>
          </p:nvPr>
        </p:nvGraphicFramePr>
        <p:xfrm>
          <a:off x="6506308" y="1881555"/>
          <a:ext cx="1274785" cy="3191611"/>
        </p:xfrm>
        <a:graphic>
          <a:graphicData uri="http://schemas.openxmlformats.org/presentationml/2006/ole">
            <mc:AlternateContent xmlns:mc="http://schemas.openxmlformats.org/markup-compatibility/2006">
              <mc:Choice xmlns:v="urn:schemas-microsoft-com:vml" Requires="v">
                <p:oleObj spid="_x0000_s912841" name="Chart" r:id="rId38" imgW="1381017" imgH="3457579" progId="MSGraph.Chart.8">
                  <p:embed followColorScheme="full"/>
                </p:oleObj>
              </mc:Choice>
              <mc:Fallback>
                <p:oleObj name="Chart" r:id="rId38" imgW="1381017" imgH="3457579" progId="MSGraph.Chart.8">
                  <p:embed followColorScheme="full"/>
                  <p:pic>
                    <p:nvPicPr>
                      <p:cNvPr id="0" name=""/>
                      <p:cNvPicPr/>
                      <p:nvPr/>
                    </p:nvPicPr>
                    <p:blipFill>
                      <a:blip r:embed="rId39"/>
                      <a:stretch>
                        <a:fillRect/>
                      </a:stretch>
                    </p:blipFill>
                    <p:spPr>
                      <a:xfrm>
                        <a:off x="6506308" y="1881555"/>
                        <a:ext cx="1274785" cy="3191611"/>
                      </a:xfrm>
                      <a:prstGeom prst="rect">
                        <a:avLst/>
                      </a:prstGeom>
                    </p:spPr>
                  </p:pic>
                </p:oleObj>
              </mc:Fallback>
            </mc:AlternateContent>
          </a:graphicData>
        </a:graphic>
      </p:graphicFrame>
      <p:cxnSp>
        <p:nvCxnSpPr>
          <p:cNvPr id="25" name="Straight Connector 24"/>
          <p:cNvCxnSpPr/>
          <p:nvPr>
            <p:custDataLst>
              <p:tags r:id="rId25"/>
            </p:custDataLst>
          </p:nvPr>
        </p:nvCxnSpPr>
        <p:spPr bwMode="auto">
          <a:xfrm>
            <a:off x="6724651" y="4737589"/>
            <a:ext cx="71803" cy="137746"/>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Rectangle 8"/>
          <p:cNvSpPr/>
          <p:nvPr>
            <p:custDataLst>
              <p:tags r:id="rId26"/>
            </p:custDataLst>
          </p:nvPr>
        </p:nvSpPr>
        <p:spPr bwMode="gray">
          <a:xfrm>
            <a:off x="6970836" y="3297116"/>
            <a:ext cx="285750" cy="168520"/>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20515" tIns="0" rIns="20515" bIns="0" rtlCol="0" anchor="ctr"/>
          <a:lstStyle/>
          <a:p>
            <a:pPr algn="ctr">
              <a:spcBef>
                <a:spcPct val="0"/>
              </a:spcBef>
              <a:spcAft>
                <a:spcPct val="0"/>
              </a:spcAft>
            </a:pPr>
            <a:fld id="{E4248DB9-BA95-4921-8F68-F683E4B9973F}" type="datetime'9''''''''''''''''3%'''''''''''''''''''''''''''">
              <a:rPr lang="en-US" sz="1108">
                <a:solidFill>
                  <a:schemeClr val="bg1"/>
                </a:solidFill>
              </a:rPr>
              <a:pPr/>
              <a:t>93%</a:t>
            </a:fld>
            <a:endParaRPr lang="en-US" sz="1108">
              <a:solidFill>
                <a:schemeClr val="bg1"/>
              </a:solidFill>
              <a:sym typeface="+mn-lt"/>
            </a:endParaRPr>
          </a:p>
        </p:txBody>
      </p:sp>
      <p:sp>
        <p:nvSpPr>
          <p:cNvPr id="8" name="Rectangle 7"/>
          <p:cNvSpPr/>
          <p:nvPr>
            <p:custDataLst>
              <p:tags r:id="rId27"/>
            </p:custDataLst>
          </p:nvPr>
        </p:nvSpPr>
        <p:spPr bwMode="gray">
          <a:xfrm>
            <a:off x="7006005" y="4791808"/>
            <a:ext cx="213946" cy="168520"/>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20515" tIns="0" rIns="20515" bIns="0" rtlCol="0" anchor="ctr"/>
          <a:lstStyle/>
          <a:p>
            <a:pPr algn="ctr">
              <a:spcBef>
                <a:spcPct val="0"/>
              </a:spcBef>
              <a:spcAft>
                <a:spcPct val="0"/>
              </a:spcAft>
            </a:pPr>
            <a:fld id="{2587C6CD-77FE-4795-A4F2-1C4718057AE5}" type="datetime'''''''''''''''''''''''''''7''''''''''''''''%'''''''''">
              <a:rPr lang="en-US" sz="1108">
                <a:solidFill>
                  <a:schemeClr val="tx1"/>
                </a:solidFill>
              </a:rPr>
              <a:pPr/>
              <a:t>7%</a:t>
            </a:fld>
            <a:endParaRPr lang="en-US" sz="1108" dirty="0">
              <a:solidFill>
                <a:schemeClr val="tx1"/>
              </a:solidFill>
              <a:sym typeface="+mn-lt"/>
            </a:endParaRPr>
          </a:p>
        </p:txBody>
      </p:sp>
      <p:sp>
        <p:nvSpPr>
          <p:cNvPr id="63" name="Rectangle 62"/>
          <p:cNvSpPr/>
          <p:nvPr>
            <p:custDataLst>
              <p:tags r:id="rId28"/>
            </p:custDataLst>
          </p:nvPr>
        </p:nvSpPr>
        <p:spPr bwMode="auto">
          <a:xfrm>
            <a:off x="6119446" y="3212124"/>
            <a:ext cx="581758" cy="337038"/>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ja-JP" altLang="en-US" sz="1108" dirty="0" smtClean="0">
                <a:solidFill>
                  <a:schemeClr val="tx1"/>
                </a:solidFill>
                <a:sym typeface="+mn-lt"/>
              </a:rPr>
              <a:t>未処理</a:t>
            </a:r>
            <a:endParaRPr lang="en-US" sz="1108" dirty="0">
              <a:solidFill>
                <a:schemeClr val="tx1"/>
              </a:solidFill>
              <a:sym typeface="+mn-lt"/>
            </a:endParaRPr>
          </a:p>
        </p:txBody>
      </p:sp>
      <p:sp>
        <p:nvSpPr>
          <p:cNvPr id="64" name="Rectangle 63"/>
          <p:cNvSpPr/>
          <p:nvPr>
            <p:custDataLst>
              <p:tags r:id="rId29"/>
            </p:custDataLst>
          </p:nvPr>
        </p:nvSpPr>
        <p:spPr bwMode="gray">
          <a:xfrm>
            <a:off x="6896100" y="1795098"/>
            <a:ext cx="435220" cy="168520"/>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20515" tIns="0" rIns="20515" bIns="0" rtlCol="0" anchor="b"/>
          <a:lstStyle/>
          <a:p>
            <a:pPr algn="ctr">
              <a:spcBef>
                <a:spcPct val="0"/>
              </a:spcBef>
              <a:spcAft>
                <a:spcPct val="0"/>
              </a:spcAft>
            </a:pPr>
            <a:fld id="{006A8E6F-4AD3-4709-87F2-C86D6F83078D}" type="datetime'91,''''1''''''1''''''''''''''6'">
              <a:rPr lang="en-US" sz="1108">
                <a:solidFill>
                  <a:schemeClr val="tx1"/>
                </a:solidFill>
              </a:rPr>
              <a:pPr/>
              <a:t>91,116</a:t>
            </a:fld>
            <a:endParaRPr lang="en-US" sz="1108" dirty="0">
              <a:solidFill>
                <a:schemeClr val="tx1"/>
              </a:solidFill>
              <a:sym typeface="+mn-lt"/>
            </a:endParaRPr>
          </a:p>
        </p:txBody>
      </p:sp>
      <p:sp>
        <p:nvSpPr>
          <p:cNvPr id="7" name="Rectangle 6"/>
          <p:cNvSpPr/>
          <p:nvPr>
            <p:custDataLst>
              <p:tags r:id="rId30"/>
            </p:custDataLst>
          </p:nvPr>
        </p:nvSpPr>
        <p:spPr bwMode="auto">
          <a:xfrm>
            <a:off x="6268916" y="4569070"/>
            <a:ext cx="432289" cy="337038"/>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r>
              <a:rPr lang="ja-JP" altLang="en-US" sz="1108" dirty="0" smtClean="0">
                <a:solidFill>
                  <a:schemeClr val="tx1"/>
                </a:solidFill>
                <a:latin typeface="Calibri"/>
                <a:sym typeface="Calibri"/>
              </a:rPr>
              <a:t>処理済み</a:t>
            </a:r>
            <a:endParaRPr lang="en-US" sz="1108" dirty="0">
              <a:solidFill>
                <a:schemeClr val="tx1"/>
              </a:solidFill>
              <a:latin typeface="Calibri"/>
              <a:sym typeface="Calibri"/>
            </a:endParaRPr>
          </a:p>
        </p:txBody>
      </p:sp>
      <p:sp>
        <p:nvSpPr>
          <p:cNvPr id="104" name="TextBox 103"/>
          <p:cNvSpPr txBox="1"/>
          <p:nvPr/>
        </p:nvSpPr>
        <p:spPr>
          <a:xfrm>
            <a:off x="6427277" y="5117123"/>
            <a:ext cx="1731985" cy="675249"/>
          </a:xfrm>
          <a:prstGeom prst="rect">
            <a:avLst/>
          </a:prstGeom>
          <a:noFill/>
        </p:spPr>
        <p:txBody>
          <a:bodyPr wrap="square" lIns="84406" tIns="84406" rIns="0" bIns="0" rtlCol="0">
            <a:noAutofit/>
          </a:bodyPr>
          <a:lstStyle/>
          <a:p>
            <a:r>
              <a:rPr lang="ja-JP" altLang="en-US" sz="1015" b="1" dirty="0" smtClean="0">
                <a:solidFill>
                  <a:srgbClr val="000000"/>
                </a:solidFill>
              </a:rPr>
              <a:t>インドの下水処理の分析</a:t>
            </a:r>
            <a:r>
              <a:rPr lang="en-GB" sz="1015" b="1" baseline="30000" dirty="0" smtClean="0">
                <a:solidFill>
                  <a:srgbClr val="000000"/>
                </a:solidFill>
              </a:rPr>
              <a:t>3,4</a:t>
            </a:r>
            <a:endParaRPr lang="en-GB" sz="1015" b="1" baseline="30000" dirty="0">
              <a:solidFill>
                <a:srgbClr val="000000"/>
              </a:solidFill>
            </a:endParaRPr>
          </a:p>
          <a:p>
            <a:pPr marL="213952" indent="-213952"/>
            <a:r>
              <a:rPr lang="ja-JP" altLang="en-US" sz="923" i="1" dirty="0" smtClean="0">
                <a:solidFill>
                  <a:srgbClr val="000000"/>
                </a:solidFill>
              </a:rPr>
              <a:t>（単位　</a:t>
            </a:r>
            <a:r>
              <a:rPr lang="en-US" altLang="ja-JP" sz="923" i="1" dirty="0" smtClean="0">
                <a:solidFill>
                  <a:srgbClr val="000000"/>
                </a:solidFill>
              </a:rPr>
              <a:t>100</a:t>
            </a:r>
            <a:r>
              <a:rPr lang="ja-JP" altLang="en-US" sz="923" i="1" dirty="0" smtClean="0">
                <a:solidFill>
                  <a:srgbClr val="000000"/>
                </a:solidFill>
              </a:rPr>
              <a:t>万リットル／日）</a:t>
            </a:r>
            <a:endParaRPr lang="en-GB" sz="923" i="1" dirty="0">
              <a:solidFill>
                <a:srgbClr val="000000"/>
              </a:solidFill>
            </a:endParaRPr>
          </a:p>
        </p:txBody>
      </p:sp>
      <p:sp>
        <p:nvSpPr>
          <p:cNvPr id="29" name="Rounded Rectangular Callout 28"/>
          <p:cNvSpPr/>
          <p:nvPr/>
        </p:nvSpPr>
        <p:spPr>
          <a:xfrm>
            <a:off x="7563453" y="2347846"/>
            <a:ext cx="1131810" cy="955132"/>
          </a:xfrm>
          <a:prstGeom prst="wedgeRoundRectCallout">
            <a:avLst>
              <a:gd name="adj1" fmla="val -46585"/>
              <a:gd name="adj2" fmla="val 82254"/>
              <a:gd name="adj3" fmla="val 16667"/>
            </a:avLst>
          </a:prstGeom>
          <a:solidFill>
            <a:schemeClr val="bg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15" dirty="0" smtClean="0">
                <a:solidFill>
                  <a:schemeClr val="tx1"/>
                </a:solidFill>
              </a:rPr>
              <a:t>都市部ではそれぞれ</a:t>
            </a:r>
            <a:r>
              <a:rPr lang="en-IN" sz="1015" dirty="0" smtClean="0">
                <a:solidFill>
                  <a:schemeClr val="tx1"/>
                </a:solidFill>
              </a:rPr>
              <a:t>78</a:t>
            </a:r>
            <a:r>
              <a:rPr lang="ja-JP" altLang="en-US" sz="1015" dirty="0" smtClean="0">
                <a:solidFill>
                  <a:schemeClr val="tx1"/>
                </a:solidFill>
              </a:rPr>
              <a:t>％と</a:t>
            </a:r>
            <a:r>
              <a:rPr lang="en-IN" sz="1015" dirty="0" smtClean="0">
                <a:solidFill>
                  <a:schemeClr val="tx1"/>
                </a:solidFill>
              </a:rPr>
              <a:t>22</a:t>
            </a:r>
            <a:r>
              <a:rPr lang="ja-JP" altLang="en-US" sz="1015" dirty="0" smtClean="0">
                <a:solidFill>
                  <a:schemeClr val="tx1"/>
                </a:solidFill>
              </a:rPr>
              <a:t>％</a:t>
            </a:r>
            <a:endParaRPr lang="en-US" sz="1015" dirty="0">
              <a:solidFill>
                <a:schemeClr val="tx1"/>
              </a:solidFill>
            </a:endParaRPr>
          </a:p>
        </p:txBody>
      </p:sp>
    </p:spTree>
    <p:extLst>
      <p:ext uri="{BB962C8B-B14F-4D97-AF65-F5344CB8AC3E}">
        <p14:creationId xmlns:p14="http://schemas.microsoft.com/office/powerpoint/2010/main" val="157497821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dirty="0" smtClean="0"/>
              <a:t>中央政府には農村および都市部でトイレへのアクセスを可能にするための最重要プログラムが</a:t>
            </a:r>
            <a:r>
              <a:rPr lang="en-US" altLang="ja-JP" dirty="0" smtClean="0"/>
              <a:t>2</a:t>
            </a:r>
            <a:r>
              <a:rPr lang="ja-JP" altLang="en-US" dirty="0" smtClean="0"/>
              <a:t>つある</a:t>
            </a:r>
            <a:endParaRPr lang="en-US" dirty="0"/>
          </a:p>
        </p:txBody>
      </p:sp>
      <p:sp>
        <p:nvSpPr>
          <p:cNvPr id="3" name="Text Placeholder 2"/>
          <p:cNvSpPr>
            <a:spLocks noGrp="1"/>
          </p:cNvSpPr>
          <p:nvPr>
            <p:ph type="body" sz="quarter" idx="37"/>
          </p:nvPr>
        </p:nvSpPr>
        <p:spPr>
          <a:xfrm>
            <a:off x="415925" y="6223755"/>
            <a:ext cx="7539318" cy="609412"/>
          </a:xfrm>
        </p:spPr>
        <p:txBody>
          <a:bodyPr/>
          <a:lstStyle/>
          <a:p>
            <a:r>
              <a:rPr lang="en-US" sz="950" baseline="30000" dirty="0" smtClean="0"/>
              <a:t>1</a:t>
            </a:r>
            <a:r>
              <a:rPr lang="ja-JP" altLang="en-US" sz="950" dirty="0" smtClean="0"/>
              <a:t>トイレ及び浄化槽の設置費を含む；</a:t>
            </a:r>
            <a:r>
              <a:rPr lang="en-US" sz="950" dirty="0" smtClean="0"/>
              <a:t> </a:t>
            </a:r>
            <a:r>
              <a:rPr lang="en-US" sz="950" baseline="30000" dirty="0" smtClean="0"/>
              <a:t>2</a:t>
            </a:r>
            <a:r>
              <a:rPr lang="ja-JP" altLang="en-US" sz="950" dirty="0" smtClean="0"/>
              <a:t>マハトマ・ガンディー国家農村雇用保証法；</a:t>
            </a:r>
            <a:r>
              <a:rPr lang="en-US" sz="950" dirty="0" smtClean="0"/>
              <a:t> </a:t>
            </a:r>
            <a:r>
              <a:rPr lang="en-US" sz="950" baseline="30000" dirty="0" smtClean="0"/>
              <a:t>3</a:t>
            </a:r>
            <a:r>
              <a:rPr lang="ja-JP" altLang="en-US" sz="950" dirty="0" smtClean="0"/>
              <a:t>中小都市向け都市インフラ開発計画；</a:t>
            </a:r>
            <a:r>
              <a:rPr lang="en-US" sz="950" dirty="0" smtClean="0"/>
              <a:t> </a:t>
            </a:r>
            <a:r>
              <a:rPr lang="en-US" sz="950" baseline="30000" dirty="0" smtClean="0"/>
              <a:t>4</a:t>
            </a:r>
            <a:r>
              <a:rPr lang="ja-JP" altLang="en-US" sz="950" dirty="0" smtClean="0"/>
              <a:t>都市貧困層のための基礎的サービス；</a:t>
            </a:r>
            <a:r>
              <a:rPr lang="en-US" sz="950" dirty="0" smtClean="0"/>
              <a:t> </a:t>
            </a:r>
            <a:r>
              <a:rPr lang="en-US" sz="950" baseline="30000" dirty="0" smtClean="0"/>
              <a:t>5</a:t>
            </a:r>
            <a:r>
              <a:rPr lang="ja-JP" altLang="en-US" sz="950" dirty="0" smtClean="0"/>
              <a:t>総合住宅建設スラム開発プログラム</a:t>
            </a:r>
            <a:r>
              <a:rPr lang="en-US" sz="950" dirty="0" smtClean="0"/>
              <a:t> </a:t>
            </a:r>
          </a:p>
          <a:p>
            <a:r>
              <a:rPr lang="ja-JP" altLang="en-US" sz="950" dirty="0" smtClean="0"/>
              <a:t>出典：飲料水衛生省－年次報告書</a:t>
            </a:r>
            <a:r>
              <a:rPr lang="en-US" altLang="ja-JP" sz="950" dirty="0" smtClean="0"/>
              <a:t>2012</a:t>
            </a:r>
            <a:r>
              <a:rPr lang="ja-JP" altLang="en-US" sz="950" dirty="0" smtClean="0"/>
              <a:t>－</a:t>
            </a:r>
            <a:r>
              <a:rPr lang="en-US" altLang="ja-JP" sz="950" dirty="0" smtClean="0"/>
              <a:t>2013</a:t>
            </a:r>
            <a:r>
              <a:rPr lang="ja-JP" altLang="en-US" sz="950" dirty="0" smtClean="0"/>
              <a:t>年；</a:t>
            </a:r>
            <a:r>
              <a:rPr lang="en-US" sz="950" dirty="0" smtClean="0"/>
              <a:t> JNNURM</a:t>
            </a:r>
            <a:r>
              <a:rPr lang="ja-JP" altLang="en-US" sz="950" dirty="0" smtClean="0"/>
              <a:t>ウェブサイト</a:t>
            </a:r>
            <a:r>
              <a:rPr lang="ja-JP" altLang="en-US" sz="900" dirty="0"/>
              <a:t>（</a:t>
            </a:r>
            <a:r>
              <a:rPr lang="en-US" altLang="ja-JP" sz="900" dirty="0"/>
              <a:t>www.jnnurm.nic.in</a:t>
            </a:r>
            <a:r>
              <a:rPr lang="ja-JP" altLang="en-US" sz="900" dirty="0"/>
              <a:t>） </a:t>
            </a:r>
            <a:r>
              <a:rPr lang="en-US" sz="950" dirty="0" smtClean="0"/>
              <a:t> </a:t>
            </a:r>
            <a:endParaRPr lang="en-US" sz="950" dirty="0"/>
          </a:p>
        </p:txBody>
      </p:sp>
      <p:sp>
        <p:nvSpPr>
          <p:cNvPr id="5" name="Text Placeholder 3"/>
          <p:cNvSpPr>
            <a:spLocks noGrp="1"/>
          </p:cNvSpPr>
          <p:nvPr>
            <p:ph type="body" sz="quarter" idx="10"/>
          </p:nvPr>
        </p:nvSpPr>
        <p:spPr>
          <a:xfrm>
            <a:off x="2496106" y="1934931"/>
            <a:ext cx="2889625" cy="1292662"/>
          </a:xfrm>
        </p:spPr>
        <p:txBody>
          <a:bodyPr wrap="square">
            <a:spAutoFit/>
          </a:bodyPr>
          <a:lstStyle/>
          <a:p>
            <a:pPr>
              <a:spcBef>
                <a:spcPts val="0"/>
              </a:spcBef>
            </a:pPr>
            <a:r>
              <a:rPr lang="ja-JP" altLang="en-US" sz="1200" dirty="0" smtClean="0"/>
              <a:t>飲料水衛生省所掌</a:t>
            </a:r>
            <a:r>
              <a:rPr lang="en-US" sz="1200" dirty="0" smtClean="0"/>
              <a:t>  </a:t>
            </a:r>
          </a:p>
          <a:p>
            <a:pPr>
              <a:spcBef>
                <a:spcPts val="0"/>
              </a:spcBef>
            </a:pPr>
            <a:r>
              <a:rPr lang="en-US" altLang="ja-JP" sz="1200" dirty="0" smtClean="0"/>
              <a:t>2022</a:t>
            </a:r>
            <a:r>
              <a:rPr lang="ja-JP" altLang="en-US" sz="1200" dirty="0" smtClean="0"/>
              <a:t>年までに農村地域のトイレ普及率</a:t>
            </a:r>
            <a:r>
              <a:rPr lang="en-US" altLang="ja-JP" sz="1200" dirty="0" smtClean="0"/>
              <a:t>100</a:t>
            </a:r>
            <a:r>
              <a:rPr lang="ja-JP" altLang="en-US" sz="1200" dirty="0" smtClean="0"/>
              <a:t>％を目指す</a:t>
            </a:r>
            <a:endParaRPr lang="en-US" sz="1200" dirty="0" smtClean="0"/>
          </a:p>
          <a:p>
            <a:pPr>
              <a:spcBef>
                <a:spcPts val="0"/>
              </a:spcBef>
            </a:pPr>
            <a:r>
              <a:rPr lang="ja-JP" altLang="en-US" sz="1200" dirty="0" smtClean="0"/>
              <a:t>行動に変化を起こし、コミュニティ単位で公衆衛生への取り組みを行う</a:t>
            </a:r>
            <a:endParaRPr lang="en-US" sz="1200" dirty="0" smtClean="0"/>
          </a:p>
          <a:p>
            <a:pPr>
              <a:spcBef>
                <a:spcPts val="0"/>
              </a:spcBef>
            </a:pPr>
            <a:r>
              <a:rPr lang="ja-JP" altLang="en-US" sz="1200" dirty="0" smtClean="0"/>
              <a:t>特に学校へのトイレの設置に力を入れる</a:t>
            </a:r>
            <a:r>
              <a:rPr lang="en-US" sz="1200" dirty="0" smtClean="0"/>
              <a:t> </a:t>
            </a:r>
          </a:p>
        </p:txBody>
      </p:sp>
      <p:sp>
        <p:nvSpPr>
          <p:cNvPr id="6" name="Rounded Rectangle 5"/>
          <p:cNvSpPr>
            <a:spLocks noChangeArrowheads="1"/>
          </p:cNvSpPr>
          <p:nvPr>
            <p:custDataLst>
              <p:tags r:id="rId1"/>
            </p:custDataLst>
          </p:nvPr>
        </p:nvSpPr>
        <p:spPr bwMode="auto">
          <a:xfrm>
            <a:off x="498446" y="1934930"/>
            <a:ext cx="1641762" cy="1658704"/>
          </a:xfrm>
          <a:prstGeom prst="roundRect">
            <a:avLst/>
          </a:prstGeom>
          <a:solidFill>
            <a:schemeClr val="bg1">
              <a:lumMod val="85000"/>
            </a:schemeClr>
          </a:solidFill>
          <a:ln w="12700" algn="ctr">
            <a:noFill/>
            <a:miter lim="800000"/>
            <a:headEnd/>
            <a:tailEnd/>
          </a:ln>
        </p:spPr>
        <p:txBody>
          <a:bodyPr lIns="77893" tIns="38947" rIns="77893" bIns="38947" anchor="ctr"/>
          <a:lstStyle/>
          <a:p>
            <a:pPr marL="97389" algn="ctr" defTabSz="779842"/>
            <a:r>
              <a:rPr lang="ja-JP" altLang="en-US" sz="1200" b="1" dirty="0" smtClean="0">
                <a:latin typeface="Calibri" pitchFamily="34" charset="0"/>
              </a:rPr>
              <a:t>公衆衛生総合キャンペーン（</a:t>
            </a:r>
            <a:r>
              <a:rPr lang="en-US" sz="1200" b="1" dirty="0" smtClean="0">
                <a:latin typeface="Calibri" pitchFamily="34" charset="0"/>
              </a:rPr>
              <a:t>NBA</a:t>
            </a:r>
            <a:r>
              <a:rPr lang="ja-JP" altLang="en-US" sz="1200" b="1" dirty="0" smtClean="0">
                <a:latin typeface="Calibri" pitchFamily="34" charset="0"/>
              </a:rPr>
              <a:t>）</a:t>
            </a:r>
            <a:endParaRPr lang="en-US" sz="1200" b="1" dirty="0" smtClean="0">
              <a:latin typeface="Calibri" pitchFamily="34" charset="0"/>
            </a:endParaRPr>
          </a:p>
          <a:p>
            <a:pPr marL="97389" algn="ctr" defTabSz="779842"/>
            <a:endParaRPr lang="en-US" sz="1200" i="1" dirty="0" smtClean="0">
              <a:latin typeface="Calibri" pitchFamily="34" charset="0"/>
            </a:endParaRPr>
          </a:p>
          <a:p>
            <a:pPr marL="97389" algn="ctr" defTabSz="779842"/>
            <a:r>
              <a:rPr lang="ja-JP" altLang="en-US" sz="1200" i="1" dirty="0" smtClean="0">
                <a:latin typeface="Calibri" pitchFamily="34" charset="0"/>
              </a:rPr>
              <a:t>農村地域に対して</a:t>
            </a:r>
            <a:endParaRPr lang="en-US" sz="1200" i="1" dirty="0">
              <a:latin typeface="Calibri" pitchFamily="34" charset="0"/>
            </a:endParaRPr>
          </a:p>
        </p:txBody>
      </p:sp>
      <p:sp>
        <p:nvSpPr>
          <p:cNvPr id="7" name="TextBox 6"/>
          <p:cNvSpPr txBox="1"/>
          <p:nvPr/>
        </p:nvSpPr>
        <p:spPr>
          <a:xfrm>
            <a:off x="415637" y="1460499"/>
            <a:ext cx="1645920" cy="198505"/>
          </a:xfrm>
          <a:prstGeom prst="rect">
            <a:avLst/>
          </a:prstGeom>
          <a:noFill/>
        </p:spPr>
        <p:txBody>
          <a:bodyPr wrap="square" lIns="0" tIns="0" rIns="0" bIns="0" rtlCol="0" anchor="b">
            <a:noAutofit/>
          </a:bodyPr>
          <a:lstStyle/>
          <a:p>
            <a:pPr algn="ctr"/>
            <a:r>
              <a:rPr lang="ja-JP" altLang="en-US" sz="1200" b="1" dirty="0" smtClean="0"/>
              <a:t>スキーム</a:t>
            </a:r>
            <a:endParaRPr lang="en-US" sz="1200" i="1" dirty="0" smtClean="0"/>
          </a:p>
        </p:txBody>
      </p:sp>
      <p:cxnSp>
        <p:nvCxnSpPr>
          <p:cNvPr id="8" name="Straight Connector 7"/>
          <p:cNvCxnSpPr/>
          <p:nvPr/>
        </p:nvCxnSpPr>
        <p:spPr>
          <a:xfrm>
            <a:off x="415638" y="1683094"/>
            <a:ext cx="164592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2496106" y="1460499"/>
            <a:ext cx="2889625" cy="198505"/>
          </a:xfrm>
          <a:prstGeom prst="rect">
            <a:avLst/>
          </a:prstGeom>
          <a:noFill/>
        </p:spPr>
        <p:txBody>
          <a:bodyPr wrap="square" lIns="0" tIns="0" rIns="0" bIns="0" rtlCol="0" anchor="b">
            <a:noAutofit/>
          </a:bodyPr>
          <a:lstStyle/>
          <a:p>
            <a:pPr algn="ctr"/>
            <a:r>
              <a:rPr lang="ja-JP" altLang="en-US" sz="1200" b="1" dirty="0" smtClean="0"/>
              <a:t>内容</a:t>
            </a:r>
            <a:endParaRPr lang="en-US" sz="1200" i="1" dirty="0" smtClean="0"/>
          </a:p>
        </p:txBody>
      </p:sp>
      <p:cxnSp>
        <p:nvCxnSpPr>
          <p:cNvPr id="10" name="Straight Connector 9"/>
          <p:cNvCxnSpPr/>
          <p:nvPr/>
        </p:nvCxnSpPr>
        <p:spPr>
          <a:xfrm>
            <a:off x="2496108" y="1683094"/>
            <a:ext cx="2889625"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 name="Text Placeholder 3"/>
          <p:cNvSpPr txBox="1">
            <a:spLocks/>
          </p:cNvSpPr>
          <p:nvPr/>
        </p:nvSpPr>
        <p:spPr>
          <a:xfrm>
            <a:off x="5859075" y="1934931"/>
            <a:ext cx="2743200" cy="1477328"/>
          </a:xfrm>
          <a:prstGeom prst="rect">
            <a:avLst/>
          </a:prstGeom>
        </p:spPr>
        <p:txBody>
          <a:bodyPr wrap="square" lIns="0" tIns="0" rIns="0" bIns="0">
            <a:spAutoFit/>
          </a:bodyPr>
          <a:lstStyle>
            <a:lvl1pPr marL="173038" indent="-173038"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347663" indent="-174625"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509588" indent="-161925" algn="l" defTabSz="914293" rtl="0" eaLnBrk="1" latinLnBrk="0" hangingPunct="1">
              <a:spcBef>
                <a:spcPct val="20000"/>
              </a:spcBef>
              <a:buFont typeface="Courier New" pitchFamily="49" charset="0"/>
              <a:buChar char="o"/>
              <a:defRPr sz="1200" kern="1200">
                <a:solidFill>
                  <a:schemeClr val="tx1"/>
                </a:solidFill>
                <a:latin typeface="+mn-lt"/>
                <a:ea typeface="+mn-ea"/>
                <a:cs typeface="+mn-cs"/>
              </a:defRPr>
            </a:lvl3pPr>
            <a:lvl4pPr marL="682625" indent="-173038"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ja-JP" altLang="en-US" sz="1200" dirty="0" smtClean="0"/>
              <a:t>家庭用トイレに</a:t>
            </a:r>
            <a:r>
              <a:rPr lang="en-US" altLang="ja-JP" sz="1200" dirty="0" smtClean="0"/>
              <a:t>50</a:t>
            </a:r>
            <a:r>
              <a:rPr lang="ja-JP" altLang="en-US" sz="1200" dirty="0" smtClean="0"/>
              <a:t>米ドル、学校のトイレに</a:t>
            </a:r>
            <a:r>
              <a:rPr lang="en-US" altLang="ja-JP" sz="1200" dirty="0" smtClean="0"/>
              <a:t>600</a:t>
            </a:r>
            <a:r>
              <a:rPr lang="ja-JP" altLang="en-US" sz="1200" dirty="0" smtClean="0"/>
              <a:t>米ドル、コミュニティのトイレに</a:t>
            </a:r>
            <a:r>
              <a:rPr lang="en-US" altLang="ja-JP" sz="1200" dirty="0" smtClean="0"/>
              <a:t>3,300</a:t>
            </a:r>
            <a:r>
              <a:rPr lang="ja-JP" altLang="en-US" sz="1200" dirty="0" smtClean="0"/>
              <a:t>米ドルの補助金を提供する</a:t>
            </a:r>
            <a:r>
              <a:rPr lang="en-US" sz="1200" baseline="30000" dirty="0" smtClean="0"/>
              <a:t>1</a:t>
            </a:r>
          </a:p>
          <a:p>
            <a:pPr>
              <a:spcBef>
                <a:spcPts val="0"/>
              </a:spcBef>
            </a:pPr>
            <a:r>
              <a:rPr lang="en-US" altLang="ja-JP" sz="1200" dirty="0" smtClean="0"/>
              <a:t>MGNREGA</a:t>
            </a:r>
            <a:r>
              <a:rPr lang="en-US" altLang="ja-JP" sz="1200" baseline="30000" dirty="0" smtClean="0"/>
              <a:t>2</a:t>
            </a:r>
            <a:r>
              <a:rPr lang="ja-JP" altLang="en-US" sz="1200" dirty="0" smtClean="0"/>
              <a:t>に基づき最大</a:t>
            </a:r>
            <a:r>
              <a:rPr lang="en-US" altLang="ja-JP" sz="1200" dirty="0" smtClean="0"/>
              <a:t>75</a:t>
            </a:r>
            <a:r>
              <a:rPr lang="ja-JP" altLang="en-US" sz="1200" dirty="0" smtClean="0"/>
              <a:t>米ドルの仕事も登録される</a:t>
            </a:r>
            <a:endParaRPr lang="en-US" sz="1200" baseline="30000" dirty="0" smtClean="0"/>
          </a:p>
          <a:p>
            <a:pPr>
              <a:spcBef>
                <a:spcPts val="0"/>
              </a:spcBef>
            </a:pPr>
            <a:r>
              <a:rPr lang="ja-JP" altLang="en-US" sz="1200" dirty="0" smtClean="0"/>
              <a:t>丘陵地帯や北東部の州でのトイレ設置には補助金が追加される</a:t>
            </a:r>
            <a:endParaRPr lang="en-US" sz="1200" dirty="0"/>
          </a:p>
        </p:txBody>
      </p:sp>
      <p:sp>
        <p:nvSpPr>
          <p:cNvPr id="12" name="TextBox 11"/>
          <p:cNvSpPr txBox="1"/>
          <p:nvPr/>
        </p:nvSpPr>
        <p:spPr>
          <a:xfrm>
            <a:off x="5859075" y="1460499"/>
            <a:ext cx="2743200" cy="198505"/>
          </a:xfrm>
          <a:prstGeom prst="rect">
            <a:avLst/>
          </a:prstGeom>
          <a:noFill/>
        </p:spPr>
        <p:txBody>
          <a:bodyPr wrap="square" lIns="0" tIns="0" rIns="0" bIns="0" rtlCol="0" anchor="b">
            <a:noAutofit/>
          </a:bodyPr>
          <a:lstStyle/>
          <a:p>
            <a:pPr algn="ctr"/>
            <a:r>
              <a:rPr lang="ja-JP" altLang="en-US" sz="1200" b="1" dirty="0" smtClean="0"/>
              <a:t>関連条項</a:t>
            </a:r>
            <a:endParaRPr lang="en-US" sz="1200" i="1" dirty="0" smtClean="0"/>
          </a:p>
        </p:txBody>
      </p:sp>
      <p:cxnSp>
        <p:nvCxnSpPr>
          <p:cNvPr id="13" name="Straight Connector 12"/>
          <p:cNvCxnSpPr/>
          <p:nvPr/>
        </p:nvCxnSpPr>
        <p:spPr>
          <a:xfrm>
            <a:off x="5859076" y="1683094"/>
            <a:ext cx="2743200" cy="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3"/>
          <p:cNvSpPr txBox="1">
            <a:spLocks/>
          </p:cNvSpPr>
          <p:nvPr/>
        </p:nvSpPr>
        <p:spPr>
          <a:xfrm>
            <a:off x="2496106" y="4125260"/>
            <a:ext cx="2889625" cy="1551194"/>
          </a:xfrm>
          <a:prstGeom prst="rect">
            <a:avLst/>
          </a:prstGeom>
        </p:spPr>
        <p:txBody>
          <a:bodyPr wrap="square" lIns="0" tIns="0" rIns="0" bIns="0">
            <a:spAutoFit/>
          </a:bodyPr>
          <a:lstStyle>
            <a:lvl1pPr marL="173038" indent="-173038"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347663" indent="-174625"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509588" indent="-161925" algn="l" defTabSz="914293" rtl="0" eaLnBrk="1" latinLnBrk="0" hangingPunct="1">
              <a:spcBef>
                <a:spcPct val="20000"/>
              </a:spcBef>
              <a:buFont typeface="Courier New" pitchFamily="49" charset="0"/>
              <a:buChar char="o"/>
              <a:defRPr sz="1200" kern="1200">
                <a:solidFill>
                  <a:schemeClr val="tx1"/>
                </a:solidFill>
                <a:latin typeface="+mn-lt"/>
                <a:ea typeface="+mn-ea"/>
                <a:cs typeface="+mn-cs"/>
              </a:defRPr>
            </a:lvl3pPr>
            <a:lvl4pPr marL="682625" indent="-173038"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ja-JP" altLang="en-US" sz="1200" dirty="0" smtClean="0"/>
              <a:t>都市開発省所掌</a:t>
            </a:r>
            <a:endParaRPr lang="en-US" sz="1200" dirty="0" smtClean="0"/>
          </a:p>
          <a:p>
            <a:pPr>
              <a:buFont typeface="Arial"/>
              <a:buChar char="•"/>
            </a:pPr>
            <a:r>
              <a:rPr lang="ja-JP" altLang="en-US" sz="1200" dirty="0" smtClean="0">
                <a:solidFill>
                  <a:srgbClr val="000000"/>
                </a:solidFill>
              </a:rPr>
              <a:t>都市部のインフラ整備とサービス提供の効率向上を目指す（飲料水供給、下水道管理を含む）</a:t>
            </a:r>
            <a:endParaRPr lang="en-US" sz="1200" dirty="0" smtClean="0">
              <a:solidFill>
                <a:srgbClr val="000000"/>
              </a:solidFill>
            </a:endParaRPr>
          </a:p>
          <a:p>
            <a:pPr>
              <a:buFont typeface="Arial"/>
              <a:buChar char="•"/>
            </a:pPr>
            <a:r>
              <a:rPr lang="ja-JP" altLang="en-US" sz="1200" dirty="0" smtClean="0">
                <a:solidFill>
                  <a:srgbClr val="000000"/>
                </a:solidFill>
              </a:rPr>
              <a:t>このプログラムには特に中小都市向けの</a:t>
            </a:r>
            <a:r>
              <a:rPr lang="en-US" sz="1200" dirty="0" smtClean="0">
                <a:solidFill>
                  <a:srgbClr val="000000"/>
                </a:solidFill>
              </a:rPr>
              <a:t>UIDSSMT</a:t>
            </a:r>
            <a:r>
              <a:rPr lang="en-US" sz="1200" baseline="30000" dirty="0" smtClean="0">
                <a:solidFill>
                  <a:srgbClr val="000000"/>
                </a:solidFill>
              </a:rPr>
              <a:t>3</a:t>
            </a:r>
            <a:r>
              <a:rPr lang="en-US" sz="1200" dirty="0" smtClean="0">
                <a:solidFill>
                  <a:srgbClr val="000000"/>
                </a:solidFill>
              </a:rPr>
              <a:t> </a:t>
            </a:r>
            <a:r>
              <a:rPr lang="ja-JP" altLang="en-US" sz="1200" dirty="0" err="1" smtClean="0">
                <a:solidFill>
                  <a:srgbClr val="000000"/>
                </a:solidFill>
              </a:rPr>
              <a:t>、</a:t>
            </a:r>
            <a:r>
              <a:rPr lang="ja-JP" altLang="en-US" sz="1200" dirty="0" smtClean="0">
                <a:solidFill>
                  <a:srgbClr val="000000"/>
                </a:solidFill>
              </a:rPr>
              <a:t>スラム開発及び都市住宅のための</a:t>
            </a:r>
            <a:r>
              <a:rPr lang="en-US" sz="1200" dirty="0" smtClean="0">
                <a:solidFill>
                  <a:srgbClr val="000000"/>
                </a:solidFill>
              </a:rPr>
              <a:t>BSUP</a:t>
            </a:r>
            <a:r>
              <a:rPr lang="en-US" sz="1200" baseline="30000" dirty="0" smtClean="0">
                <a:solidFill>
                  <a:srgbClr val="000000"/>
                </a:solidFill>
              </a:rPr>
              <a:t>4</a:t>
            </a:r>
            <a:r>
              <a:rPr lang="en-US" sz="1200" dirty="0" smtClean="0">
                <a:solidFill>
                  <a:srgbClr val="000000"/>
                </a:solidFill>
              </a:rPr>
              <a:t> </a:t>
            </a:r>
            <a:r>
              <a:rPr lang="ja-JP" altLang="en-US" sz="1200" dirty="0" smtClean="0">
                <a:solidFill>
                  <a:srgbClr val="000000"/>
                </a:solidFill>
              </a:rPr>
              <a:t>や</a:t>
            </a:r>
            <a:r>
              <a:rPr lang="en-US" sz="1200" dirty="0" smtClean="0">
                <a:solidFill>
                  <a:srgbClr val="000000"/>
                </a:solidFill>
              </a:rPr>
              <a:t>IHSDP</a:t>
            </a:r>
            <a:r>
              <a:rPr lang="en-US" sz="1200" baseline="30000" dirty="0" smtClean="0">
                <a:solidFill>
                  <a:srgbClr val="000000"/>
                </a:solidFill>
              </a:rPr>
              <a:t>5</a:t>
            </a:r>
            <a:r>
              <a:rPr lang="en-US" sz="1200" dirty="0" smtClean="0">
                <a:solidFill>
                  <a:srgbClr val="000000"/>
                </a:solidFill>
              </a:rPr>
              <a:t> </a:t>
            </a:r>
            <a:r>
              <a:rPr lang="ja-JP" altLang="en-US" sz="1200" dirty="0" smtClean="0">
                <a:solidFill>
                  <a:srgbClr val="000000"/>
                </a:solidFill>
              </a:rPr>
              <a:t>など、下位プログラムがいくつかある</a:t>
            </a:r>
            <a:r>
              <a:rPr lang="en-US" sz="1200" dirty="0" smtClean="0">
                <a:solidFill>
                  <a:srgbClr val="000000"/>
                </a:solidFill>
              </a:rPr>
              <a:t> </a:t>
            </a:r>
            <a:endParaRPr lang="en-US" sz="1200" dirty="0" smtClean="0"/>
          </a:p>
        </p:txBody>
      </p:sp>
      <p:sp>
        <p:nvSpPr>
          <p:cNvPr id="15" name="Rounded Rectangle 14"/>
          <p:cNvSpPr>
            <a:spLocks noChangeArrowheads="1"/>
          </p:cNvSpPr>
          <p:nvPr>
            <p:custDataLst>
              <p:tags r:id="rId2"/>
            </p:custDataLst>
          </p:nvPr>
        </p:nvSpPr>
        <p:spPr bwMode="auto">
          <a:xfrm>
            <a:off x="498446" y="4125260"/>
            <a:ext cx="1641762" cy="1913829"/>
          </a:xfrm>
          <a:prstGeom prst="roundRect">
            <a:avLst/>
          </a:prstGeom>
          <a:solidFill>
            <a:schemeClr val="bg1">
              <a:lumMod val="85000"/>
            </a:schemeClr>
          </a:solidFill>
          <a:ln w="12700" algn="ctr">
            <a:noFill/>
            <a:miter lim="800000"/>
            <a:headEnd/>
            <a:tailEnd/>
          </a:ln>
        </p:spPr>
        <p:txBody>
          <a:bodyPr lIns="77893" tIns="38947" rIns="77893" bIns="38947" anchor="ctr"/>
          <a:lstStyle/>
          <a:p>
            <a:pPr marL="97389" algn="ctr" defTabSz="779842"/>
            <a:r>
              <a:rPr lang="ja-JP" altLang="en-US" sz="1200" b="1" dirty="0" smtClean="0">
                <a:latin typeface="Calibri" pitchFamily="34" charset="0"/>
              </a:rPr>
              <a:t>ジャワハルラール・ネルー国家都市再生ミッション（</a:t>
            </a:r>
            <a:r>
              <a:rPr lang="en-US" sz="1200" b="1" dirty="0" smtClean="0">
                <a:latin typeface="Calibri" pitchFamily="34" charset="0"/>
              </a:rPr>
              <a:t>JNNURM</a:t>
            </a:r>
            <a:r>
              <a:rPr lang="ja-JP" altLang="en-US" sz="1200" b="1" dirty="0" smtClean="0">
                <a:latin typeface="Calibri" pitchFamily="34" charset="0"/>
              </a:rPr>
              <a:t>）</a:t>
            </a:r>
            <a:endParaRPr lang="en-US" sz="1200" b="1" dirty="0" smtClean="0">
              <a:latin typeface="Calibri" pitchFamily="34" charset="0"/>
            </a:endParaRPr>
          </a:p>
          <a:p>
            <a:pPr marL="97389" algn="ctr" defTabSz="779842"/>
            <a:endParaRPr lang="en-US" sz="1200" i="1" dirty="0" smtClean="0">
              <a:latin typeface="Calibri" pitchFamily="34" charset="0"/>
            </a:endParaRPr>
          </a:p>
          <a:p>
            <a:pPr marL="97389" algn="ctr" defTabSz="779842"/>
            <a:r>
              <a:rPr lang="ja-JP" altLang="en-US" sz="1200" i="1" dirty="0" smtClean="0">
                <a:latin typeface="Calibri" pitchFamily="34" charset="0"/>
              </a:rPr>
              <a:t>市や町に対して</a:t>
            </a:r>
            <a:endParaRPr lang="en-US" sz="1200" i="1" dirty="0">
              <a:latin typeface="Calibri" pitchFamily="34" charset="0"/>
            </a:endParaRPr>
          </a:p>
        </p:txBody>
      </p:sp>
      <p:sp>
        <p:nvSpPr>
          <p:cNvPr id="20" name="Text Placeholder 3"/>
          <p:cNvSpPr txBox="1">
            <a:spLocks/>
          </p:cNvSpPr>
          <p:nvPr/>
        </p:nvSpPr>
        <p:spPr>
          <a:xfrm>
            <a:off x="5859075" y="4125260"/>
            <a:ext cx="2743200" cy="1846659"/>
          </a:xfrm>
          <a:prstGeom prst="rect">
            <a:avLst/>
          </a:prstGeom>
        </p:spPr>
        <p:txBody>
          <a:bodyPr wrap="square" lIns="0" tIns="0" rIns="0" bIns="0">
            <a:spAutoFit/>
          </a:bodyPr>
          <a:lstStyle>
            <a:lvl1pPr marL="173038" indent="-173038" algn="l" defTabSz="914293"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347663" indent="-174625"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509588" indent="-161925" algn="l" defTabSz="914293" rtl="0" eaLnBrk="1" latinLnBrk="0" hangingPunct="1">
              <a:spcBef>
                <a:spcPct val="20000"/>
              </a:spcBef>
              <a:buFont typeface="Courier New" pitchFamily="49" charset="0"/>
              <a:buChar char="o"/>
              <a:defRPr sz="1200" kern="1200">
                <a:solidFill>
                  <a:schemeClr val="tx1"/>
                </a:solidFill>
                <a:latin typeface="+mn-lt"/>
                <a:ea typeface="+mn-ea"/>
                <a:cs typeface="+mn-cs"/>
              </a:defRPr>
            </a:lvl3pPr>
            <a:lvl4pPr marL="682625" indent="-173038" algn="l" defTabSz="914293" rtl="0" eaLnBrk="1" latinLnBrk="0" hangingPunct="1">
              <a:spcBef>
                <a:spcPct val="20000"/>
              </a:spcBef>
              <a:buFont typeface="Arial" pitchFamily="34" charset="0"/>
              <a:buChar char="–"/>
              <a:defRPr sz="1200" kern="1200">
                <a:solidFill>
                  <a:schemeClr val="tx1"/>
                </a:solidFill>
                <a:latin typeface="+mn-lt"/>
                <a:ea typeface="+mn-ea"/>
                <a:cs typeface="+mn-cs"/>
              </a:defRPr>
            </a:lvl4pPr>
            <a:lvl5pPr marL="2057159" indent="-228573" algn="l" defTabSz="914293" rtl="0" eaLnBrk="1" latinLnBrk="0" hangingPunct="1">
              <a:spcBef>
                <a:spcPct val="20000"/>
              </a:spcBef>
              <a:buFont typeface="Arial" pitchFamily="34" charset="0"/>
              <a:buChar char="»"/>
              <a:defRPr sz="1300" kern="1200">
                <a:solidFill>
                  <a:schemeClr val="tx1"/>
                </a:solidFill>
                <a:latin typeface="+mn-lt"/>
                <a:ea typeface="+mn-ea"/>
                <a:cs typeface="+mn-cs"/>
              </a:defRPr>
            </a:lvl5pPr>
            <a:lvl6pPr marL="251430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ja-JP" altLang="en-US" sz="1200" dirty="0" smtClean="0"/>
              <a:t>本ミッションでは資金・支援を受けるメガシティ</a:t>
            </a:r>
            <a:r>
              <a:rPr lang="en-US" altLang="ja-JP" sz="1200" dirty="0" smtClean="0"/>
              <a:t>7</a:t>
            </a:r>
            <a:r>
              <a:rPr lang="ja-JP" altLang="en-US" sz="1200" dirty="0" err="1" smtClean="0"/>
              <a:t>、</a:t>
            </a:r>
            <a:r>
              <a:rPr lang="ja-JP" altLang="en-US" sz="1200" dirty="0" smtClean="0"/>
              <a:t>都市</a:t>
            </a:r>
            <a:r>
              <a:rPr lang="en-US" altLang="ja-JP" sz="1200" dirty="0" smtClean="0"/>
              <a:t>28</a:t>
            </a:r>
            <a:r>
              <a:rPr lang="ja-JP" altLang="en-US" sz="1200" dirty="0" err="1" smtClean="0"/>
              <a:t>、</a:t>
            </a:r>
            <a:r>
              <a:rPr lang="ja-JP" altLang="en-US" sz="1200" dirty="0" smtClean="0"/>
              <a:t>小都市</a:t>
            </a:r>
            <a:r>
              <a:rPr lang="en-US" altLang="ja-JP" sz="1200" dirty="0" smtClean="0"/>
              <a:t>28</a:t>
            </a:r>
            <a:r>
              <a:rPr lang="ja-JP" altLang="en-US" sz="1200" dirty="0" smtClean="0"/>
              <a:t>を定める</a:t>
            </a:r>
            <a:endParaRPr lang="en-US" sz="1200" dirty="0" smtClean="0"/>
          </a:p>
          <a:p>
            <a:pPr>
              <a:spcBef>
                <a:spcPts val="0"/>
              </a:spcBef>
            </a:pPr>
            <a:r>
              <a:rPr lang="ja-JP" altLang="en-US" sz="1200" dirty="0" smtClean="0"/>
              <a:t>支援はプログラムに基づき、能力開発、住民参加、てこ入れ資金の形で提供される（バイアビリティーギャップファンディング、プロジェクトのバンカビリティを高めるための支援などを通じて）</a:t>
            </a:r>
            <a:endParaRPr lang="en-US" sz="1200" dirty="0" smtClean="0"/>
          </a:p>
          <a:p>
            <a:pPr>
              <a:spcBef>
                <a:spcPts val="0"/>
              </a:spcBef>
            </a:pPr>
            <a:endParaRPr lang="en-US" sz="1200" dirty="0" smtClean="0"/>
          </a:p>
        </p:txBody>
      </p:sp>
      <p:sp>
        <p:nvSpPr>
          <p:cNvPr id="29" name="Oval 28"/>
          <p:cNvSpPr/>
          <p:nvPr/>
        </p:nvSpPr>
        <p:spPr>
          <a:xfrm>
            <a:off x="415637" y="1873882"/>
            <a:ext cx="274320" cy="274320"/>
          </a:xfrm>
          <a:prstGeom prst="ellipse">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1</a:t>
            </a:r>
            <a:endParaRPr lang="en-US" sz="1400" b="1" dirty="0"/>
          </a:p>
        </p:txBody>
      </p:sp>
      <p:sp>
        <p:nvSpPr>
          <p:cNvPr id="30" name="Oval 29"/>
          <p:cNvSpPr/>
          <p:nvPr/>
        </p:nvSpPr>
        <p:spPr>
          <a:xfrm>
            <a:off x="415637" y="4035606"/>
            <a:ext cx="274320" cy="274320"/>
          </a:xfrm>
          <a:prstGeom prst="ellipse">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t>2</a:t>
            </a:r>
            <a:endParaRPr lang="en-US" sz="1400" b="1" dirty="0"/>
          </a:p>
        </p:txBody>
      </p:sp>
    </p:spTree>
    <p:extLst>
      <p:ext uri="{BB962C8B-B14F-4D97-AF65-F5344CB8AC3E}">
        <p14:creationId xmlns:p14="http://schemas.microsoft.com/office/powerpoint/2010/main" val="194522611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10;&lt;root reqver=&quot;21047&quot;&gt;&lt;version val=&quot;23227&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1-%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bNumberIsYear val=&quot;0&quot;/&gt;&lt;m_strFormatTime&gt;%1&lt;/m_strFormatTime&gt;&lt;/m_precDefaultMonth&gt;&lt;m_precDefaultWeek&gt;&lt;m_bNumberIsYear val=&quot;0&quot;/&gt;&lt;m_strFormatTime&gt;%4&lt;/m_strFormatTime&gt;&lt;/m_precDefaultWeek&gt;&lt;m_precDefaultDay&gt;&lt;m_bNumberIsYear val=&quot;0&quot;/&gt;&lt;m_strFormatTime&gt;%#d&lt;/m_strFormatTime&gt;&lt;/m_precDefaultDay&gt;&lt;m_mruColor&gt;&lt;m_vecMRU length=&quot;24&quot;&gt;&lt;elem m_fUsage=&quot;2.41845111706751980000E+000&quot;&gt;&lt;m_msothmcolidx val=&quot;0&quot;/&gt;&lt;m_rgb r=&quot;bb&quot; g=&quot;bb&quot; b=&quot;bf&quot;/&gt;&lt;m_ppcolschidx tagver0=&quot;23004&quot; tagname0=&quot;m_ppcolschidxUNRECOGNIZED&quot; val=&quot;0&quot;/&gt;&lt;m_nBrightness val=&quot;0&quot;/&gt;&lt;/elem&gt;&lt;elem m_fUsage=&quot;2.18302114013214780000E+000&quot;&gt;&lt;m_msothmcolidx val=&quot;0&quot;/&gt;&lt;m_rgb r=&quot;55&quot; g=&quot;55&quot; b=&quot;5f&quot;/&gt;&lt;m_ppcolschidx tagver0=&quot;23004&quot; tagname0=&quot;m_ppcolschidxUNRECOGNIZED&quot; val=&quot;0&quot;/&gt;&lt;m_nBrightness val=&quot;0&quot;/&gt;&lt;/elem&gt;&lt;elem m_fUsage=&quot;1.49933886804432200000E+000&quot;&gt;&lt;m_msothmcolidx val=&quot;0&quot;/&gt;&lt;m_rgb r=&quot;67&quot; g=&quot;10&quot; b=&quot;3f&quot;/&gt;&lt;m_ppcolschidx tagver0=&quot;23004&quot; tagname0=&quot;m_ppcolschidxUNRECOGNIZED&quot; val=&quot;0&quot;/&gt;&lt;m_nBrightness val=&quot;0&quot;/&gt;&lt;/elem&gt;&lt;elem m_fUsage=&quot;1.08994172947688380000E+000&quot;&gt;&lt;m_msothmcolidx val=&quot;0&quot;/&gt;&lt;m_rgb r=&quot;c0&quot; g=&quot;ce&quot; b=&quot;df&quot;/&gt;&lt;m_ppcolschidx tagver0=&quot;23004&quot; tagname0=&quot;m_ppcolschidxUNRECOGNIZED&quot; val=&quot;0&quot;/&gt;&lt;m_nBrightness val=&quot;0&quot;/&gt;&lt;/elem&gt;&lt;elem m_fUsage=&quot;1.02879456195707420000E+000&quot;&gt;&lt;m_msothmcolidx val=&quot;0&quot;/&gt;&lt;m_rgb r=&quot;5b&quot; g=&quot;80&quot; b=&quot;ad&quot;/&gt;&lt;m_ppcolschidx tagver0=&quot;23004&quot; tagname0=&quot;m_ppcolschidxUNRECOGNIZED&quot; val=&quot;0&quot;/&gt;&lt;m_nBrightness val=&quot;0&quot;/&gt;&lt;/elem&gt;&lt;elem m_fUsage=&quot;7.21729564316171520000E-001&quot;&gt;&lt;m_msothmcolidx val=&quot;0&quot;/&gt;&lt;m_rgb r=&quot;cc&quot; g=&quot;af&quot; b=&quot;bf&quot;/&gt;&lt;m_ppcolschidx tagver0=&quot;23004&quot; tagname0=&quot;m_ppcolschidxUNRECOGNIZED&quot; val=&quot;0&quot;/&gt;&lt;m_nBrightness val=&quot;0&quot;/&gt;&lt;/elem&gt;&lt;elem m_fUsage=&quot;6.24078998652759950000E-001&quot;&gt;&lt;m_msothmcolidx val=&quot;0&quot;/&gt;&lt;m_rgb r=&quot;dd&quot; g=&quot;dd&quot; b=&quot;df&quot;/&gt;&lt;m_ppcolschidx tagver0=&quot;23004&quot; tagname0=&quot;m_ppcolschidxUNRECOGNIZED&quot; val=&quot;0&quot;/&gt;&lt;m_nBrightness val=&quot;0&quot;/&gt;&lt;/elem&gt;&lt;elem m_fUsage=&quot;2.33556277783332100000E-001&quot;&gt;&lt;m_msothmcolidx val=&quot;0&quot;/&gt;&lt;m_rgb r=&quot;b3&quot; g=&quot;87&quot; b=&quot;9f&quot;/&gt;&lt;m_ppcolschidx tagver0=&quot;23004&quot; tagname0=&quot;m_ppcolschidxUNRECOGNIZED&quot; val=&quot;0&quot;/&gt;&lt;m_nBrightness val=&quot;0&quot;/&gt;&lt;/elem&gt;&lt;elem m_fUsage=&quot;1.66772938449021500000E-001&quot;&gt;&lt;m_msothmcolidx val=&quot;0&quot;/&gt;&lt;m_rgb r=&quot;9e&quot; g=&quot;b4&quot; b=&quot;ce&quot;/&gt;&lt;m_ppcolschidx tagver0=&quot;23004&quot; tagname0=&quot;m_ppcolschidxUNRECOGNIZED&quot; val=&quot;0&quot;/&gt;&lt;m_nBrightness val=&quot;0&quot;/&gt;&lt;/elem&gt;&lt;elem m_fUsage=&quot;1.56343339910222470000E-002&quot;&gt;&lt;m_msothmcolidx val=&quot;0&quot;/&gt;&lt;m_rgb r=&quot;77&quot; g=&quot;77&quot; b=&quot;7f&quot;/&gt;&lt;m_ppcolschidx tagver0=&quot;23004&quot; tagname0=&quot;m_ppcolschidxUNRECOGNIZED&quot; val=&quot;0&quot;/&gt;&lt;m_nBrightness val=&quot;0&quot;/&gt;&lt;/elem&gt;&lt;elem m_fUsage=&quot;1.42740808629350910000E-002&quot;&gt;&lt;m_msothmcolidx val=&quot;0&quot;/&gt;&lt;m_rgb r=&quot;99&quot; g=&quot;99&quot; b=&quot;9f&quot;/&gt;&lt;m_ppcolschidx tagver0=&quot;23004&quot; tagname0=&quot;m_ppcolschidxUNRECOGNIZED&quot; val=&quot;0&quot;/&gt;&lt;m_nBrightness val=&quot;0&quot;/&gt;&lt;/elem&gt;&lt;elem m_fUsage=&quot;2.46503928597327550000E-003&quot;&gt;&lt;m_msothmcolidx val=&quot;0&quot;/&gt;&lt;m_rgb r=&quot;9a&quot; g=&quot;60&quot; b=&quot;7f&quot;/&gt;&lt;m_ppcolschidx tagver0=&quot;23004&quot; tagname0=&quot;m_ppcolschidxUNRECOGNIZED&quot; val=&quot;0&quot;/&gt;&lt;m_nBrightness val=&quot;0&quot;/&gt;&lt;/elem&gt;&lt;elem m_fUsage=&quot;1.93932388360890650000E-003&quot;&gt;&lt;m_msothmcolidx val=&quot;0&quot;/&gt;&lt;m_rgb r=&quot;ea&quot; g=&quot;ea&quot; b=&quot;ea&quot;/&gt;&lt;m_ppcolschidx tagver0=&quot;23004&quot; tagname0=&quot;m_ppcolschidxUNRECOGNIZED&quot; val=&quot;0&quot;/&gt;&lt;m_nBrightness val=&quot;0&quot;/&gt;&lt;/elem&gt;&lt;elem m_fUsage=&quot;1.00930712013155040000E-006&quot;&gt;&lt;m_msothmcolidx val=&quot;0&quot;/&gt;&lt;m_rgb r=&quot;7d&quot; g=&quot;9a&quot; b=&quot;be&quot;/&gt;&lt;m_ppcolschidx tagver0=&quot;23004&quot; tagname0=&quot;m_ppcolschidxUNRECOGNIZED&quot; val=&quot;0&quot;/&gt;&lt;m_nBrightness val=&quot;0&quot;/&gt;&lt;/elem&gt;&lt;elem m_fUsage=&quot;8.83707399996771380000E-007&quot;&gt;&lt;m_msothmcolidx val=&quot;0&quot;/&gt;&lt;m_rgb r=&quot;3a&quot; g=&quot;66&quot; b=&quot;9c&quot;/&gt;&lt;m_ppcolschidx tagver0=&quot;23004&quot; tagname0=&quot;m_ppcolschidxUNRECOGNIZED&quot; val=&quot;0&quot;/&gt;&lt;m_nBrightness val=&quot;0&quot;/&gt;&lt;/elem&gt;&lt;elem m_fUsage=&quot;3.21056269916643020000E-008&quot;&gt;&lt;m_msothmcolidx val=&quot;0&quot;/&gt;&lt;m_rgb r=&quot;b1&quot; g=&quot;cf&quot; b=&quot;c5&quot;/&gt;&lt;m_ppcolschidx tagver0=&quot;23004&quot; tagname0=&quot;m_ppcolschidxUNRECOGNIZED&quot; val=&quot;0&quot;/&gt;&lt;m_nBrightness val=&quot;0&quot;/&gt;&lt;/elem&gt;&lt;elem m_fUsage=&quot;2.77972234323999920000E-008&quot;&gt;&lt;m_msothmcolidx val=&quot;0&quot;/&gt;&lt;m_rgb r=&quot;88&quot; g=&quot;b6&quot; b=&quot;a7&quot;/&gt;&lt;m_ppcolschidx tagver0=&quot;23004&quot; tagname0=&quot;m_ppcolschidxUNRECOGNIZED&quot; val=&quot;0&quot;/&gt;&lt;m_nBrightness val=&quot;0&quot;/&gt;&lt;/elem&gt;&lt;elem m_fUsage=&quot;2.50174839629946230000E-008&quot;&gt;&lt;m_msothmcolidx val=&quot;0&quot;/&gt;&lt;m_rgb r=&quot;5f&quot; g=&quot;9d&quot; b=&quot;88&quot;/&gt;&lt;m_ppcolschidx tagver0=&quot;23004&quot; tagname0=&quot;m_ppcolschidxUNRECOGNIZED&quot; val=&quot;0&quot;/&gt;&lt;m_nBrightness val=&quot;0&quot;/&gt;&lt;/elem&gt;&lt;elem m_fUsage=&quot;2.25161334173324260000E-008&quot;&gt;&lt;m_msothmcolidx val=&quot;0&quot;/&gt;&lt;m_rgb r=&quot;35&quot; g=&quot;83&quot; b=&quot;6a&quot;/&gt;&lt;m_ppcolschidx tagver0=&quot;23004&quot; tagname0=&quot;m_ppcolschidxUNRECOGNIZED&quot; val=&quot;0&quot;/&gt;&lt;m_nBrightness val=&quot;0&quot;/&gt;&lt;/elem&gt;&lt;elem m_fUsage=&quot;2.15212288085568280000E-008&quot;&gt;&lt;m_msothmcolidx val=&quot;0&quot;/&gt;&lt;m_rgb r=&quot;c&quot; g=&quot;6a&quot; b=&quot;4b&quot;/&gt;&lt;m_ppcolschidx tagver0=&quot;23004&quot; tagname0=&quot;m_ppcolschidxUNRECOGNIZED&quot; val=&quot;0&quot;/&gt;&lt;m_nBrightness val=&quot;0&quot;/&gt;&lt;/elem&gt;&lt;elem m_fUsage=&quot;4.12473112065553700000E-009&quot;&gt;&lt;m_msothmcolidx val=&quot;0&quot;/&gt;&lt;m_rgb r=&quot;80&quot; g=&quot;38&quot; b=&quot;5f&quot;/&gt;&lt;m_ppcolschidx tagver0=&quot;23004&quot; tagname0=&quot;m_ppcolschidxUNRECOGNIZED&quot; val=&quot;0&quot;/&gt;&lt;m_nBrightness val=&quot;0&quot;/&gt;&lt;/elem&gt;&lt;elem m_fUsage=&quot;1.71261653827975320000E-013&quot;&gt;&lt;m_msothmcolidx val=&quot;0&quot;/&gt;&lt;m_rgb r=&quot;88&quot; g=&quot;b6&quot; b=&quot;c5&quot;/&gt;&lt;m_ppcolschidx tagver0=&quot;23004&quot; tagname0=&quot;m_ppcolschidxUNRECOGNIZED&quot; val=&quot;0&quot;/&gt;&lt;m_nBrightness val=&quot;0&quot;/&gt;&lt;/elem&gt;&lt;elem m_fUsage=&quot;6.63502736729829280000E-014&quot;&gt;&lt;m_msothmcolidx val=&quot;0&quot;/&gt;&lt;m_rgb r=&quot;38&quot; g=&quot;66&quot; b=&quot;9e&quot;/&gt;&lt;m_ppcolschidx tagver0=&quot;23004&quot; tagname0=&quot;m_ppcolschidxUNRECOGNIZED&quot; val=&quot;0&quot;/&gt;&lt;m_nBrightness val=&quot;0&quot;/&gt;&lt;/elem&gt;&lt;elem m_fUsage=&quot;3.52612557910437280000E-014&quot;&gt;&lt;m_msothmcolidx val=&quot;0&quot;/&gt;&lt;m_rgb r=&quot;cd&quot; g=&quot;af&quot; b=&quot;bf&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FNbmy2ujECI_rl7h3vIG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WlDSLR_fUmtN82q7ICZX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FghnE3g6O06lr6QyXIDKc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F1LuGDBUgk279kAHqPaJB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YF4N0NYx9EeguXB84JJBA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sg8BA2WRr0uGfnu2va0lY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ecIUw2aXlk6gxvJmiDfNj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hiZp.WWsHkuuqSpaL6G0t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UHrn6AtQ9USYajoyWdCHv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sg8BA2WRr0uGfnu2va0lY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G40eEShIUmlRYvcJNzn7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HyDPfDlzEeCw0uU0roQu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fX99CLawx0qpkLbOWE6gW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hEvVsNr50O4v4EEJfE.F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vY.yAjCGv0G4sA3CJWYSU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kqEdfxaFokaITHNbYClDy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0QcBsY44e0CPmGswPE.F.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BRcBJ17WYk.kwcoSPh74y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SFWLbqnPWUO7ilyxXp4qo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MngijIsFWkunEi47zn717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_yTmyBCJf0q8hIKoiwmOu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vAyucY7bPk2ec6GXYfnbp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8dTveNt3WkSDBU6p_CUFd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e2MqmVGvm0.NMnkn2UY.Y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OtesKHBfdUWLcDnyEmdMC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CFx28YB0mNknvcOB6QM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RGpsq1RCoUqzOiL1LxsuN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Rig6PzHyNUu9U2toayHtV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U6vq0LNOwkakFndzaincv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bYTFHoZY2UyJq7OHG6hkA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u93aDsZ2nE2P86e.yphCq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Ws6sDjQXaEm5VMfvt6WTi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QoDl.COFWkuluohua087O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q__filerE0O8tU1fb651E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g8xIm67NlUaYWSnKkbK3j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Jk2vVQEwGkKf.J6wv9NF6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ffi0BsZB7kCYicz7IB2ST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3NY9HThxN0aLyelrICZAM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zz84uIIyfkGYojr2lkscY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gg_M2yIbLkaZ_Knh5CnBI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PAxHFXo6J0uybasNb56gd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7NaYO5D1EOBboI8bzChj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v6YhFPzzkUuNcQK3j0TFk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T08ACZUGoUWoEPfj.ik5x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LVThWBnKc0CfVL2RBkpqW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xOKMR72MBU.aCUPEGQH5q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XeMJvuaScEOPXmuAir_5T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FLOz6sdLyEWndzai2AExx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DU1oyqT.gkyl22zHSjTVq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0xqgy.cB9UCGPGILp4Glz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uwy3KgFQ3kK_4qxPEINcY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OzJByfPKbEG_igOR0xLNK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mlNT.2HS0KBxZm_AeC.w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YuqBiBRuvUm7A8gI0AlwV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n6yInct68EO1g4OFcNQHm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86w279kECkKOr_KHz.RMV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BAFR0WR5HUitXUVq356m1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w5JMMtEvKEegCDB4WseLI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dpIXCE2.90K.4ypgQmE1V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GWRv0rHTrkWGSJvlAx7JE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n4wZVkuLTkW008MMRlnwT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TgQa6ZRU6kufBUm_0ksWt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7OwrNXohQUKw.HpoISWiV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PHxqRTU08U2nj6AVQ0eH7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0zJBTiKdckSVQ7Rv7N4Gu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3JYXKPPq0.A35figaFaa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cexJ4ljwXU2cr027XiMRL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znJlE2TlbkGZh3F9_.HMp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BYxyAuDIC0eOG6l9fN36M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0WlGlEuQUGTvplUIkeQd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ZY6suJVVkUqYhQFKB2LVV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JBGyAGXgYESUKzbsSjWeG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5sn.driaykaxnLlgnHoIL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kIXsZ4e7h0q0PoeSTsgyq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9Hl4yKGsY0CkiJLYF3fl1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j1CqHYYvPUmFIvd6IN9JN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vKLwTm3HfU2byjyGxql2Y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vVKpt0Xylk.9qBRjwjM2U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6AkYG9TY906iHx.7tQldy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EqDc.iULdEOj0HXzWcGZS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658dswl52Uam6XezZLCfU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t4ghsPOaV0uzt6QUbKRhx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Ed4Awawg0WvJyA6qOOVk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_xRqkZVw20C5HOuanPeDU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PPo64MLP_USII5QbMS0Vl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Wa_5LQWkgUCeZtdQ_7WUJ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1kKM3Ax9PUC14jaA42AFq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ZoSgufMUk2eq0T8iFPXv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2m.UssXBCUeFEbMj0o_e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91bljKxVgkO6VQA7Ut2ZE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k1xFG5TemkmD3kfTTO1xf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ZW3nv9PF90uGpfM3yshis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pONC2uUfwUObBZY9Ga1wM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Rdl.iHTsqkmHpeREDIhVh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4MBsXB9SIEqwd1_bL2X_e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vplaw9aG7keWtj2UCY9JU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ASnmTHp6mEe6o8Ui3l9qD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Gw6wGldMRUC11.CGfJVEj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U38JCpJOY0idDVX7XY29Z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2Gio0oJnM0GUXAR7cZWAI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rbMtYUii00yRNb10GzO3i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KnQtRpZVzUu8ElBy7PY7N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499jR94Jo0mNWK0dgRAUq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8HXs1f7GZEmjOckECZmQQ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lPpWw9CBC02KO6_Hwl6e6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AkSBDnByMky.LnykoiMyT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xory5cJcKEGfm30fjyS2L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I2HraAAApEW3rj.SL9Ym_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_C7PmOxRES2dZRjaXYjU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JpdtaVsZ1keFxVqZZbENC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kA5bkBs_0qBpL7vJODrm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8K1p99QEZ0yzYIqPOLmSG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4Oiw5ZyzSke3SRWdNTHyb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Fw6O9ws2XEeEhAHOaLcR5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j8ZqSpuuhUGzT07ByEtx1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syEFIeTGnE22_zK62ju8U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u_G2os0vGkGRPH8ODDQCQ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2UrlU8nkhkCvzzGvy3oOV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CpGO3lhekyGpXpOxT1dV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fOOmb8uS9kqkvbCXLnMYN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3fkyiZWo0Gr2tlnqHI7v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q__filerE0O8tU1fb651E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g8xIm67NlUaYWSnKkbK3j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YMOXGigt2EC0v6euaRhAk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EVFMOXHzaUaYArL41yNYg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OnbDUjISuESCl70b2064i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zz84uIIyfkGYojr2lkscY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ffi0BsZB7kCYicz7IB2ST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3NY9HThxN0aLyelrICZAM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Jk2vVQEwGkKf.J6wv9NF6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T08ACZUGoUWoEPfj.ik5x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XeMJvuaScEOPXmuAir_5T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LVThWBnKc0CfVL2RBkpqW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xOKMR72MBU.aCUPEGQH5q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DU1oyqT.gkyl22zHSjTVq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0xqgy.cB9UCGPGILp4Glz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OzJByfPKbEG_igOR0xLNK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FLOz6sdLyEWndzai2AExx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YuqBiBRuvUm7A8gI0AlwV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uwy3KgFQ3kK_4qxPEINcY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n6yInct68EO1g4OFcNQHm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BAFR0WR5HUitXUVq356m1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7OwrNXohQUKw.HpoISWiV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n4wZVkuLTkW008MMRlnwT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TgQa6ZRU6kufBUm_0ksWt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jio7zq3VyUSSDWogduG0a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qgpaE2Smz0yuUKOABAWKk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cOkuvTY850ia8LKZCRw0u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8N665x5pKkOsbDsBdZO62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96qnL8w0Lk.f66.QRJVlk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vj5lou98xkqejw4k4NyF4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gPH2WGq.4Eub.doLhQvpU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JJd_0HMt4Ue51eh8SjQKN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Ke6m0hLtCESlvdqVTyF4F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gO3uZvowKkSvn_w5GhiVF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VMPFxQdm9UWIYu247dEAs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yQiTDn3gKU648iKUciWxI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PoDwE8yDYEqMeDxjYTRPR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ROcmKbiuZ0Sk9r_MoNjRD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JAG0MvBOr0mecUxNSTPiI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9A7aQpTL5k2iBvn9opzfy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UMzVRTNuVEqfdhC_1ryZ0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WyTfiPf2eUinUy6apPvqf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szk15Mi8Bkuh7Q3EkmvZt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KI2hWDvFDEqWtK24IBLf1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rLb2h1anjE.oVSsD8uvbv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eegkTCeLpkeReFyEZiWzI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x8wzufx620O1xDiioQ6yc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2f1NV4jNBkSRu0a_xAB.y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BE4TO5gtEUeS4.RcN_wN3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VMPFxQdm9UWIYu247dEAs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JAG0MvBOr0mecUxNSTPiI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yQiTDn3gKU648iKUciWxI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ROcmKbiuZ0Sk9r_MoNjRD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PoDwE8yDYEqMeDxjYTRPR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9A7aQpTL5k2iBvn9opzfy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rLb2h1anjE.oVSsD8uvbv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BE4TO5gtEUeS4.RcN_wN3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oTd4_I05Xkq_1dFI.2TQ2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2f1NV4jNBkSRu0a_xAB.y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KI2hWDvFDEqWtK24IBLf1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szk15Mi8Bkuh7Q3EkmvZt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fTvqPjftz0iPWRG2Bs98.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zTWA3VAfUu6fYtyPUbh8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MdNJp.lzE06lpzUWr4Hd7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W2pEhp.BJ06Mr7YBlvT2D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ExQz1lTtc02dygr7.eWNj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GBzMFWZgvkSFOxcAHcrvS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OUNLH1NBHEGu_qzbCFWSp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2wEDzv3ui0C0jzsEZ9u8I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PxvSEQG.7E2CGEBsWY7Oc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UDhX6CWAPEe_cS319MoPJ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t3n6hIRpKk6F2M3wFfpYe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ELhN3UCjtUeLOPjptQg.L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JVNGPcb.eUub2YfYf4Ihw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t6QhLH1PN0i8zrrjJ1jbj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Pztuz8IHaki1vX9in2FTI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P8yAThwon0WLE5IjyPQlC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jm9qzw1qs0._5X86wQvou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x.nJGlHRckentPEgCgeYD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mJjfZ1W3UkCMpV4yukyKg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cri.nkMDWEac6LTgg9md.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xruzfKtldkKOBIT5o6_uj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cLt7FpIok0OmWTeSDP_p1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FalUhDPhUmzWHw9TJdD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w0YwmPHl6U.WkwSq8rm_Z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VQNzKTf2YU2nsXJtQuq3U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TUs.YxIkHka2MNYRSSfye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8NZVioNpJUCVjTtOCRQ.v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8zVewCM8R0qsNK2DGhp1R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2VRxdIt9UCPzCcwijAZE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NVhG3Gowk2f7uEO_4VGX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CKJZtCBJkaNUuLoOOkwD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TdZyEcgbaEeupYUdeJxys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sg8BA2WRr0uGfnu2va0lY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mSVGpdOz_UaNS23tka7W4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kcGLXKUnwU.IXQiBd693I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arDJM1Nd0CLt0EWw4_AK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g0zJwzNrb0yuddfE8PPJO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Y.FEkt0fI0KXvdfeBdSJL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Pk69HdJNU02R0UQh_.s1s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puggyLMaW0KSrHbBY6Jm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6VBgzXc8EWnLL4adYWbT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sg8BA2WRr0uGfnu2va0lY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YtZBnad.uUS_AR5.nJFLJ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E7KfU8q0dkCAuEnHpI9CP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zIZ8iP_OHUe0RcRkThovD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VTeB3hDs5EG9J5Pstlqy.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PihgqFI.eE2usHcXyjeat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Nj_H83Ec50O040MlKx_gK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WIIiB56LB0mwygiWfV.Ww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v8sz0beuUUi6NkW6IiAX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mfFfVHE06Ur78HWfw6e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VAYAxFANtkSq3a4Y3iW1z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DTYFGRZnH0KbguMVapVzZ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5k1QiqoMN0C0D.C1h3dcw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sg8BA2WRr0uGfnu2va0lY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scOszU5u10mU7bQ20jZ06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3BCOHmtrkKRGzp0_lMMk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h87Ro4ztZUqGmJEE0GC0l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OehukuMlz0KIABBdvZHSg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NO2y_X8vHEO4kv1Ri3DH7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DyanR.HsO0yx7QySYlDdA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602Etl_vYEKnFgGw1xXoG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Hq9IndDcPEa3jBJbNlhE6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rK5GAKTnok.0Zvql220pV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bX.ajX0IDU2Rrc1JS_xHV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n0xrx.JxFkmwdxUcsDyUE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Jz4o8rdtp0mrrx_yE_JCn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Bty4atm950uemxxnH03Rf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sg8BA2WRr0uGfnu2va0lY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fkGc0OHt3EaNaOIUrZm0b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A_s90qVTOkmZG_UHnpTMY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CQ34E8Vq6EmB3Fp2BDl.B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rhVm7ltQTkms4uq2yUBg7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FkZbX76QQ0i1LvUMrgBvt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8meGN4S3EUSqYQb9D9de1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sg8BA2WRr0uGfnu2va0lY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2aQioZiNfEWxNnsJxGfkH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TI0.EKRqA0ip47lImVh7jQ"/>
</p:tagLst>
</file>

<file path=ppt/theme/theme1.xml><?xml version="1.0" encoding="utf-8"?>
<a:theme xmlns:a="http://schemas.openxmlformats.org/drawingml/2006/main" name="blank">
  <a:themeElements>
    <a:clrScheme name="Custom 1">
      <a:dk1>
        <a:srgbClr val="000000"/>
      </a:dk1>
      <a:lt1>
        <a:srgbClr val="FFFFFF"/>
      </a:lt1>
      <a:dk2>
        <a:srgbClr val="67103F"/>
      </a:dk2>
      <a:lt2>
        <a:srgbClr val="FFFFFF"/>
      </a:lt2>
      <a:accent1>
        <a:srgbClr val="55555F"/>
      </a:accent1>
      <a:accent2>
        <a:srgbClr val="BBBBBF"/>
      </a:accent2>
      <a:accent3>
        <a:srgbClr val="3A669C"/>
      </a:accent3>
      <a:accent4>
        <a:srgbClr val="0C6A4B"/>
      </a:accent4>
      <a:accent5>
        <a:srgbClr val="9EB4CE"/>
      </a:accent5>
      <a:accent6>
        <a:srgbClr val="88B6A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tandard / Deliverable">
  <a:themeElements>
    <a:clrScheme name="Board Level1">
      <a:dk1>
        <a:srgbClr val="000000"/>
      </a:dk1>
      <a:lt1>
        <a:srgbClr val="FFFFFF"/>
      </a:lt1>
      <a:dk2>
        <a:srgbClr val="67103F"/>
      </a:dk2>
      <a:lt2>
        <a:srgbClr val="FFFFFF"/>
      </a:lt2>
      <a:accent1>
        <a:srgbClr val="55555F"/>
      </a:accent1>
      <a:accent2>
        <a:srgbClr val="BBBBBF"/>
      </a:accent2>
      <a:accent3>
        <a:srgbClr val="3A669C"/>
      </a:accent3>
      <a:accent4>
        <a:srgbClr val="0C6A4B"/>
      </a:accent4>
      <a:accent5>
        <a:srgbClr val="9EB4CE"/>
      </a:accent5>
      <a:accent6>
        <a:srgbClr val="88B6A7"/>
      </a:accent6>
      <a:hlink>
        <a:srgbClr val="0000FF"/>
      </a:hlink>
      <a:folHlink>
        <a:srgbClr val="800080"/>
      </a:folHlink>
    </a:clrScheme>
    <a:fontScheme name="Proposal 1">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231775" indent="-231775">
          <a:defRPr sz="1600" dirty="0" smtClean="0"/>
        </a:defPPr>
      </a:lstStyle>
    </a:txDef>
  </a:objectDefaults>
  <a:extraClrSchemeLst/>
</a:theme>
</file>

<file path=ppt/theme/theme3.xml><?xml version="1.0" encoding="utf-8"?>
<a:theme xmlns:a="http://schemas.openxmlformats.org/drawingml/2006/main" name="Board Cover, Navigation">
  <a:themeElements>
    <a:clrScheme name="Custom 1">
      <a:dk1>
        <a:srgbClr val="000000"/>
      </a:dk1>
      <a:lt1>
        <a:srgbClr val="FFFFFF"/>
      </a:lt1>
      <a:dk2>
        <a:srgbClr val="67103F"/>
      </a:dk2>
      <a:lt2>
        <a:srgbClr val="FFFFFF"/>
      </a:lt2>
      <a:accent1>
        <a:srgbClr val="55555F"/>
      </a:accent1>
      <a:accent2>
        <a:srgbClr val="BBBBBF"/>
      </a:accent2>
      <a:accent3>
        <a:srgbClr val="3A669C"/>
      </a:accent3>
      <a:accent4>
        <a:srgbClr val="0C6A4B"/>
      </a:accent4>
      <a:accent5>
        <a:srgbClr val="9EB4CE"/>
      </a:accent5>
      <a:accent6>
        <a:srgbClr val="88B6A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Board">
  <a:themeElements>
    <a:clrScheme name="Custom 1">
      <a:dk1>
        <a:srgbClr val="000000"/>
      </a:dk1>
      <a:lt1>
        <a:srgbClr val="FFFFFF"/>
      </a:lt1>
      <a:dk2>
        <a:srgbClr val="67103F"/>
      </a:dk2>
      <a:lt2>
        <a:srgbClr val="FFFFFF"/>
      </a:lt2>
      <a:accent1>
        <a:srgbClr val="55555F"/>
      </a:accent1>
      <a:accent2>
        <a:srgbClr val="BBBBBF"/>
      </a:accent2>
      <a:accent3>
        <a:srgbClr val="3A669C"/>
      </a:accent3>
      <a:accent4>
        <a:srgbClr val="0C6A4B"/>
      </a:accent4>
      <a:accent5>
        <a:srgbClr val="9EB4CE"/>
      </a:accent5>
      <a:accent6>
        <a:srgbClr val="88B6A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BBBBF"/>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dirty="0" smtClean="0"/>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8434</Words>
  <Application>Microsoft Office PowerPoint</Application>
  <PresentationFormat>レター サイズ 8.5x11 インチ</PresentationFormat>
  <Paragraphs>1022</Paragraphs>
  <Slides>49</Slides>
  <Notes>10</Notes>
  <HiddenSlides>0</HiddenSlides>
  <MMClips>0</MMClips>
  <ScaleCrop>false</ScaleCrop>
  <HeadingPairs>
    <vt:vector size="6" baseType="variant">
      <vt:variant>
        <vt:lpstr>テーマ</vt:lpstr>
      </vt:variant>
      <vt:variant>
        <vt:i4>4</vt:i4>
      </vt:variant>
      <vt:variant>
        <vt:lpstr>埋め込まれた OLE サーバー</vt:lpstr>
      </vt:variant>
      <vt:variant>
        <vt:i4>3</vt:i4>
      </vt:variant>
      <vt:variant>
        <vt:lpstr>スライド タイトル</vt:lpstr>
      </vt:variant>
      <vt:variant>
        <vt:i4>49</vt:i4>
      </vt:variant>
    </vt:vector>
  </HeadingPairs>
  <TitlesOfParts>
    <vt:vector size="56" baseType="lpstr">
      <vt:lpstr>blank</vt:lpstr>
      <vt:lpstr>Standard / Deliverable</vt:lpstr>
      <vt:lpstr>Board Cover, Navigation</vt:lpstr>
      <vt:lpstr>Board</vt:lpstr>
      <vt:lpstr>think-cell Slide</vt:lpstr>
      <vt:lpstr>Chart</vt:lpstr>
      <vt:lpstr>文書</vt:lpstr>
      <vt:lpstr>毛管浄化（MJ）衛生システムのインドへの導入</vt:lpstr>
      <vt:lpstr>アジェンダ</vt:lpstr>
      <vt:lpstr>毛管浄化社が提供する排泄物処理関連の製品は2つ：ニイミトレンチとニイミシステム </vt:lpstr>
      <vt:lpstr>ニイミトレンチは従来の浸透枡システムに比べて環境面の利点が大きい</vt:lpstr>
      <vt:lpstr>同様にニイミシステムは従来の下水処理施設にかわる低コストであまり手のかからない方法である</vt:lpstr>
      <vt:lpstr>アジェンダ</vt:lpstr>
      <vt:lpstr>全世界で野外排泄をしている人の57％がインドに居住している。インドではトイレへのアクセスが非常に貧弱である</vt:lpstr>
      <vt:lpstr>インドのトイレは特に処理の点で大きな違いがある。インドでは排泄物の93％が未処理のまま</vt:lpstr>
      <vt:lpstr>中央政府には農村および都市部でトイレへのアクセスを可能にするための最重要プログラムが2つある</vt:lpstr>
      <vt:lpstr>しかし期日までに支出されたのは配分された最大80億米ドルの40％のみ</vt:lpstr>
      <vt:lpstr>衛生分野には営利企業も非営利企業も参入し、そのほとんどがエンドエンドの衛生サービスを提供している</vt:lpstr>
      <vt:lpstr>検討対象企業はインド全体で事業展開しているが、北東部の州での活動はかなり限定的である</vt:lpstr>
      <vt:lpstr>すでにトイレにアクセスできるインドの衛生市場に応えられるのはニイミトレンチとニイミシステムだけ</vt:lpstr>
      <vt:lpstr>従って毛管浄化社の最初の活動はトイレへのアクセスレベルがすでに高い州で重点的に行うべき</vt:lpstr>
      <vt:lpstr>シッキム州政府はトイレへの普遍的アクセスを達成済みであり、MJと連携して排泄物処理に取り組むことができる</vt:lpstr>
      <vt:lpstr>アジェンダ</vt:lpstr>
      <vt:lpstr>毛管浄化社の衛生関連市場は必要なシステムの大きさと種類により4つのセグメントに分類できる</vt:lpstr>
      <vt:lpstr>毛管浄化社は各セグメントについてビジネスモデルと実施方法を構築すべき</vt:lpstr>
      <vt:lpstr>ビジネスモデル： 製品を営利目的で販売する前に、コンセプトの証明としてパイロットを行うための助成金が必要</vt:lpstr>
      <vt:lpstr>実施計画： MJは新規プロジェクト獲得のため最初のアウトリーチ活動に注力すべき。実施するのは地元パートナー</vt:lpstr>
      <vt:lpstr>公共施設用システム（特に学校）と小規模都市は中長期的に見てニイミ製品にとって最も魅力的</vt:lpstr>
      <vt:lpstr>アジェンダ</vt:lpstr>
      <vt:lpstr>毛管浄化社は短期的には、援助供与機関および政府との関係構築に向けた機会を追求すべき</vt:lpstr>
      <vt:lpstr>最近シッキムに設置されたニイミトレンチにより、同州における政府およびJICAとのより規模の大きな事業への道が開ける可能性がある</vt:lpstr>
      <vt:lpstr>毛管浄化社は並行して、ニイミシステムを用いたガントク下水処理場の改修の可能性を探ることもできる</vt:lpstr>
      <vt:lpstr>Agenda</vt:lpstr>
      <vt:lpstr>ニイミトレンチとニイミシステムの機能</vt:lpstr>
      <vt:lpstr>ニイミトレンチ：遠隔地での汚物処理に用いられる分散型下水処理ソリューション</vt:lpstr>
      <vt:lpstr>ニイミトレンチ：下水道システムにつなげられておらず、空間的な制約がそれほどない地域に最適 </vt:lpstr>
      <vt:lpstr>ニイミトレンチ：トレンチの施工手順は極めて単純で、3～4日で完成する </vt:lpstr>
      <vt:lpstr>ニイミトレンチ： 利用者がほとんどの維持管理を行うことができ、約1年に1回、吸引ポンプを洗浄する必要がある</vt:lpstr>
      <vt:lpstr>ニイミトレンチ：家庭で使用する場合、農村地域で通常使用されている浄化槽・排水穴システムよりも高価</vt:lpstr>
      <vt:lpstr>ニイミトレンチ： ただし、学校をはじめとするコミュニティ施設の場合、 規模が大きいため人件費と輸送費は比較的安くすむ </vt:lpstr>
      <vt:lpstr>ニイミトレンチとニイミシステムの機能</vt:lpstr>
      <vt:lpstr>ニイミシステム：小都市の汚物処理に沈殿・接触酸化プロセスを利用</vt:lpstr>
      <vt:lpstr>ニイミシステム ：処理センターでは固形汚物を取り除くための網目スクリーンと酸化槽用の空気ブロアを使用する</vt:lpstr>
      <vt:lpstr>ニイミシステム：汚物の分離とその後の分解を助ける沈殿槽と酸化槽からなるシステム</vt:lpstr>
      <vt:lpstr>ニイミシステム：従来の処理場と比べて必要とする機械と動力は限定的</vt:lpstr>
      <vt:lpstr>ニイミシステム：設置場所毎に詳細な原価計算が必要とされるものの、ニイミシステムには相当な規模の経済性が見られる</vt:lpstr>
      <vt:lpstr>Agenda</vt:lpstr>
      <vt:lpstr>シッキムでの試験的設置に関するM&amp;E報告により、将来の規模拡大に向けた計画の裏付けに役立つ定量的データが示される</vt:lpstr>
      <vt:lpstr>Agenda</vt:lpstr>
      <vt:lpstr>中央政府・州政府のスキームは、小都市を対象として、価値連鎖を利用した下水設備インフラの提供を目指している</vt:lpstr>
      <vt:lpstr>汚物運搬・処理インフラを建設する大規模下水処理事業への投資を行う二国間・多国間の援助供与機関</vt:lpstr>
      <vt:lpstr>世界の主な基金が、下水設備の利用に関する分散型ソリューション提供団体に対して財政的支援を行っている</vt:lpstr>
      <vt:lpstr>大手各社のCSRの取組みは、進出地域での下水設備へのアクセス提供に向けられている</vt:lpstr>
      <vt:lpstr>実行可能な中規模の分散型下水処理事業には銀行が融資を行う可能性がある</vt:lpstr>
      <vt:lpstr>汚物の運搬と処理・再利用に焦点を当てた大規模事業にはインフラ金融会社が融資を行う可能性がある</vt:lpstr>
      <vt:lpstr>家庭での下水処理設備の利用増加に向けて小規模金融機関が小規模融資を行っている</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4-09-30T10:27:43Z</dcterms:created>
  <dcterms:modified xsi:type="dcterms:W3CDTF">2014-10-22T02:42:49Z</dcterms:modified>
</cp:coreProperties>
</file>